
<file path=[Content_Types].xml><?xml version="1.0" encoding="utf-8"?>
<Types xmlns="http://schemas.openxmlformats.org/package/2006/content-types">
  <Override PartName="/ppt/slides/slide6.xml" ContentType="application/vnd.openxmlformats-officedocument.presentationml.slide+xml"/>
  <Override PartName="/ppt/slideLayouts/slideLayout8.xml" ContentType="application/vnd.openxmlformats-officedocument.presentationml.slideLayout+xml"/>
  <Override PartName="/ppt/notesSlides/notesSlide2.xml" ContentType="application/vnd.openxmlformats-officedocument.presentationml.notesSlide+xml"/>
  <Override PartName="/ppt/tags/tag6.xml" ContentType="application/vnd.openxmlformats-officedocument.presentationml.tags+xml"/>
  <Override PartName="/ppt/tags/tag8.xml" ContentType="application/vnd.openxmlformats-officedocument.presentationml.tags+xml"/>
  <Override PartName="/ppt/slideMasters/slideMaster1.xml" ContentType="application/vnd.openxmlformats-officedocument.presentationml.slideMaster+xml"/>
  <Override PartName="/ppt/slides/slide4.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s/slide2.xml" ContentType="application/vnd.openxmlformats-officedocument.presentationml.slide+xml"/>
  <Override PartName="/ppt/slides/slide16.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2.xml" ContentType="application/vnd.openxmlformats-officedocument.presentationml.tags+xml"/>
  <Default Extension="rels" ContentType="application/vnd.openxmlformats-package.relationship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s/slide10.xml" ContentType="application/vnd.openxmlformats-officedocument.presentationml.slide+xml"/>
  <Override PartName="/ppt/slides/slide12.xml" ContentType="application/vnd.openxmlformats-officedocument.presentationml.slide+xml"/>
  <Override PartName="/ppt/tableStyles.xml" ContentType="application/vnd.openxmlformats-officedocument.presentationml.tableStyles+xml"/>
  <Override PartName="/ppt/notesSlides/notesSlide14.xml" ContentType="application/vnd.openxmlformats-officedocument.presentationml.notesSlide+xml"/>
  <Override PartName="/docProps/custom.xml" ContentType="application/vnd.openxmlformats-officedocument.custom-properties+xml"/>
  <Default Extension="gif" ContentType="image/gif"/>
  <Default Extension="vml" ContentType="application/vnd.openxmlformats-officedocument.vmlDrawing"/>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Default Extension="xlsx" ContentType="application/vnd.openxmlformats-officedocument.spreadsheetml.sheet"/>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10.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handoutMasters/handoutMaster1.xml" ContentType="application/vnd.openxmlformats-officedocument.presentationml.handoutMaster+xml"/>
  <Override PartName="/ppt/viewProps.xml" ContentType="application/vnd.openxmlformats-officedocument.presentationml.viewProps+xml"/>
  <Override PartName="/ppt/notesSlides/notesSlide4.xml" ContentType="application/vnd.openxmlformats-officedocument.presentationml.notesSlide+xml"/>
  <Override PartName="/ppt/charts/chart1.xml" ContentType="application/vnd.openxmlformats-officedocument.drawingml.chart+xml"/>
  <Override PartName="/ppt/notesSlides/notesSlide5.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docProps/core.xml" ContentType="application/vnd.openxmlformats-package.core-properties+xml"/>
  <Override PartName="/ppt/slides/slide5.xml" ContentType="application/vnd.openxmlformats-officedocument.presentationml.slide+xml"/>
  <Override PartName="/ppt/slideLayouts/slideLayout7.xml" ContentType="application/vnd.openxmlformats-officedocument.presentationml.slideLayout+xml"/>
  <Default Extension="png" ContentType="image/png"/>
  <Override PartName="/ppt/notesSlides/notesSlide1.xml" ContentType="application/vnd.openxmlformats-officedocument.presentationml.notesSlide+xml"/>
  <Override PartName="/ppt/notesSlides/notesSlide3.xml" ContentType="application/vnd.openxmlformats-officedocument.presentationml.notesSlide+xml"/>
  <Override PartName="/ppt/tags/tag7.xml" ContentType="application/vnd.openxmlformats-officedocument.presentationml.tags+xml"/>
  <Default Extension="bin" ContentType="application/vnd.openxmlformats-officedocument.oleObject"/>
  <Override PartName="/ppt/slides/slide3.xml" ContentType="application/vnd.openxmlformats-officedocument.presentationml.slide+xml"/>
  <Override PartName="/ppt/slides/slide17.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Default Extension="jpeg" ContentType="image/jpeg"/>
  <Override PartName="/ppt/tags/tag3.xml" ContentType="application/vnd.openxmlformats-officedocument.presentationml.tags+xml"/>
  <Override PartName="/ppt/presentation.xml" ContentType="application/vnd.openxmlformats-officedocument.presentationml.presentation.main+xml"/>
  <Override PartName="/ppt/slides/slide13.xml" ContentType="application/vnd.openxmlformats-officedocument.presentationml.slide+xml"/>
  <Override PartName="/ppt/slideLayouts/slideLayout1.xml" ContentType="application/vnd.openxmlformats-officedocument.presentationml.slideLayout+xml"/>
  <Override PartName="/ppt/tags/tag1.xml" ContentType="application/vnd.openxmlformats-officedocument.presentationml.tags+xml"/>
  <Override PartName="/ppt/notesSlides/notesSlide15.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notesSlides/notesSlide13.xml" ContentType="application/vnd.openxmlformats-officedocument.presentationml.notesSlid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microsoft.com/office/2006/relationships/ui/userCustomization" Target="userCustomization/customUI.xml"/><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29" r:id="rId1"/>
  </p:sldMasterIdLst>
  <p:notesMasterIdLst>
    <p:notesMasterId r:id="rId19"/>
  </p:notesMasterIdLst>
  <p:handoutMasterIdLst>
    <p:handoutMasterId r:id="rId20"/>
  </p:handoutMasterIdLst>
  <p:sldIdLst>
    <p:sldId id="262" r:id="rId2"/>
    <p:sldId id="355" r:id="rId3"/>
    <p:sldId id="259" r:id="rId4"/>
    <p:sldId id="263" r:id="rId5"/>
    <p:sldId id="271" r:id="rId6"/>
    <p:sldId id="261" r:id="rId7"/>
    <p:sldId id="270" r:id="rId8"/>
    <p:sldId id="375" r:id="rId9"/>
    <p:sldId id="365" r:id="rId10"/>
    <p:sldId id="376" r:id="rId11"/>
    <p:sldId id="377" r:id="rId12"/>
    <p:sldId id="378" r:id="rId13"/>
    <p:sldId id="379" r:id="rId14"/>
    <p:sldId id="367" r:id="rId15"/>
    <p:sldId id="366" r:id="rId16"/>
    <p:sldId id="374" r:id="rId17"/>
    <p:sldId id="358" r:id="rId18"/>
  </p:sldIdLst>
  <p:sldSz cx="9144000" cy="6858000" type="screen4x3"/>
  <p:notesSz cx="6669088" cy="9928225"/>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showPr>
  <p:clrMru>
    <a:srgbClr val="FF9900"/>
    <a:srgbClr val="FFFFFF"/>
    <a:srgbClr val="A6A6A6"/>
    <a:srgbClr val="FFC266"/>
    <a:srgbClr val="E28700"/>
    <a:srgbClr val="BF7300"/>
    <a:srgbClr val="747474"/>
    <a:srgbClr val="262626"/>
    <a:srgbClr val="5F5F5F"/>
    <a:srgbClr val="E6E6E6"/>
  </p:clrMru>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351" autoAdjust="0"/>
    <p:restoredTop sz="94268" autoAdjust="0"/>
  </p:normalViewPr>
  <p:slideViewPr>
    <p:cSldViewPr showGuides="1">
      <p:cViewPr varScale="1">
        <p:scale>
          <a:sx n="104" d="100"/>
          <a:sy n="104" d="100"/>
        </p:scale>
        <p:origin x="-378" y="-78"/>
      </p:cViewPr>
      <p:guideLst>
        <p:guide orient="horz" pos="3702"/>
        <p:guide orient="horz" pos="2160"/>
        <p:guide orient="horz" pos="663"/>
        <p:guide pos="204"/>
        <p:guide pos="2858"/>
        <p:guide pos="2903"/>
        <p:guide pos="3787"/>
        <p:guide pos="3742"/>
        <p:guide pos="1973"/>
        <p:guide pos="5556"/>
        <p:guide pos="2018"/>
      </p:guideLst>
    </p:cSldViewPr>
  </p:slideViewPr>
  <p:notesTextViewPr>
    <p:cViewPr>
      <p:scale>
        <a:sx n="100" d="100"/>
        <a:sy n="100" d="100"/>
      </p:scale>
      <p:origin x="0" y="0"/>
    </p:cViewPr>
  </p:notesTextViewPr>
  <p:sorterViewPr>
    <p:cViewPr>
      <p:scale>
        <a:sx n="56" d="100"/>
        <a:sy n="56" d="100"/>
      </p:scale>
      <p:origin x="0" y="0"/>
    </p:cViewPr>
  </p:sorterViewPr>
  <p:notesViewPr>
    <p:cSldViewPr showGuides="1">
      <p:cViewPr varScale="1">
        <p:scale>
          <a:sx n="74" d="100"/>
          <a:sy n="74" d="100"/>
        </p:scale>
        <p:origin x="-2154" y="-96"/>
      </p:cViewPr>
      <p:guideLst>
        <p:guide orient="horz" pos="3127"/>
        <p:guide pos="2101"/>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viewProps" Target="view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Office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1"/>
  <c:lang val="fr-FR"/>
  <c:chart>
    <c:autoTitleDeleted val="1"/>
    <c:plotArea>
      <c:layout>
        <c:manualLayout>
          <c:layoutTarget val="inner"/>
          <c:xMode val="edge"/>
          <c:yMode val="edge"/>
          <c:x val="0.11550956382833559"/>
          <c:y val="9.8058941209454992E-2"/>
          <c:w val="0.74617068616376303"/>
          <c:h val="0.79569316853341165"/>
        </c:manualLayout>
      </c:layout>
      <c:doughnutChart>
        <c:varyColors val="1"/>
        <c:ser>
          <c:idx val="0"/>
          <c:order val="0"/>
          <c:tx>
            <c:strRef>
              <c:f>Sheet1!$A$2</c:f>
              <c:strCache>
                <c:ptCount val="1"/>
                <c:pt idx="0">
                  <c:v>Umsatzanteile</c:v>
                </c:pt>
              </c:strCache>
            </c:strRef>
          </c:tx>
          <c:spPr>
            <a:ln w="12700">
              <a:solidFill>
                <a:schemeClr val="tx2"/>
              </a:solidFill>
            </a:ln>
            <a:effectLst>
              <a:outerShdw blurRad="50800" dist="38100" dir="2700000" algn="tl" rotWithShape="0">
                <a:prstClr val="black">
                  <a:alpha val="40000"/>
                </a:prstClr>
              </a:outerShdw>
            </a:effectLst>
          </c:spPr>
          <c:dPt>
            <c:idx val="0"/>
            <c:spPr>
              <a:solidFill>
                <a:schemeClr val="accent2"/>
              </a:solidFill>
              <a:ln w="12700">
                <a:solidFill>
                  <a:schemeClr val="tx2"/>
                </a:solidFill>
              </a:ln>
              <a:effectLst>
                <a:outerShdw blurRad="50800" dist="38100" dir="2700000" algn="tl" rotWithShape="0">
                  <a:prstClr val="black">
                    <a:alpha val="40000"/>
                  </a:prstClr>
                </a:outerShdw>
              </a:effectLst>
            </c:spPr>
          </c:dPt>
          <c:dPt>
            <c:idx val="1"/>
            <c:spPr>
              <a:solidFill>
                <a:schemeClr val="accent3"/>
              </a:solidFill>
              <a:ln w="12700">
                <a:solidFill>
                  <a:schemeClr val="tx2"/>
                </a:solidFill>
              </a:ln>
              <a:effectLst>
                <a:outerShdw blurRad="50800" dist="38100" dir="2700000" algn="tl" rotWithShape="0">
                  <a:prstClr val="black">
                    <a:alpha val="40000"/>
                  </a:prstClr>
                </a:outerShdw>
              </a:effectLst>
            </c:spPr>
          </c:dPt>
          <c:dPt>
            <c:idx val="2"/>
            <c:spPr>
              <a:solidFill>
                <a:schemeClr val="accent4"/>
              </a:solidFill>
              <a:ln w="12700">
                <a:solidFill>
                  <a:schemeClr val="tx2"/>
                </a:solidFill>
              </a:ln>
              <a:effectLst>
                <a:outerShdw blurRad="50800" dist="38100" dir="2700000" algn="tl" rotWithShape="0">
                  <a:prstClr val="black">
                    <a:alpha val="40000"/>
                  </a:prstClr>
                </a:outerShdw>
              </a:effectLst>
            </c:spPr>
          </c:dPt>
          <c:dPt>
            <c:idx val="3"/>
            <c:spPr>
              <a:solidFill>
                <a:schemeClr val="accent5"/>
              </a:solidFill>
              <a:ln w="12700">
                <a:solidFill>
                  <a:schemeClr val="tx2"/>
                </a:solidFill>
              </a:ln>
              <a:effectLst>
                <a:outerShdw blurRad="50800" dist="38100" dir="2700000" algn="tl" rotWithShape="0">
                  <a:prstClr val="black">
                    <a:alpha val="40000"/>
                  </a:prstClr>
                </a:outerShdw>
              </a:effectLst>
            </c:spPr>
          </c:dPt>
          <c:dPt>
            <c:idx val="4"/>
            <c:spPr>
              <a:solidFill>
                <a:schemeClr val="accent6"/>
              </a:solidFill>
              <a:ln w="12700">
                <a:solidFill>
                  <a:schemeClr val="tx2"/>
                </a:solidFill>
              </a:ln>
              <a:effectLst>
                <a:outerShdw blurRad="50800" dist="38100" dir="2700000" algn="tl" rotWithShape="0">
                  <a:prstClr val="black">
                    <a:alpha val="40000"/>
                  </a:prstClr>
                </a:outerShdw>
              </a:effectLst>
            </c:spPr>
          </c:dPt>
          <c:dPt>
            <c:idx val="5"/>
            <c:spPr>
              <a:solidFill>
                <a:schemeClr val="bg1">
                  <a:lumMod val="65000"/>
                </a:schemeClr>
              </a:solidFill>
              <a:ln w="12700">
                <a:solidFill>
                  <a:schemeClr val="tx2"/>
                </a:solidFill>
              </a:ln>
              <a:effectLst>
                <a:outerShdw blurRad="50800" dist="38100" dir="2700000" algn="tl" rotWithShape="0">
                  <a:prstClr val="black">
                    <a:alpha val="40000"/>
                  </a:prstClr>
                </a:outerShdw>
              </a:effectLst>
            </c:spPr>
          </c:dPt>
          <c:dLbls>
            <c:dLbl>
              <c:idx val="0"/>
              <c:layout>
                <c:manualLayout>
                  <c:x val="9.7121775282896939E-3"/>
                  <c:y val="3.0964636418595891E-2"/>
                </c:manualLayout>
              </c:layout>
              <c:numFmt formatCode="0%" sourceLinked="0"/>
              <c:spPr/>
              <c:txPr>
                <a:bodyPr/>
                <a:lstStyle/>
                <a:p>
                  <a:pPr>
                    <a:defRPr sz="1400">
                      <a:solidFill>
                        <a:schemeClr val="bg1"/>
                      </a:solidFill>
                    </a:defRPr>
                  </a:pPr>
                  <a:endParaRPr lang="fr-FR"/>
                </a:p>
              </c:txPr>
              <c:showVal val="1"/>
            </c:dLbl>
            <c:dLbl>
              <c:idx val="1"/>
              <c:layout>
                <c:manualLayout>
                  <c:x val="-4.6128640479352855E-3"/>
                  <c:y val="5.4363758765564416E-2"/>
                </c:manualLayout>
              </c:layout>
              <c:showVal val="1"/>
            </c:dLbl>
            <c:dLbl>
              <c:idx val="2"/>
              <c:layout>
                <c:manualLayout>
                  <c:x val="-2.1631977039587098E-2"/>
                  <c:y val="1.476142980015376E-2"/>
                </c:manualLayout>
              </c:layout>
              <c:tx>
                <c:rich>
                  <a:bodyPr/>
                  <a:lstStyle/>
                  <a:p>
                    <a:r>
                      <a:rPr lang="en-US" sz="1400"/>
                      <a:t>21%</a:t>
                    </a:r>
                  </a:p>
                </c:rich>
              </c:tx>
              <c:showVal val="1"/>
            </c:dLbl>
            <c:dLbl>
              <c:idx val="3"/>
              <c:layout>
                <c:manualLayout>
                  <c:x val="8.4066330956944959E-3"/>
                  <c:y val="2.1827852610741282E-2"/>
                </c:manualLayout>
              </c:layout>
              <c:numFmt formatCode="0%" sourceLinked="0"/>
              <c:spPr/>
              <c:txPr>
                <a:bodyPr/>
                <a:lstStyle/>
                <a:p>
                  <a:pPr>
                    <a:defRPr sz="1400">
                      <a:solidFill>
                        <a:schemeClr val="bg1"/>
                      </a:solidFill>
                    </a:defRPr>
                  </a:pPr>
                  <a:endParaRPr lang="fr-FR"/>
                </a:p>
              </c:txPr>
              <c:showVal val="1"/>
            </c:dLbl>
            <c:dLbl>
              <c:idx val="4"/>
              <c:layout>
                <c:manualLayout>
                  <c:x val="2.5834578220622038E-2"/>
                  <c:y val="-2.5625866544102982E-2"/>
                </c:manualLayout>
              </c:layout>
              <c:numFmt formatCode="0%" sourceLinked="0"/>
              <c:spPr/>
              <c:txPr>
                <a:bodyPr/>
                <a:lstStyle/>
                <a:p>
                  <a:pPr>
                    <a:defRPr sz="1400">
                      <a:solidFill>
                        <a:schemeClr val="bg1"/>
                      </a:solidFill>
                    </a:defRPr>
                  </a:pPr>
                  <a:endParaRPr lang="fr-FR"/>
                </a:p>
              </c:txPr>
              <c:showVal val="1"/>
            </c:dLbl>
            <c:dLbl>
              <c:idx val="5"/>
              <c:layout>
                <c:manualLayout>
                  <c:x val="2.451186498452949E-2"/>
                  <c:y val="2.7519628952251636E-2"/>
                </c:manualLayout>
              </c:layout>
              <c:showVal val="1"/>
            </c:dLbl>
            <c:numFmt formatCode="0%" sourceLinked="0"/>
            <c:txPr>
              <a:bodyPr/>
              <a:lstStyle/>
              <a:p>
                <a:pPr>
                  <a:defRPr sz="1400"/>
                </a:pPr>
                <a:endParaRPr lang="fr-FR"/>
              </a:p>
            </c:txPr>
            <c:showVal val="1"/>
            <c:showLeaderLines val="1"/>
          </c:dLbls>
          <c:cat>
            <c:strRef>
              <c:f>Sheet1!$B$1:$F$1</c:f>
              <c:strCache>
                <c:ptCount val="5"/>
                <c:pt idx="0">
                  <c:v>Chassis &amp; Safety</c:v>
                </c:pt>
                <c:pt idx="1">
                  <c:v>Powertrain</c:v>
                </c:pt>
                <c:pt idx="2">
                  <c:v>Interior</c:v>
                </c:pt>
                <c:pt idx="3">
                  <c:v>Pkw-Reifen</c:v>
                </c:pt>
                <c:pt idx="4">
                  <c:v>ContiTech</c:v>
                </c:pt>
              </c:strCache>
            </c:strRef>
          </c:cat>
          <c:val>
            <c:numRef>
              <c:f>Sheet1!$B$2:$F$2</c:f>
              <c:numCache>
                <c:formatCode>0%</c:formatCode>
                <c:ptCount val="5"/>
                <c:pt idx="0">
                  <c:v>0.22000000000000014</c:v>
                </c:pt>
                <c:pt idx="1">
                  <c:v>0.18000000000000019</c:v>
                </c:pt>
                <c:pt idx="2">
                  <c:v>0.21000000000000019</c:v>
                </c:pt>
                <c:pt idx="3">
                  <c:v>0.27</c:v>
                </c:pt>
                <c:pt idx="4">
                  <c:v>0.12000000000000002</c:v>
                </c:pt>
              </c:numCache>
            </c:numRef>
          </c:val>
        </c:ser>
        <c:firstSliceAng val="97"/>
        <c:holeSize val="30"/>
      </c:doughnutChart>
    </c:plotArea>
    <c:plotVisOnly val="1"/>
    <c:dispBlanksAs val="zero"/>
  </c:chart>
  <c:txPr>
    <a:bodyPr/>
    <a:lstStyle/>
    <a:p>
      <a:pPr>
        <a:defRPr sz="1800"/>
      </a:pPr>
      <a:endParaRPr lang="fr-FR"/>
    </a:p>
  </c:txPr>
  <c:externalData r:id="rId1"/>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1" name="Fußzeilenplatzhalter 10"/>
          <p:cNvSpPr>
            <a:spLocks noGrp="1"/>
          </p:cNvSpPr>
          <p:nvPr>
            <p:ph type="ftr" sz="quarter" idx="2"/>
          </p:nvPr>
        </p:nvSpPr>
        <p:spPr>
          <a:xfrm>
            <a:off x="1356460" y="9643884"/>
            <a:ext cx="2896481" cy="215988"/>
          </a:xfrm>
          <a:prstGeom prst="rect">
            <a:avLst/>
          </a:prstGeom>
        </p:spPr>
        <p:txBody>
          <a:bodyPr vert="horz" lIns="35713" tIns="45357" rIns="35713" bIns="45357" rtlCol="0" anchor="ctr"/>
          <a:lstStyle>
            <a:lvl1pPr algn="l">
              <a:defRPr sz="1200"/>
            </a:lvl1pPr>
          </a:lstStyle>
          <a:p>
            <a:r>
              <a:rPr lang="de-DE" sz="900" dirty="0" smtClean="0">
                <a:latin typeface="Arial" pitchFamily="34" charset="0"/>
                <a:cs typeface="Arial" pitchFamily="34" charset="0"/>
              </a:rPr>
              <a:t>©  Continental AG</a:t>
            </a:r>
            <a:endParaRPr lang="de-DE" sz="900" dirty="0">
              <a:latin typeface="Arial" pitchFamily="34" charset="0"/>
              <a:cs typeface="Arial" pitchFamily="34" charset="0"/>
            </a:endParaRPr>
          </a:p>
        </p:txBody>
      </p:sp>
      <p:sp>
        <p:nvSpPr>
          <p:cNvPr id="12" name="Foliennummernplatzhalter 11"/>
          <p:cNvSpPr>
            <a:spLocks noGrp="1"/>
          </p:cNvSpPr>
          <p:nvPr>
            <p:ph type="sldNum" sz="quarter" idx="3"/>
          </p:nvPr>
        </p:nvSpPr>
        <p:spPr>
          <a:xfrm>
            <a:off x="81327" y="9643885"/>
            <a:ext cx="438063" cy="215989"/>
          </a:xfrm>
          <a:prstGeom prst="rect">
            <a:avLst/>
          </a:prstGeom>
        </p:spPr>
        <p:txBody>
          <a:bodyPr vert="horz" lIns="35713" tIns="45357" rIns="35713" bIns="45357" rtlCol="0" anchor="ctr"/>
          <a:lstStyle>
            <a:lvl1pPr algn="r">
              <a:defRPr sz="1200"/>
            </a:lvl1pPr>
          </a:lstStyle>
          <a:p>
            <a:fld id="{0602BE49-D4B5-4488-BBDD-01723D8ABAC8}" type="slidenum">
              <a:rPr lang="de-DE" sz="900" smtClean="0">
                <a:latin typeface="Arial" pitchFamily="34" charset="0"/>
                <a:cs typeface="Arial" pitchFamily="34" charset="0"/>
              </a:rPr>
              <a:pPr/>
              <a:t>‹N°›</a:t>
            </a:fld>
            <a:endParaRPr lang="de-DE" sz="900" dirty="0">
              <a:latin typeface="Arial" pitchFamily="34" charset="0"/>
              <a:cs typeface="Arial" pitchFamily="34" charset="0"/>
            </a:endParaRPr>
          </a:p>
        </p:txBody>
      </p:sp>
      <p:sp>
        <p:nvSpPr>
          <p:cNvPr id="13" name="Datumsplatzhalter 12"/>
          <p:cNvSpPr>
            <a:spLocks noGrp="1"/>
          </p:cNvSpPr>
          <p:nvPr>
            <p:ph type="dt" sz="quarter" idx="1"/>
          </p:nvPr>
        </p:nvSpPr>
        <p:spPr>
          <a:xfrm>
            <a:off x="508709" y="9643885"/>
            <a:ext cx="847750" cy="215989"/>
          </a:xfrm>
          <a:prstGeom prst="rect">
            <a:avLst/>
          </a:prstGeom>
        </p:spPr>
        <p:txBody>
          <a:bodyPr vert="horz" lIns="35713" tIns="45357" rIns="35713" bIns="45357" rtlCol="0" anchor="ctr"/>
          <a:lstStyle>
            <a:lvl1pPr algn="r">
              <a:defRPr sz="1200"/>
            </a:lvl1pPr>
          </a:lstStyle>
          <a:p>
            <a:pPr algn="ctr"/>
            <a:fld id="{10510B31-2208-4337-95D3-0FE83166265F}" type="datetime5">
              <a:rPr lang="de-DE" sz="900" smtClean="0">
                <a:latin typeface="Arial" pitchFamily="34" charset="0"/>
                <a:cs typeface="Arial" pitchFamily="34" charset="0"/>
              </a:rPr>
              <a:pPr algn="ctr"/>
              <a:t>12-05-18</a:t>
            </a:fld>
            <a:r>
              <a:rPr lang="de-DE" sz="900" smtClean="0">
                <a:latin typeface="Arial" pitchFamily="34" charset="0"/>
                <a:cs typeface="Arial" pitchFamily="34" charset="0"/>
              </a:rPr>
              <a:t> </a:t>
            </a:r>
            <a:endParaRPr lang="de-DE" sz="900" dirty="0">
              <a:latin typeface="Arial" pitchFamily="34" charset="0"/>
              <a:cs typeface="Arial" pitchFamily="34" charset="0"/>
            </a:endParaRPr>
          </a:p>
        </p:txBody>
      </p:sp>
    </p:spTree>
    <p:extLst>
      <p:ext uri="{BB962C8B-B14F-4D97-AF65-F5344CB8AC3E}">
        <p14:creationId xmlns="" xmlns:p14="http://schemas.microsoft.com/office/powerpoint/2010/main" val="100300341"/>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889938" cy="496412"/>
          </a:xfrm>
          <a:prstGeom prst="rect">
            <a:avLst/>
          </a:prstGeom>
        </p:spPr>
        <p:txBody>
          <a:bodyPr vert="horz" lIns="90713" tIns="45357" rIns="90713" bIns="45357" rtlCol="0"/>
          <a:lstStyle>
            <a:lvl1pPr algn="l">
              <a:defRPr sz="1100">
                <a:latin typeface="Arial" pitchFamily="34" charset="0"/>
                <a:cs typeface="Arial" pitchFamily="34" charset="0"/>
              </a:defRPr>
            </a:lvl1pPr>
          </a:lstStyle>
          <a:p>
            <a:endParaRPr lang="de-DE"/>
          </a:p>
        </p:txBody>
      </p:sp>
      <p:sp>
        <p:nvSpPr>
          <p:cNvPr id="3" name="Datumsplatzhalter 2"/>
          <p:cNvSpPr>
            <a:spLocks noGrp="1"/>
          </p:cNvSpPr>
          <p:nvPr>
            <p:ph type="dt" idx="1"/>
          </p:nvPr>
        </p:nvSpPr>
        <p:spPr>
          <a:xfrm>
            <a:off x="3777608" y="0"/>
            <a:ext cx="2889938" cy="496412"/>
          </a:xfrm>
          <a:prstGeom prst="rect">
            <a:avLst/>
          </a:prstGeom>
        </p:spPr>
        <p:txBody>
          <a:bodyPr vert="horz" lIns="90713" tIns="45357" rIns="90713" bIns="45357" rtlCol="0"/>
          <a:lstStyle>
            <a:lvl1pPr algn="r">
              <a:defRPr sz="1100">
                <a:latin typeface="Arial" pitchFamily="34" charset="0"/>
                <a:cs typeface="Arial" pitchFamily="34" charset="0"/>
              </a:defRPr>
            </a:lvl1pPr>
          </a:lstStyle>
          <a:p>
            <a:fld id="{9B197E0D-AEBE-4A4D-ACC4-6DB721564840}" type="datetime5">
              <a:rPr lang="de-DE" smtClean="0"/>
              <a:pPr/>
              <a:t>12-05-18</a:t>
            </a:fld>
            <a:endParaRPr lang="de-DE"/>
          </a:p>
        </p:txBody>
      </p:sp>
      <p:sp>
        <p:nvSpPr>
          <p:cNvPr id="4" name="Folienbildplatzhalter 3"/>
          <p:cNvSpPr>
            <a:spLocks noGrp="1" noRot="1" noChangeAspect="1"/>
          </p:cNvSpPr>
          <p:nvPr>
            <p:ph type="sldImg" idx="2"/>
          </p:nvPr>
        </p:nvSpPr>
        <p:spPr>
          <a:xfrm>
            <a:off x="852488" y="744538"/>
            <a:ext cx="4964112" cy="3724275"/>
          </a:xfrm>
          <a:prstGeom prst="rect">
            <a:avLst/>
          </a:prstGeom>
          <a:noFill/>
          <a:ln w="12700">
            <a:solidFill>
              <a:prstClr val="black"/>
            </a:solidFill>
          </a:ln>
        </p:spPr>
        <p:txBody>
          <a:bodyPr vert="horz" lIns="90713" tIns="45357" rIns="90713" bIns="45357" rtlCol="0" anchor="ctr"/>
          <a:lstStyle/>
          <a:p>
            <a:endParaRPr lang="de-DE"/>
          </a:p>
        </p:txBody>
      </p:sp>
      <p:sp>
        <p:nvSpPr>
          <p:cNvPr id="5" name="Notizenplatzhalter 4"/>
          <p:cNvSpPr>
            <a:spLocks noGrp="1"/>
          </p:cNvSpPr>
          <p:nvPr>
            <p:ph type="body" sz="quarter" idx="3"/>
          </p:nvPr>
        </p:nvSpPr>
        <p:spPr>
          <a:xfrm>
            <a:off x="666909" y="4715908"/>
            <a:ext cx="5335270" cy="4467701"/>
          </a:xfrm>
          <a:prstGeom prst="rect">
            <a:avLst/>
          </a:prstGeom>
        </p:spPr>
        <p:txBody>
          <a:bodyPr vert="horz" lIns="90713" tIns="45357" rIns="90713" bIns="45357" rtlCol="0">
            <a:normAutofit/>
          </a:bodyPr>
          <a:lstStyle/>
          <a:p>
            <a:pPr lvl="0"/>
            <a:r>
              <a:rPr lang="de-DE" dirty="0" smtClean="0"/>
              <a:t>Textmasterformate durch Klicken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6" name="Fußzeilenplatzhalter 5"/>
          <p:cNvSpPr>
            <a:spLocks noGrp="1"/>
          </p:cNvSpPr>
          <p:nvPr>
            <p:ph type="ftr" sz="quarter" idx="4"/>
          </p:nvPr>
        </p:nvSpPr>
        <p:spPr>
          <a:xfrm>
            <a:off x="0" y="9430091"/>
            <a:ext cx="2889938" cy="496412"/>
          </a:xfrm>
          <a:prstGeom prst="rect">
            <a:avLst/>
          </a:prstGeom>
        </p:spPr>
        <p:txBody>
          <a:bodyPr vert="horz" lIns="90713" tIns="45357" rIns="90713" bIns="45357" rtlCol="0" anchor="b"/>
          <a:lstStyle>
            <a:lvl1pPr algn="l">
              <a:defRPr sz="1100">
                <a:latin typeface="Arial" pitchFamily="34" charset="0"/>
                <a:cs typeface="Arial" pitchFamily="34" charset="0"/>
              </a:defRPr>
            </a:lvl1pPr>
          </a:lstStyle>
          <a:p>
            <a:r>
              <a:rPr lang="de-DE" smtClean="0"/>
              <a:t>©  Continental AG</a:t>
            </a:r>
            <a:endParaRPr lang="de-DE"/>
          </a:p>
        </p:txBody>
      </p:sp>
      <p:sp>
        <p:nvSpPr>
          <p:cNvPr id="7" name="Foliennummernplatzhalter 6"/>
          <p:cNvSpPr>
            <a:spLocks noGrp="1"/>
          </p:cNvSpPr>
          <p:nvPr>
            <p:ph type="sldNum" sz="quarter" idx="5"/>
          </p:nvPr>
        </p:nvSpPr>
        <p:spPr>
          <a:xfrm>
            <a:off x="3777608" y="9430091"/>
            <a:ext cx="2889938" cy="496412"/>
          </a:xfrm>
          <a:prstGeom prst="rect">
            <a:avLst/>
          </a:prstGeom>
        </p:spPr>
        <p:txBody>
          <a:bodyPr vert="horz" lIns="90713" tIns="45357" rIns="90713" bIns="45357" rtlCol="0" anchor="b"/>
          <a:lstStyle>
            <a:lvl1pPr algn="r">
              <a:defRPr sz="1100">
                <a:latin typeface="Arial" pitchFamily="34" charset="0"/>
                <a:cs typeface="Arial" pitchFamily="34" charset="0"/>
              </a:defRPr>
            </a:lvl1pPr>
          </a:lstStyle>
          <a:p>
            <a:fld id="{85C809E2-A699-42BB-ABC4-0EEDC136ABDC}" type="slidenum">
              <a:rPr lang="de-DE" smtClean="0"/>
              <a:pPr/>
              <a:t>‹N°›</a:t>
            </a:fld>
            <a:endParaRPr lang="de-DE"/>
          </a:p>
        </p:txBody>
      </p:sp>
    </p:spTree>
    <p:extLst>
      <p:ext uri="{BB962C8B-B14F-4D97-AF65-F5344CB8AC3E}">
        <p14:creationId xmlns="" xmlns:p14="http://schemas.microsoft.com/office/powerpoint/2010/main" val="1076157586"/>
      </p:ext>
    </p:extLst>
  </p:cSld>
  <p:clrMap bg1="lt1" tx1="dk1" bg2="lt2" tx2="dk2" accent1="accent1" accent2="accent2" accent3="accent3" accent4="accent4" accent5="accent5" accent6="accent6" hlink="hlink" folHlink="folHlink"/>
  <p:hf hdr="0" ftr="0"/>
  <p:notesStyle>
    <a:lvl1pPr marL="0" algn="l" defTabSz="914400" rtl="0" eaLnBrk="1" latinLnBrk="0" hangingPunct="1">
      <a:defRPr sz="1100" kern="1200">
        <a:solidFill>
          <a:schemeClr val="tx1"/>
        </a:solidFill>
        <a:latin typeface="Arial" pitchFamily="34" charset="0"/>
        <a:ea typeface="+mn-ea"/>
        <a:cs typeface="Arial" pitchFamily="34" charset="0"/>
      </a:defRPr>
    </a:lvl1pPr>
    <a:lvl2pPr marL="457200" algn="l" defTabSz="914400" rtl="0" eaLnBrk="1" latinLnBrk="0" hangingPunct="1">
      <a:defRPr sz="1100" kern="1200">
        <a:solidFill>
          <a:schemeClr val="tx1"/>
        </a:solidFill>
        <a:latin typeface="Arial" pitchFamily="34" charset="0"/>
        <a:ea typeface="+mn-ea"/>
        <a:cs typeface="Arial" pitchFamily="34" charset="0"/>
      </a:defRPr>
    </a:lvl2pPr>
    <a:lvl3pPr marL="914400" algn="l" defTabSz="914400" rtl="0" eaLnBrk="1" latinLnBrk="0" hangingPunct="1">
      <a:defRPr sz="1100" kern="1200">
        <a:solidFill>
          <a:schemeClr val="tx1"/>
        </a:solidFill>
        <a:latin typeface="Arial" pitchFamily="34" charset="0"/>
        <a:ea typeface="+mn-ea"/>
        <a:cs typeface="Arial" pitchFamily="34" charset="0"/>
      </a:defRPr>
    </a:lvl3pPr>
    <a:lvl4pPr marL="1371600" algn="l" defTabSz="914400" rtl="0" eaLnBrk="1" latinLnBrk="0" hangingPunct="1">
      <a:defRPr sz="1100" kern="1200">
        <a:solidFill>
          <a:schemeClr val="tx1"/>
        </a:solidFill>
        <a:latin typeface="Arial" pitchFamily="34" charset="0"/>
        <a:ea typeface="+mn-ea"/>
        <a:cs typeface="Arial" pitchFamily="34" charset="0"/>
      </a:defRPr>
    </a:lvl4pPr>
    <a:lvl5pPr marL="1828800" algn="l" defTabSz="914400" rtl="0" eaLnBrk="1" latinLnBrk="0" hangingPunct="1">
      <a:defRPr sz="11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2"/>
          <p:cNvSpPr>
            <a:spLocks noGrp="1" noRot="1" noChangeAspect="1" noChangeArrowheads="1" noTextEdit="1"/>
          </p:cNvSpPr>
          <p:nvPr>
            <p:ph type="sldImg"/>
          </p:nvPr>
        </p:nvSpPr>
        <p:spPr>
          <a:xfrm>
            <a:off x="852488" y="744538"/>
            <a:ext cx="4965700" cy="3724275"/>
          </a:xfrm>
          <a:ln/>
        </p:spPr>
      </p:sp>
      <p:sp>
        <p:nvSpPr>
          <p:cNvPr id="51203" name="Rectangle 3"/>
          <p:cNvSpPr>
            <a:spLocks noGrp="1" noChangeArrowheads="1"/>
          </p:cNvSpPr>
          <p:nvPr>
            <p:ph type="body" idx="1"/>
          </p:nvPr>
        </p:nvSpPr>
        <p:spPr>
          <a:xfrm>
            <a:off x="666598" y="4716706"/>
            <a:ext cx="5335894" cy="4467701"/>
          </a:xfrm>
          <a:noFill/>
          <a:ln/>
        </p:spPr>
        <p:txBody>
          <a:bodyPr>
            <a:normAutofit/>
          </a:bodyPr>
          <a:lstStyle/>
          <a:p>
            <a:pPr eaLnBrk="1" hangingPunct="1"/>
            <a:endParaRPr lang="en-GB" altLang="zh-CN" sz="1100" dirty="0" smtClean="0">
              <a:latin typeface="Arial" pitchFamily="34" charset="0"/>
              <a:cs typeface="Arial" pitchFamily="34" charset="0"/>
            </a:endParaRPr>
          </a:p>
        </p:txBody>
      </p:sp>
      <p:sp>
        <p:nvSpPr>
          <p:cNvPr id="4" name="Datumsplatzhalter 3"/>
          <p:cNvSpPr>
            <a:spLocks noGrp="1"/>
          </p:cNvSpPr>
          <p:nvPr>
            <p:ph type="dt" idx="10"/>
          </p:nvPr>
        </p:nvSpPr>
        <p:spPr/>
        <p:txBody>
          <a:bodyPr/>
          <a:lstStyle/>
          <a:p>
            <a:fld id="{3104D4CD-CDD3-469E-B88E-CCB5819F805E}" type="datetime5">
              <a:rPr lang="de-DE" smtClean="0"/>
              <a:pPr/>
              <a:t>12-05-18</a:t>
            </a:fld>
            <a:endParaRPr lang="de-DE" dirty="0"/>
          </a:p>
        </p:txBody>
      </p:sp>
      <p:sp>
        <p:nvSpPr>
          <p:cNvPr id="5" name="Foliennummernplatzhalter 4"/>
          <p:cNvSpPr>
            <a:spLocks noGrp="1"/>
          </p:cNvSpPr>
          <p:nvPr>
            <p:ph type="sldNum" sz="quarter" idx="11"/>
          </p:nvPr>
        </p:nvSpPr>
        <p:spPr/>
        <p:txBody>
          <a:bodyPr/>
          <a:lstStyle/>
          <a:p>
            <a:fld id="{85C809E2-A699-42BB-ABC4-0EEDC136ABDC}" type="slidenum">
              <a:rPr lang="de-DE" smtClean="0"/>
              <a:pPr/>
              <a:t>1</a:t>
            </a:fld>
            <a:endParaRPr lang="de-DE"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2"/>
          <p:cNvSpPr>
            <a:spLocks noGrp="1" noRot="1" noChangeAspect="1" noChangeArrowheads="1" noTextEdit="1"/>
          </p:cNvSpPr>
          <p:nvPr>
            <p:ph type="sldImg"/>
          </p:nvPr>
        </p:nvSpPr>
        <p:spPr>
          <a:xfrm>
            <a:off x="852488" y="744538"/>
            <a:ext cx="4965700" cy="3724275"/>
          </a:xfrm>
          <a:ln/>
        </p:spPr>
      </p:sp>
      <p:sp>
        <p:nvSpPr>
          <p:cNvPr id="51203" name="Rectangle 3"/>
          <p:cNvSpPr>
            <a:spLocks noGrp="1" noChangeArrowheads="1"/>
          </p:cNvSpPr>
          <p:nvPr>
            <p:ph type="body" idx="1"/>
          </p:nvPr>
        </p:nvSpPr>
        <p:spPr>
          <a:xfrm>
            <a:off x="666598" y="4716706"/>
            <a:ext cx="5335894" cy="4467701"/>
          </a:xfrm>
          <a:noFill/>
          <a:ln/>
        </p:spPr>
        <p:txBody>
          <a:bodyPr/>
          <a:lstStyle/>
          <a:p>
            <a:pPr eaLnBrk="1" hangingPunct="1"/>
            <a:endParaRPr lang="en-GB" altLang="zh-CN" dirty="0" smtClean="0"/>
          </a:p>
        </p:txBody>
      </p:sp>
      <p:sp>
        <p:nvSpPr>
          <p:cNvPr id="4" name="Datumsplatzhalter 3"/>
          <p:cNvSpPr>
            <a:spLocks noGrp="1"/>
          </p:cNvSpPr>
          <p:nvPr>
            <p:ph type="dt" idx="10"/>
          </p:nvPr>
        </p:nvSpPr>
        <p:spPr/>
        <p:txBody>
          <a:bodyPr/>
          <a:lstStyle/>
          <a:p>
            <a:fld id="{B09C9511-AF3E-4BCB-9147-CBC614679010}" type="datetime5">
              <a:rPr lang="de-DE" smtClean="0"/>
              <a:pPr/>
              <a:t>12-05-18</a:t>
            </a:fld>
            <a:endParaRPr lang="de-DE"/>
          </a:p>
        </p:txBody>
      </p:sp>
      <p:sp>
        <p:nvSpPr>
          <p:cNvPr id="5" name="Foliennummernplatzhalter 4"/>
          <p:cNvSpPr>
            <a:spLocks noGrp="1"/>
          </p:cNvSpPr>
          <p:nvPr>
            <p:ph type="sldNum" sz="quarter" idx="11"/>
          </p:nvPr>
        </p:nvSpPr>
        <p:spPr/>
        <p:txBody>
          <a:bodyPr/>
          <a:lstStyle/>
          <a:p>
            <a:fld id="{85C809E2-A699-42BB-ABC4-0EEDC136ABDC}" type="slidenum">
              <a:rPr lang="de-DE" smtClean="0"/>
              <a:pPr/>
              <a:t>11</a:t>
            </a:fld>
            <a:endParaRPr lang="de-DE"/>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2"/>
          <p:cNvSpPr>
            <a:spLocks noGrp="1" noRot="1" noChangeAspect="1" noChangeArrowheads="1" noTextEdit="1"/>
          </p:cNvSpPr>
          <p:nvPr>
            <p:ph type="sldImg"/>
          </p:nvPr>
        </p:nvSpPr>
        <p:spPr>
          <a:xfrm>
            <a:off x="852488" y="744538"/>
            <a:ext cx="4965700" cy="3724275"/>
          </a:xfrm>
          <a:ln/>
        </p:spPr>
      </p:sp>
      <p:sp>
        <p:nvSpPr>
          <p:cNvPr id="51203" name="Rectangle 3"/>
          <p:cNvSpPr>
            <a:spLocks noGrp="1" noChangeArrowheads="1"/>
          </p:cNvSpPr>
          <p:nvPr>
            <p:ph type="body" idx="1"/>
          </p:nvPr>
        </p:nvSpPr>
        <p:spPr>
          <a:xfrm>
            <a:off x="666598" y="4716706"/>
            <a:ext cx="5335894" cy="4467701"/>
          </a:xfrm>
          <a:noFill/>
          <a:ln/>
        </p:spPr>
        <p:txBody>
          <a:bodyPr/>
          <a:lstStyle/>
          <a:p>
            <a:pPr eaLnBrk="1" hangingPunct="1"/>
            <a:endParaRPr lang="en-GB" altLang="zh-CN" dirty="0" smtClean="0"/>
          </a:p>
        </p:txBody>
      </p:sp>
      <p:sp>
        <p:nvSpPr>
          <p:cNvPr id="4" name="Datumsplatzhalter 3"/>
          <p:cNvSpPr>
            <a:spLocks noGrp="1"/>
          </p:cNvSpPr>
          <p:nvPr>
            <p:ph type="dt" idx="10"/>
          </p:nvPr>
        </p:nvSpPr>
        <p:spPr/>
        <p:txBody>
          <a:bodyPr/>
          <a:lstStyle/>
          <a:p>
            <a:fld id="{B09C9511-AF3E-4BCB-9147-CBC614679010}" type="datetime5">
              <a:rPr lang="de-DE" smtClean="0"/>
              <a:pPr/>
              <a:t>12-05-18</a:t>
            </a:fld>
            <a:endParaRPr lang="de-DE"/>
          </a:p>
        </p:txBody>
      </p:sp>
      <p:sp>
        <p:nvSpPr>
          <p:cNvPr id="5" name="Foliennummernplatzhalter 4"/>
          <p:cNvSpPr>
            <a:spLocks noGrp="1"/>
          </p:cNvSpPr>
          <p:nvPr>
            <p:ph type="sldNum" sz="quarter" idx="11"/>
          </p:nvPr>
        </p:nvSpPr>
        <p:spPr/>
        <p:txBody>
          <a:bodyPr/>
          <a:lstStyle/>
          <a:p>
            <a:fld id="{85C809E2-A699-42BB-ABC4-0EEDC136ABDC}" type="slidenum">
              <a:rPr lang="de-DE" smtClean="0"/>
              <a:pPr/>
              <a:t>12</a:t>
            </a:fld>
            <a:endParaRPr lang="de-DE"/>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pPr algn="l" defTabSz="868680">
              <a:buNone/>
            </a:pPr>
            <a:r>
              <a:rPr lang="en-GB" b="1" i="0" smtClean="0">
                <a:solidFill>
                  <a:schemeClr val="tx1"/>
                </a:solidFill>
              </a:rPr>
              <a:t>We make individual mobility safer, more comfortable, and more sustainable</a:t>
            </a:r>
          </a:p>
          <a:p>
            <a:pPr algn="l" defTabSz="868680">
              <a:buNone/>
            </a:pPr>
            <a:r>
              <a:rPr lang="en-GB" b="0" i="0" smtClean="0">
                <a:solidFill>
                  <a:schemeClr val="tx1"/>
                </a:solidFill>
              </a:rPr>
              <a:t>Thanks to our core competencies, products and services, we, </a:t>
            </a:r>
            <a:r>
              <a:rPr lang="en-GB" b="0" i="0" baseline="0" smtClean="0">
                <a:solidFill>
                  <a:schemeClr val="tx1"/>
                </a:solidFill>
              </a:rPr>
              <a:t> </a:t>
            </a:r>
            <a:r>
              <a:rPr lang="en-GB" b="0" i="0" smtClean="0">
                <a:solidFill>
                  <a:schemeClr val="tx1"/>
                </a:solidFill>
              </a:rPr>
              <a:t>together with our customers, improve the safety, comfort and fun of driving. With</a:t>
            </a:r>
            <a:r>
              <a:rPr lang="en-GB" b="0" i="0" baseline="0" smtClean="0">
                <a:solidFill>
                  <a:schemeClr val="tx1"/>
                </a:solidFill>
              </a:rPr>
              <a:t> </a:t>
            </a:r>
            <a:r>
              <a:rPr lang="en-GB" b="0" i="0" smtClean="0">
                <a:solidFill>
                  <a:schemeClr val="tx1"/>
                </a:solidFill>
              </a:rPr>
              <a:t>our products, technologies and processes we significantly contribute to sustainable individual mobility.</a:t>
            </a:r>
          </a:p>
          <a:p>
            <a:pPr algn="l" defTabSz="868680">
              <a:buNone/>
            </a:pPr>
            <a:endParaRPr lang="en-GB" smtClean="0"/>
          </a:p>
          <a:p>
            <a:pPr algn="l" defTabSz="868680">
              <a:buNone/>
            </a:pPr>
            <a:r>
              <a:rPr lang="en-GB" b="1" i="0" smtClean="0">
                <a:solidFill>
                  <a:schemeClr val="tx1"/>
                </a:solidFill>
              </a:rPr>
              <a:t>Performance is our passion</a:t>
            </a:r>
          </a:p>
          <a:p>
            <a:pPr algn="l" defTabSz="868680">
              <a:buNone/>
            </a:pPr>
            <a:r>
              <a:rPr lang="en-GB" b="0" i="0" smtClean="0">
                <a:solidFill>
                  <a:schemeClr val="tx1"/>
                </a:solidFill>
              </a:rPr>
              <a:t>Delivering trend-setting innovations, high performance products, quality without compromise and outstanding services to our customers is what </a:t>
            </a:r>
            <a:r>
              <a:rPr lang="en-GB" b="0" i="0" baseline="0" smtClean="0">
                <a:solidFill>
                  <a:schemeClr val="tx1"/>
                </a:solidFill>
              </a:rPr>
              <a:t> </a:t>
            </a:r>
            <a:r>
              <a:rPr lang="en-GB" b="0" i="0" smtClean="0">
                <a:solidFill>
                  <a:schemeClr val="tx1"/>
                </a:solidFill>
              </a:rPr>
              <a:t>motivates us in all our business areas.</a:t>
            </a:r>
            <a:r>
              <a:rPr lang="en-GB" b="0" i="0" baseline="0" smtClean="0">
                <a:solidFill>
                  <a:schemeClr val="tx1"/>
                </a:solidFill>
              </a:rPr>
              <a:t> </a:t>
            </a:r>
            <a:r>
              <a:rPr lang="en-GB" b="0" i="0" smtClean="0">
                <a:solidFill>
                  <a:schemeClr val="tx1"/>
                </a:solidFill>
              </a:rPr>
              <a:t>Combining technological, ecological, economic and personal aspects of performance makes the difference at Continental.</a:t>
            </a:r>
          </a:p>
          <a:p>
            <a:pPr algn="l" defTabSz="868680">
              <a:buNone/>
            </a:pPr>
            <a:endParaRPr lang="en-GB" smtClean="0"/>
          </a:p>
          <a:p>
            <a:pPr algn="l" defTabSz="868680">
              <a:buNone/>
            </a:pPr>
            <a:r>
              <a:rPr lang="en-GB" b="1" i="0" smtClean="0">
                <a:solidFill>
                  <a:schemeClr val="tx1"/>
                </a:solidFill>
              </a:rPr>
              <a:t>Creating value is our driving force</a:t>
            </a:r>
          </a:p>
          <a:p>
            <a:pPr algn="l" defTabSz="868680">
              <a:buNone/>
            </a:pPr>
            <a:r>
              <a:rPr lang="en-GB" b="0" i="0" smtClean="0">
                <a:solidFill>
                  <a:schemeClr val="tx1"/>
                </a:solidFill>
              </a:rPr>
              <a:t>With our products and services we create value for our business partners and shareholders as well as for our employees and society in general. Profitable growth and consistent cost management in all business areas are the basis for our success.</a:t>
            </a:r>
          </a:p>
        </p:txBody>
      </p:sp>
      <p:sp>
        <p:nvSpPr>
          <p:cNvPr id="4" name="Foliennummernplatzhalter 3"/>
          <p:cNvSpPr>
            <a:spLocks noGrp="1"/>
          </p:cNvSpPr>
          <p:nvPr>
            <p:ph type="sldNum" sz="quarter" idx="10"/>
          </p:nvPr>
        </p:nvSpPr>
        <p:spPr/>
        <p:txBody>
          <a:bodyPr/>
          <a:lstStyle/>
          <a:p>
            <a:fld id="{4646F4A9-F27F-4AE7-8D59-6776BBBF725C}" type="slidenum">
              <a:rPr lang="de-DE" smtClean="0"/>
              <a:pPr/>
              <a:t>13</a:t>
            </a:fld>
            <a:endParaRPr lang="de-DE"/>
          </a:p>
        </p:txBody>
      </p:sp>
      <p:sp>
        <p:nvSpPr>
          <p:cNvPr id="5" name="Datumsplatzhalter 4"/>
          <p:cNvSpPr>
            <a:spLocks noGrp="1"/>
          </p:cNvSpPr>
          <p:nvPr>
            <p:ph type="dt" idx="11"/>
          </p:nvPr>
        </p:nvSpPr>
        <p:spPr/>
        <p:txBody>
          <a:bodyPr/>
          <a:lstStyle/>
          <a:p>
            <a:fld id="{BF2D3903-8D69-45A4-8232-1D10C7B1AB90}" type="datetime5">
              <a:rPr lang="de-DE" smtClean="0"/>
              <a:pPr/>
              <a:t>12-05-18</a:t>
            </a:fld>
            <a:endParaRPr lang="de-DE"/>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pPr algn="l" defTabSz="868680">
              <a:buNone/>
            </a:pPr>
            <a:r>
              <a:rPr lang="en-GB" b="1" i="0" smtClean="0">
                <a:solidFill>
                  <a:schemeClr val="tx1"/>
                </a:solidFill>
              </a:rPr>
              <a:t>We make individual mobility safer, more comfortable, and more sustainable</a:t>
            </a:r>
          </a:p>
          <a:p>
            <a:pPr algn="l" defTabSz="868680">
              <a:buNone/>
            </a:pPr>
            <a:r>
              <a:rPr lang="en-GB" b="0" i="0" smtClean="0">
                <a:solidFill>
                  <a:schemeClr val="tx1"/>
                </a:solidFill>
              </a:rPr>
              <a:t>Thanks to our core competencies, products and services, we, </a:t>
            </a:r>
            <a:r>
              <a:rPr lang="en-GB" b="0" i="0" baseline="0" smtClean="0">
                <a:solidFill>
                  <a:schemeClr val="tx1"/>
                </a:solidFill>
              </a:rPr>
              <a:t> </a:t>
            </a:r>
            <a:r>
              <a:rPr lang="en-GB" b="0" i="0" smtClean="0">
                <a:solidFill>
                  <a:schemeClr val="tx1"/>
                </a:solidFill>
              </a:rPr>
              <a:t>together with our customers, improve the safety, comfort and fun of driving. With</a:t>
            </a:r>
            <a:r>
              <a:rPr lang="en-GB" b="0" i="0" baseline="0" smtClean="0">
                <a:solidFill>
                  <a:schemeClr val="tx1"/>
                </a:solidFill>
              </a:rPr>
              <a:t> </a:t>
            </a:r>
            <a:r>
              <a:rPr lang="en-GB" b="0" i="0" smtClean="0">
                <a:solidFill>
                  <a:schemeClr val="tx1"/>
                </a:solidFill>
              </a:rPr>
              <a:t>our products, technologies and processes we significantly contribute to sustainable individual mobility.</a:t>
            </a:r>
          </a:p>
          <a:p>
            <a:pPr algn="l" defTabSz="868680">
              <a:buNone/>
            </a:pPr>
            <a:endParaRPr lang="en-GB" smtClean="0"/>
          </a:p>
          <a:p>
            <a:pPr algn="l" defTabSz="868680">
              <a:buNone/>
            </a:pPr>
            <a:r>
              <a:rPr lang="en-GB" b="1" i="0" smtClean="0">
                <a:solidFill>
                  <a:schemeClr val="tx1"/>
                </a:solidFill>
              </a:rPr>
              <a:t>Performance is our passion</a:t>
            </a:r>
          </a:p>
          <a:p>
            <a:pPr algn="l" defTabSz="868680">
              <a:buNone/>
            </a:pPr>
            <a:r>
              <a:rPr lang="en-GB" b="0" i="0" smtClean="0">
                <a:solidFill>
                  <a:schemeClr val="tx1"/>
                </a:solidFill>
              </a:rPr>
              <a:t>Delivering trend-setting innovations, high performance products, quality without compromise and outstanding services to our customers is what </a:t>
            </a:r>
            <a:r>
              <a:rPr lang="en-GB" b="0" i="0" baseline="0" smtClean="0">
                <a:solidFill>
                  <a:schemeClr val="tx1"/>
                </a:solidFill>
              </a:rPr>
              <a:t> </a:t>
            </a:r>
            <a:r>
              <a:rPr lang="en-GB" b="0" i="0" smtClean="0">
                <a:solidFill>
                  <a:schemeClr val="tx1"/>
                </a:solidFill>
              </a:rPr>
              <a:t>motivates us in all our business areas.</a:t>
            </a:r>
            <a:r>
              <a:rPr lang="en-GB" b="0" i="0" baseline="0" smtClean="0">
                <a:solidFill>
                  <a:schemeClr val="tx1"/>
                </a:solidFill>
              </a:rPr>
              <a:t> </a:t>
            </a:r>
            <a:r>
              <a:rPr lang="en-GB" b="0" i="0" smtClean="0">
                <a:solidFill>
                  <a:schemeClr val="tx1"/>
                </a:solidFill>
              </a:rPr>
              <a:t>Combining technological, ecological, economic and personal aspects of performance makes the difference at Continental.</a:t>
            </a:r>
          </a:p>
          <a:p>
            <a:pPr algn="l" defTabSz="868680">
              <a:buNone/>
            </a:pPr>
            <a:endParaRPr lang="en-GB" smtClean="0"/>
          </a:p>
          <a:p>
            <a:pPr algn="l" defTabSz="868680">
              <a:buNone/>
            </a:pPr>
            <a:r>
              <a:rPr lang="en-GB" b="1" i="0" smtClean="0">
                <a:solidFill>
                  <a:schemeClr val="tx1"/>
                </a:solidFill>
              </a:rPr>
              <a:t>Creating value is our driving force</a:t>
            </a:r>
          </a:p>
          <a:p>
            <a:pPr algn="l" defTabSz="868680">
              <a:buNone/>
            </a:pPr>
            <a:r>
              <a:rPr lang="en-GB" b="0" i="0" smtClean="0">
                <a:solidFill>
                  <a:schemeClr val="tx1"/>
                </a:solidFill>
              </a:rPr>
              <a:t>With our products and services we create value for our business partners and shareholders as well as for our employees and society in general. Profitable growth and consistent cost management in all business areas are the basis for our success.</a:t>
            </a:r>
          </a:p>
        </p:txBody>
      </p:sp>
      <p:sp>
        <p:nvSpPr>
          <p:cNvPr id="4" name="Foliennummernplatzhalter 3"/>
          <p:cNvSpPr>
            <a:spLocks noGrp="1"/>
          </p:cNvSpPr>
          <p:nvPr>
            <p:ph type="sldNum" sz="quarter" idx="10"/>
          </p:nvPr>
        </p:nvSpPr>
        <p:spPr/>
        <p:txBody>
          <a:bodyPr/>
          <a:lstStyle/>
          <a:p>
            <a:fld id="{4646F4A9-F27F-4AE7-8D59-6776BBBF725C}" type="slidenum">
              <a:rPr lang="de-DE" smtClean="0"/>
              <a:pPr/>
              <a:t>14</a:t>
            </a:fld>
            <a:endParaRPr lang="de-DE"/>
          </a:p>
        </p:txBody>
      </p:sp>
      <p:sp>
        <p:nvSpPr>
          <p:cNvPr id="5" name="Datumsplatzhalter 4"/>
          <p:cNvSpPr>
            <a:spLocks noGrp="1"/>
          </p:cNvSpPr>
          <p:nvPr>
            <p:ph type="dt" idx="11"/>
          </p:nvPr>
        </p:nvSpPr>
        <p:spPr/>
        <p:txBody>
          <a:bodyPr/>
          <a:lstStyle/>
          <a:p>
            <a:fld id="{BF2D3903-8D69-45A4-8232-1D10C7B1AB90}" type="datetime5">
              <a:rPr lang="de-DE" smtClean="0"/>
              <a:pPr/>
              <a:t>12-05-18</a:t>
            </a:fld>
            <a:endParaRPr lang="de-DE"/>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pPr algn="l" defTabSz="868680">
              <a:buNone/>
            </a:pPr>
            <a:r>
              <a:rPr lang="en-GB" b="1" i="0" smtClean="0">
                <a:solidFill>
                  <a:schemeClr val="tx1"/>
                </a:solidFill>
              </a:rPr>
              <a:t>We make individual mobility safer, more comfortable, and more sustainable</a:t>
            </a:r>
          </a:p>
          <a:p>
            <a:pPr algn="l" defTabSz="868680">
              <a:buNone/>
            </a:pPr>
            <a:r>
              <a:rPr lang="en-GB" b="0" i="0" smtClean="0">
                <a:solidFill>
                  <a:schemeClr val="tx1"/>
                </a:solidFill>
              </a:rPr>
              <a:t>Thanks to our core competencies, products and services, we, </a:t>
            </a:r>
            <a:r>
              <a:rPr lang="en-GB" b="0" i="0" baseline="0" smtClean="0">
                <a:solidFill>
                  <a:schemeClr val="tx1"/>
                </a:solidFill>
              </a:rPr>
              <a:t> </a:t>
            </a:r>
            <a:r>
              <a:rPr lang="en-GB" b="0" i="0" smtClean="0">
                <a:solidFill>
                  <a:schemeClr val="tx1"/>
                </a:solidFill>
              </a:rPr>
              <a:t>together with our customers, improve the safety, comfort and fun of driving. With</a:t>
            </a:r>
            <a:r>
              <a:rPr lang="en-GB" b="0" i="0" baseline="0" smtClean="0">
                <a:solidFill>
                  <a:schemeClr val="tx1"/>
                </a:solidFill>
              </a:rPr>
              <a:t> </a:t>
            </a:r>
            <a:r>
              <a:rPr lang="en-GB" b="0" i="0" smtClean="0">
                <a:solidFill>
                  <a:schemeClr val="tx1"/>
                </a:solidFill>
              </a:rPr>
              <a:t>our products, technologies and processes we significantly contribute to sustainable individual mobility.</a:t>
            </a:r>
          </a:p>
          <a:p>
            <a:pPr algn="l" defTabSz="868680">
              <a:buNone/>
            </a:pPr>
            <a:endParaRPr lang="en-GB" smtClean="0"/>
          </a:p>
          <a:p>
            <a:pPr algn="l" defTabSz="868680">
              <a:buNone/>
            </a:pPr>
            <a:r>
              <a:rPr lang="en-GB" b="1" i="0" smtClean="0">
                <a:solidFill>
                  <a:schemeClr val="tx1"/>
                </a:solidFill>
              </a:rPr>
              <a:t>Performance is our passion</a:t>
            </a:r>
          </a:p>
          <a:p>
            <a:pPr algn="l" defTabSz="868680">
              <a:buNone/>
            </a:pPr>
            <a:r>
              <a:rPr lang="en-GB" b="0" i="0" smtClean="0">
                <a:solidFill>
                  <a:schemeClr val="tx1"/>
                </a:solidFill>
              </a:rPr>
              <a:t>Delivering trend-setting innovations, high performance products, quality without compromise and outstanding services to our customers is what </a:t>
            </a:r>
            <a:r>
              <a:rPr lang="en-GB" b="0" i="0" baseline="0" smtClean="0">
                <a:solidFill>
                  <a:schemeClr val="tx1"/>
                </a:solidFill>
              </a:rPr>
              <a:t> </a:t>
            </a:r>
            <a:r>
              <a:rPr lang="en-GB" b="0" i="0" smtClean="0">
                <a:solidFill>
                  <a:schemeClr val="tx1"/>
                </a:solidFill>
              </a:rPr>
              <a:t>motivates us in all our business areas.</a:t>
            </a:r>
            <a:r>
              <a:rPr lang="en-GB" b="0" i="0" baseline="0" smtClean="0">
                <a:solidFill>
                  <a:schemeClr val="tx1"/>
                </a:solidFill>
              </a:rPr>
              <a:t> </a:t>
            </a:r>
            <a:r>
              <a:rPr lang="en-GB" b="0" i="0" smtClean="0">
                <a:solidFill>
                  <a:schemeClr val="tx1"/>
                </a:solidFill>
              </a:rPr>
              <a:t>Combining technological, ecological, economic and personal aspects of performance makes the difference at Continental.</a:t>
            </a:r>
          </a:p>
          <a:p>
            <a:pPr algn="l" defTabSz="868680">
              <a:buNone/>
            </a:pPr>
            <a:endParaRPr lang="en-GB" smtClean="0"/>
          </a:p>
          <a:p>
            <a:pPr algn="l" defTabSz="868680">
              <a:buNone/>
            </a:pPr>
            <a:r>
              <a:rPr lang="en-GB" b="1" i="0" smtClean="0">
                <a:solidFill>
                  <a:schemeClr val="tx1"/>
                </a:solidFill>
              </a:rPr>
              <a:t>Creating value is our driving force</a:t>
            </a:r>
          </a:p>
          <a:p>
            <a:pPr algn="l" defTabSz="868680">
              <a:buNone/>
            </a:pPr>
            <a:r>
              <a:rPr lang="en-GB" b="0" i="0" smtClean="0">
                <a:solidFill>
                  <a:schemeClr val="tx1"/>
                </a:solidFill>
              </a:rPr>
              <a:t>With our products and services we create value for our business partners and shareholders as well as for our employees and society in general. Profitable growth and consistent cost management in all business areas are the basis for our success.</a:t>
            </a:r>
          </a:p>
        </p:txBody>
      </p:sp>
      <p:sp>
        <p:nvSpPr>
          <p:cNvPr id="4" name="Foliennummernplatzhalter 3"/>
          <p:cNvSpPr>
            <a:spLocks noGrp="1"/>
          </p:cNvSpPr>
          <p:nvPr>
            <p:ph type="sldNum" sz="quarter" idx="10"/>
          </p:nvPr>
        </p:nvSpPr>
        <p:spPr/>
        <p:txBody>
          <a:bodyPr/>
          <a:lstStyle/>
          <a:p>
            <a:fld id="{4646F4A9-F27F-4AE7-8D59-6776BBBF725C}" type="slidenum">
              <a:rPr lang="de-DE" smtClean="0"/>
              <a:pPr/>
              <a:t>16</a:t>
            </a:fld>
            <a:endParaRPr lang="de-DE"/>
          </a:p>
        </p:txBody>
      </p:sp>
      <p:sp>
        <p:nvSpPr>
          <p:cNvPr id="5" name="Datumsplatzhalter 4"/>
          <p:cNvSpPr>
            <a:spLocks noGrp="1"/>
          </p:cNvSpPr>
          <p:nvPr>
            <p:ph type="dt" idx="11"/>
          </p:nvPr>
        </p:nvSpPr>
        <p:spPr/>
        <p:txBody>
          <a:bodyPr/>
          <a:lstStyle/>
          <a:p>
            <a:fld id="{BF2D3903-8D69-45A4-8232-1D10C7B1AB90}" type="datetime5">
              <a:rPr lang="de-DE" smtClean="0"/>
              <a:pPr/>
              <a:t>12-05-18</a:t>
            </a:fld>
            <a:endParaRPr lang="de-DE"/>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2"/>
          <p:cNvSpPr>
            <a:spLocks noGrp="1" noRot="1" noChangeAspect="1" noChangeArrowheads="1" noTextEdit="1"/>
          </p:cNvSpPr>
          <p:nvPr>
            <p:ph type="sldImg"/>
          </p:nvPr>
        </p:nvSpPr>
        <p:spPr>
          <a:xfrm>
            <a:off x="852488" y="744538"/>
            <a:ext cx="4965700" cy="3724275"/>
          </a:xfrm>
          <a:ln/>
        </p:spPr>
      </p:sp>
      <p:sp>
        <p:nvSpPr>
          <p:cNvPr id="51203" name="Rectangle 3"/>
          <p:cNvSpPr>
            <a:spLocks noGrp="1" noChangeArrowheads="1"/>
          </p:cNvSpPr>
          <p:nvPr>
            <p:ph type="body" idx="1"/>
          </p:nvPr>
        </p:nvSpPr>
        <p:spPr>
          <a:xfrm>
            <a:off x="666598" y="4716706"/>
            <a:ext cx="5335894" cy="4467701"/>
          </a:xfrm>
          <a:noFill/>
          <a:ln/>
        </p:spPr>
        <p:txBody>
          <a:bodyPr/>
          <a:lstStyle/>
          <a:p>
            <a:pPr eaLnBrk="1" hangingPunct="1"/>
            <a:endParaRPr lang="en-GB" altLang="zh-CN" dirty="0" smtClean="0"/>
          </a:p>
        </p:txBody>
      </p:sp>
      <p:sp>
        <p:nvSpPr>
          <p:cNvPr id="4" name="Datumsplatzhalter 3"/>
          <p:cNvSpPr>
            <a:spLocks noGrp="1"/>
          </p:cNvSpPr>
          <p:nvPr>
            <p:ph type="dt" idx="10"/>
          </p:nvPr>
        </p:nvSpPr>
        <p:spPr/>
        <p:txBody>
          <a:bodyPr/>
          <a:lstStyle/>
          <a:p>
            <a:fld id="{B09C9511-AF3E-4BCB-9147-CBC614679010}" type="datetime5">
              <a:rPr lang="de-DE" smtClean="0"/>
              <a:pPr/>
              <a:t>12-05-18</a:t>
            </a:fld>
            <a:endParaRPr lang="de-DE"/>
          </a:p>
        </p:txBody>
      </p:sp>
      <p:sp>
        <p:nvSpPr>
          <p:cNvPr id="5" name="Foliennummernplatzhalter 4"/>
          <p:cNvSpPr>
            <a:spLocks noGrp="1"/>
          </p:cNvSpPr>
          <p:nvPr>
            <p:ph type="sldNum" sz="quarter" idx="11"/>
          </p:nvPr>
        </p:nvSpPr>
        <p:spPr/>
        <p:txBody>
          <a:bodyPr/>
          <a:lstStyle/>
          <a:p>
            <a:fld id="{85C809E2-A699-42BB-ABC4-0EEDC136ABDC}" type="slidenum">
              <a:rPr lang="de-DE" smtClean="0"/>
              <a:pPr/>
              <a:t>17</a:t>
            </a:fld>
            <a:endParaRPr lang="de-DE"/>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en-GB"/>
          </a:p>
        </p:txBody>
      </p:sp>
      <p:sp>
        <p:nvSpPr>
          <p:cNvPr id="4" name="Datumsplatzhalter 3"/>
          <p:cNvSpPr>
            <a:spLocks noGrp="1"/>
          </p:cNvSpPr>
          <p:nvPr>
            <p:ph type="dt" idx="10"/>
          </p:nvPr>
        </p:nvSpPr>
        <p:spPr/>
        <p:txBody>
          <a:bodyPr/>
          <a:lstStyle/>
          <a:p>
            <a:fld id="{D696AF2B-AA93-4537-9AB5-EBFACEF10E7A}" type="datetime5">
              <a:rPr lang="de-DE" smtClean="0"/>
              <a:pPr/>
              <a:t>12-05-18</a:t>
            </a:fld>
            <a:endParaRPr lang="de-DE"/>
          </a:p>
        </p:txBody>
      </p:sp>
      <p:sp>
        <p:nvSpPr>
          <p:cNvPr id="6" name="Foliennummernplatzhalter 5"/>
          <p:cNvSpPr>
            <a:spLocks noGrp="1"/>
          </p:cNvSpPr>
          <p:nvPr>
            <p:ph type="sldNum" sz="quarter" idx="12"/>
          </p:nvPr>
        </p:nvSpPr>
        <p:spPr/>
        <p:txBody>
          <a:bodyPr/>
          <a:lstStyle/>
          <a:p>
            <a:fld id="{85C809E2-A699-42BB-ABC4-0EEDC136ABDC}" type="slidenum">
              <a:rPr lang="de-DE" smtClean="0"/>
              <a:pPr/>
              <a:t>2</a:t>
            </a:fld>
            <a:endParaRPr lang="de-DE"/>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2"/>
          <p:cNvSpPr>
            <a:spLocks noGrp="1" noRot="1" noChangeAspect="1" noChangeArrowheads="1" noTextEdit="1"/>
          </p:cNvSpPr>
          <p:nvPr>
            <p:ph type="sldImg"/>
          </p:nvPr>
        </p:nvSpPr>
        <p:spPr>
          <a:xfrm>
            <a:off x="852488" y="744538"/>
            <a:ext cx="4965700" cy="3724275"/>
          </a:xfrm>
          <a:ln/>
        </p:spPr>
      </p:sp>
      <p:sp>
        <p:nvSpPr>
          <p:cNvPr id="51203" name="Rectangle 3"/>
          <p:cNvSpPr>
            <a:spLocks noGrp="1" noChangeArrowheads="1"/>
          </p:cNvSpPr>
          <p:nvPr>
            <p:ph type="body" idx="1"/>
          </p:nvPr>
        </p:nvSpPr>
        <p:spPr>
          <a:xfrm>
            <a:off x="666598" y="4716706"/>
            <a:ext cx="5335894" cy="4467701"/>
          </a:xfrm>
          <a:noFill/>
          <a:ln/>
        </p:spPr>
        <p:txBody>
          <a:bodyPr/>
          <a:lstStyle/>
          <a:p>
            <a:pPr eaLnBrk="1" hangingPunct="1"/>
            <a:endParaRPr lang="en-GB" altLang="zh-CN" smtClean="0"/>
          </a:p>
        </p:txBody>
      </p:sp>
      <p:sp>
        <p:nvSpPr>
          <p:cNvPr id="4" name="Datumsplatzhalter 3"/>
          <p:cNvSpPr>
            <a:spLocks noGrp="1"/>
          </p:cNvSpPr>
          <p:nvPr>
            <p:ph type="dt" idx="10"/>
          </p:nvPr>
        </p:nvSpPr>
        <p:spPr/>
        <p:txBody>
          <a:bodyPr/>
          <a:lstStyle/>
          <a:p>
            <a:fld id="{6BFE4857-BB1A-4A21-9B5E-6BFD8ABDA6F9}" type="datetime5">
              <a:rPr lang="de-DE" smtClean="0"/>
              <a:pPr/>
              <a:t>12-05-18</a:t>
            </a:fld>
            <a:endParaRPr lang="de-DE"/>
          </a:p>
        </p:txBody>
      </p:sp>
      <p:sp>
        <p:nvSpPr>
          <p:cNvPr id="5" name="Foliennummernplatzhalter 4"/>
          <p:cNvSpPr>
            <a:spLocks noGrp="1"/>
          </p:cNvSpPr>
          <p:nvPr>
            <p:ph type="sldNum" sz="quarter" idx="11"/>
          </p:nvPr>
        </p:nvSpPr>
        <p:spPr/>
        <p:txBody>
          <a:bodyPr/>
          <a:lstStyle/>
          <a:p>
            <a:fld id="{85C809E2-A699-42BB-ABC4-0EEDC136ABDC}" type="slidenum">
              <a:rPr lang="de-DE" smtClean="0"/>
              <a:pPr/>
              <a:t>3</a:t>
            </a:fld>
            <a:endParaRPr lang="de-DE"/>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a:spLocks noGrp="1" noChangeArrowheads="1"/>
          </p:cNvSpPr>
          <p:nvPr>
            <p:ph type="sldNum" sz="quarter" idx="5"/>
          </p:nvPr>
        </p:nvSpPr>
        <p:spPr/>
        <p:txBody>
          <a:bodyPr/>
          <a:lstStyle/>
          <a:p>
            <a:fld id="{D9839090-603A-43DF-A8CD-A2111ADCC423}" type="slidenum">
              <a:rPr lang="de-DE" smtClean="0"/>
              <a:pPr/>
              <a:t>4</a:t>
            </a:fld>
            <a:endParaRPr lang="de-DE"/>
          </a:p>
        </p:txBody>
      </p:sp>
      <p:sp>
        <p:nvSpPr>
          <p:cNvPr id="6" name="Datumsplatzhalter 5"/>
          <p:cNvSpPr>
            <a:spLocks noGrp="1"/>
          </p:cNvSpPr>
          <p:nvPr>
            <p:ph type="dt" idx="10"/>
          </p:nvPr>
        </p:nvSpPr>
        <p:spPr/>
        <p:txBody>
          <a:bodyPr/>
          <a:lstStyle/>
          <a:p>
            <a:fld id="{09B1AE33-57DA-4B3B-B2DE-5569B017F83F}" type="datetime5">
              <a:rPr lang="de-DE" smtClean="0"/>
              <a:pPr/>
              <a:t>12-05-18</a:t>
            </a:fld>
            <a:endParaRPr lang="de-DE"/>
          </a:p>
        </p:txBody>
      </p:sp>
      <p:sp>
        <p:nvSpPr>
          <p:cNvPr id="10" name="Folienbildplatzhalter 9"/>
          <p:cNvSpPr>
            <a:spLocks noGrp="1" noRot="1" noChangeAspect="1"/>
          </p:cNvSpPr>
          <p:nvPr>
            <p:ph type="sldImg"/>
          </p:nvPr>
        </p:nvSpPr>
        <p:spPr/>
      </p:sp>
      <p:sp>
        <p:nvSpPr>
          <p:cNvPr id="11" name="Notizenplatzhalter 10"/>
          <p:cNvSpPr>
            <a:spLocks noGrp="1"/>
          </p:cNvSpPr>
          <p:nvPr>
            <p:ph type="body" idx="1"/>
          </p:nvPr>
        </p:nvSpPr>
        <p:spPr/>
        <p:txBody>
          <a:bodyPr>
            <a:normAutofit/>
          </a:bodyPr>
          <a:lstStyle/>
          <a:p>
            <a:endParaRPr lang="en-GB"/>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Rectangle 2"/>
          <p:cNvSpPr>
            <a:spLocks noGrp="1" noRot="1" noChangeAspect="1" noChangeArrowheads="1" noTextEdit="1"/>
          </p:cNvSpPr>
          <p:nvPr>
            <p:ph type="sldImg"/>
          </p:nvPr>
        </p:nvSpPr>
        <p:spPr>
          <a:xfrm>
            <a:off x="855663" y="742950"/>
            <a:ext cx="4967287" cy="3725863"/>
          </a:xfrm>
          <a:ln/>
        </p:spPr>
      </p:sp>
      <p:sp>
        <p:nvSpPr>
          <p:cNvPr id="55299" name="Rectangle 3"/>
          <p:cNvSpPr>
            <a:spLocks noGrp="1" noChangeArrowheads="1"/>
          </p:cNvSpPr>
          <p:nvPr>
            <p:ph type="body" idx="1"/>
          </p:nvPr>
        </p:nvSpPr>
        <p:spPr>
          <a:xfrm>
            <a:off x="668155" y="4715110"/>
            <a:ext cx="5332778" cy="4470895"/>
          </a:xfrm>
          <a:noFill/>
          <a:ln/>
        </p:spPr>
        <p:txBody>
          <a:bodyPr/>
          <a:lstStyle/>
          <a:p>
            <a:pPr eaLnBrk="1" hangingPunct="1"/>
            <a:endParaRPr lang="en-GB" smtClean="0"/>
          </a:p>
        </p:txBody>
      </p:sp>
      <p:sp>
        <p:nvSpPr>
          <p:cNvPr id="4" name="Datumsplatzhalter 3"/>
          <p:cNvSpPr>
            <a:spLocks noGrp="1"/>
          </p:cNvSpPr>
          <p:nvPr>
            <p:ph type="dt" idx="10"/>
          </p:nvPr>
        </p:nvSpPr>
        <p:spPr/>
        <p:txBody>
          <a:bodyPr/>
          <a:lstStyle/>
          <a:p>
            <a:fld id="{C89910F8-2198-447C-AC17-F1BD71BB94CD}" type="datetime5">
              <a:rPr lang="de-DE" smtClean="0"/>
              <a:pPr/>
              <a:t>12-05-18</a:t>
            </a:fld>
            <a:endParaRPr lang="de-DE"/>
          </a:p>
        </p:txBody>
      </p:sp>
      <p:sp>
        <p:nvSpPr>
          <p:cNvPr id="5" name="Foliennummernplatzhalter 4"/>
          <p:cNvSpPr>
            <a:spLocks noGrp="1"/>
          </p:cNvSpPr>
          <p:nvPr>
            <p:ph type="sldNum" sz="quarter" idx="11"/>
          </p:nvPr>
        </p:nvSpPr>
        <p:spPr/>
        <p:txBody>
          <a:bodyPr/>
          <a:lstStyle/>
          <a:p>
            <a:fld id="{85C809E2-A699-42BB-ABC4-0EEDC136ABDC}" type="slidenum">
              <a:rPr lang="de-DE" smtClean="0"/>
              <a:pPr/>
              <a:t>5</a:t>
            </a:fld>
            <a:endParaRPr lang="de-DE"/>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2"/>
          <p:cNvSpPr>
            <a:spLocks noGrp="1" noRot="1" noChangeAspect="1" noChangeArrowheads="1" noTextEdit="1"/>
          </p:cNvSpPr>
          <p:nvPr>
            <p:ph type="sldImg"/>
          </p:nvPr>
        </p:nvSpPr>
        <p:spPr>
          <a:xfrm>
            <a:off x="852488" y="744538"/>
            <a:ext cx="4965700" cy="3724275"/>
          </a:xfrm>
          <a:ln/>
        </p:spPr>
      </p:sp>
      <p:sp>
        <p:nvSpPr>
          <p:cNvPr id="51203" name="Rectangle 3"/>
          <p:cNvSpPr>
            <a:spLocks noGrp="1" noChangeArrowheads="1"/>
          </p:cNvSpPr>
          <p:nvPr>
            <p:ph type="body" idx="1"/>
          </p:nvPr>
        </p:nvSpPr>
        <p:spPr>
          <a:xfrm>
            <a:off x="666598" y="4716706"/>
            <a:ext cx="5335894" cy="4467701"/>
          </a:xfrm>
          <a:noFill/>
          <a:ln/>
        </p:spPr>
        <p:txBody>
          <a:bodyPr/>
          <a:lstStyle/>
          <a:p>
            <a:pPr eaLnBrk="1" hangingPunct="1"/>
            <a:endParaRPr lang="en-GB" altLang="zh-CN" smtClean="0"/>
          </a:p>
        </p:txBody>
      </p:sp>
      <p:sp>
        <p:nvSpPr>
          <p:cNvPr id="4" name="Datumsplatzhalter 3"/>
          <p:cNvSpPr>
            <a:spLocks noGrp="1"/>
          </p:cNvSpPr>
          <p:nvPr>
            <p:ph type="dt" idx="10"/>
          </p:nvPr>
        </p:nvSpPr>
        <p:spPr/>
        <p:txBody>
          <a:bodyPr/>
          <a:lstStyle/>
          <a:p>
            <a:fld id="{9046A2E1-7003-4390-9A21-0E6D19EB5D0B}" type="datetime5">
              <a:rPr lang="de-DE" smtClean="0"/>
              <a:pPr/>
              <a:t>12-05-18</a:t>
            </a:fld>
            <a:endParaRPr lang="de-DE"/>
          </a:p>
        </p:txBody>
      </p:sp>
      <p:sp>
        <p:nvSpPr>
          <p:cNvPr id="5" name="Foliennummernplatzhalter 4"/>
          <p:cNvSpPr>
            <a:spLocks noGrp="1"/>
          </p:cNvSpPr>
          <p:nvPr>
            <p:ph type="sldNum" sz="quarter" idx="11"/>
          </p:nvPr>
        </p:nvSpPr>
        <p:spPr/>
        <p:txBody>
          <a:bodyPr/>
          <a:lstStyle/>
          <a:p>
            <a:fld id="{85C809E2-A699-42BB-ABC4-0EEDC136ABDC}" type="slidenum">
              <a:rPr lang="de-DE" smtClean="0"/>
              <a:pPr/>
              <a:t>6</a:t>
            </a:fld>
            <a:endParaRPr lang="de-DE"/>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2"/>
          <p:cNvSpPr>
            <a:spLocks noGrp="1" noRot="1" noChangeAspect="1" noChangeArrowheads="1" noTextEdit="1"/>
          </p:cNvSpPr>
          <p:nvPr>
            <p:ph type="sldImg"/>
          </p:nvPr>
        </p:nvSpPr>
        <p:spPr>
          <a:xfrm>
            <a:off x="854075" y="741363"/>
            <a:ext cx="4964113" cy="3724275"/>
          </a:xfrm>
          <a:ln/>
        </p:spPr>
      </p:sp>
      <p:sp>
        <p:nvSpPr>
          <p:cNvPr id="32771" name="Rectangle 3"/>
          <p:cNvSpPr>
            <a:spLocks noGrp="1" noChangeArrowheads="1"/>
          </p:cNvSpPr>
          <p:nvPr>
            <p:ph type="body" idx="1"/>
          </p:nvPr>
        </p:nvSpPr>
        <p:spPr>
          <a:xfrm>
            <a:off x="667514" y="4711502"/>
            <a:ext cx="5334063" cy="4474143"/>
          </a:xfrm>
          <a:noFill/>
          <a:ln/>
        </p:spPr>
        <p:txBody>
          <a:bodyPr/>
          <a:lstStyle/>
          <a:p>
            <a:pPr eaLnBrk="1" hangingPunct="1"/>
            <a:endParaRPr lang="en-GB" smtClean="0"/>
          </a:p>
        </p:txBody>
      </p:sp>
      <p:sp>
        <p:nvSpPr>
          <p:cNvPr id="4" name="Datumsplatzhalter 3"/>
          <p:cNvSpPr>
            <a:spLocks noGrp="1"/>
          </p:cNvSpPr>
          <p:nvPr>
            <p:ph type="dt" idx="10"/>
          </p:nvPr>
        </p:nvSpPr>
        <p:spPr/>
        <p:txBody>
          <a:bodyPr/>
          <a:lstStyle/>
          <a:p>
            <a:fld id="{7C8CF79C-D124-4BC6-9D83-D7D7415918BD}" type="datetime5">
              <a:rPr lang="de-DE" smtClean="0"/>
              <a:pPr/>
              <a:t>12-05-18</a:t>
            </a:fld>
            <a:endParaRPr lang="de-DE"/>
          </a:p>
        </p:txBody>
      </p:sp>
      <p:sp>
        <p:nvSpPr>
          <p:cNvPr id="5" name="Foliennummernplatzhalter 4"/>
          <p:cNvSpPr>
            <a:spLocks noGrp="1"/>
          </p:cNvSpPr>
          <p:nvPr>
            <p:ph type="sldNum" sz="quarter" idx="11"/>
          </p:nvPr>
        </p:nvSpPr>
        <p:spPr/>
        <p:txBody>
          <a:bodyPr/>
          <a:lstStyle/>
          <a:p>
            <a:fld id="{85C809E2-A699-42BB-ABC4-0EEDC136ABDC}" type="slidenum">
              <a:rPr lang="de-DE" smtClean="0"/>
              <a:pPr/>
              <a:t>7</a:t>
            </a:fld>
            <a:endParaRPr lang="de-DE"/>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2"/>
          <p:cNvSpPr>
            <a:spLocks noGrp="1" noRot="1" noChangeAspect="1" noChangeArrowheads="1" noTextEdit="1"/>
          </p:cNvSpPr>
          <p:nvPr>
            <p:ph type="sldImg"/>
          </p:nvPr>
        </p:nvSpPr>
        <p:spPr>
          <a:xfrm>
            <a:off x="852488" y="744538"/>
            <a:ext cx="4965700" cy="3724275"/>
          </a:xfrm>
          <a:ln/>
        </p:spPr>
      </p:sp>
      <p:sp>
        <p:nvSpPr>
          <p:cNvPr id="51203" name="Rectangle 3"/>
          <p:cNvSpPr>
            <a:spLocks noGrp="1" noChangeArrowheads="1"/>
          </p:cNvSpPr>
          <p:nvPr>
            <p:ph type="body" idx="1"/>
          </p:nvPr>
        </p:nvSpPr>
        <p:spPr>
          <a:xfrm>
            <a:off x="666598" y="4716706"/>
            <a:ext cx="5335894" cy="4467701"/>
          </a:xfrm>
          <a:noFill/>
          <a:ln/>
        </p:spPr>
        <p:txBody>
          <a:bodyPr/>
          <a:lstStyle/>
          <a:p>
            <a:pPr eaLnBrk="1" hangingPunct="1"/>
            <a:endParaRPr lang="en-GB" altLang="zh-CN" dirty="0" smtClean="0"/>
          </a:p>
        </p:txBody>
      </p:sp>
      <p:sp>
        <p:nvSpPr>
          <p:cNvPr id="4" name="Datumsplatzhalter 3"/>
          <p:cNvSpPr>
            <a:spLocks noGrp="1"/>
          </p:cNvSpPr>
          <p:nvPr>
            <p:ph type="dt" idx="10"/>
          </p:nvPr>
        </p:nvSpPr>
        <p:spPr/>
        <p:txBody>
          <a:bodyPr/>
          <a:lstStyle/>
          <a:p>
            <a:fld id="{B09C9511-AF3E-4BCB-9147-CBC614679010}" type="datetime5">
              <a:rPr lang="de-DE" smtClean="0"/>
              <a:pPr/>
              <a:t>12-05-18</a:t>
            </a:fld>
            <a:endParaRPr lang="de-DE"/>
          </a:p>
        </p:txBody>
      </p:sp>
      <p:sp>
        <p:nvSpPr>
          <p:cNvPr id="5" name="Foliennummernplatzhalter 4"/>
          <p:cNvSpPr>
            <a:spLocks noGrp="1"/>
          </p:cNvSpPr>
          <p:nvPr>
            <p:ph type="sldNum" sz="quarter" idx="11"/>
          </p:nvPr>
        </p:nvSpPr>
        <p:spPr/>
        <p:txBody>
          <a:bodyPr/>
          <a:lstStyle/>
          <a:p>
            <a:fld id="{85C809E2-A699-42BB-ABC4-0EEDC136ABDC}" type="slidenum">
              <a:rPr lang="de-DE" smtClean="0"/>
              <a:pPr/>
              <a:t>9</a:t>
            </a:fld>
            <a:endParaRPr lang="de-DE"/>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2"/>
          <p:cNvSpPr>
            <a:spLocks noGrp="1" noRot="1" noChangeAspect="1" noChangeArrowheads="1" noTextEdit="1"/>
          </p:cNvSpPr>
          <p:nvPr>
            <p:ph type="sldImg"/>
          </p:nvPr>
        </p:nvSpPr>
        <p:spPr>
          <a:xfrm>
            <a:off x="852488" y="744538"/>
            <a:ext cx="4965700" cy="3724275"/>
          </a:xfrm>
          <a:ln/>
        </p:spPr>
      </p:sp>
      <p:sp>
        <p:nvSpPr>
          <p:cNvPr id="51203" name="Rectangle 3"/>
          <p:cNvSpPr>
            <a:spLocks noGrp="1" noChangeArrowheads="1"/>
          </p:cNvSpPr>
          <p:nvPr>
            <p:ph type="body" idx="1"/>
          </p:nvPr>
        </p:nvSpPr>
        <p:spPr>
          <a:xfrm>
            <a:off x="666598" y="4716706"/>
            <a:ext cx="5335894" cy="4467701"/>
          </a:xfrm>
          <a:noFill/>
          <a:ln/>
        </p:spPr>
        <p:txBody>
          <a:bodyPr/>
          <a:lstStyle/>
          <a:p>
            <a:pPr eaLnBrk="1" hangingPunct="1"/>
            <a:endParaRPr lang="en-GB" altLang="zh-CN" dirty="0" smtClean="0"/>
          </a:p>
        </p:txBody>
      </p:sp>
      <p:sp>
        <p:nvSpPr>
          <p:cNvPr id="4" name="Datumsplatzhalter 3"/>
          <p:cNvSpPr>
            <a:spLocks noGrp="1"/>
          </p:cNvSpPr>
          <p:nvPr>
            <p:ph type="dt" idx="10"/>
          </p:nvPr>
        </p:nvSpPr>
        <p:spPr/>
        <p:txBody>
          <a:bodyPr/>
          <a:lstStyle/>
          <a:p>
            <a:fld id="{B09C9511-AF3E-4BCB-9147-CBC614679010}" type="datetime5">
              <a:rPr lang="de-DE" smtClean="0"/>
              <a:pPr/>
              <a:t>12-05-18</a:t>
            </a:fld>
            <a:endParaRPr lang="de-DE"/>
          </a:p>
        </p:txBody>
      </p:sp>
      <p:sp>
        <p:nvSpPr>
          <p:cNvPr id="5" name="Foliennummernplatzhalter 4"/>
          <p:cNvSpPr>
            <a:spLocks noGrp="1"/>
          </p:cNvSpPr>
          <p:nvPr>
            <p:ph type="sldNum" sz="quarter" idx="11"/>
          </p:nvPr>
        </p:nvSpPr>
        <p:spPr/>
        <p:txBody>
          <a:bodyPr/>
          <a:lstStyle/>
          <a:p>
            <a:fld id="{85C809E2-A699-42BB-ABC4-0EEDC136ABDC}" type="slidenum">
              <a:rPr lang="de-DE" smtClean="0"/>
              <a:pPr/>
              <a:t>10</a:t>
            </a:fld>
            <a:endParaRPr lang="de-DE"/>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gi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gi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gi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gi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pic>
        <p:nvPicPr>
          <p:cNvPr id="4098" name="Picture 2" descr="J:\Bildarchiv\CT_Logos_Claims_Fonts\0_CT_logo_vorlagen\01_logos_continental\continental_ppt.png"/>
          <p:cNvPicPr>
            <a:picLocks noChangeAspect="1" noChangeArrowheads="1"/>
          </p:cNvPicPr>
          <p:nvPr userDrawn="1"/>
        </p:nvPicPr>
        <p:blipFill>
          <a:blip r:embed="rId2"/>
          <a:stretch>
            <a:fillRect/>
          </a:stretch>
        </p:blipFill>
        <p:spPr bwMode="auto">
          <a:xfrm>
            <a:off x="2018271" y="1781411"/>
            <a:ext cx="5082745" cy="872794"/>
          </a:xfrm>
          <a:prstGeom prst="rect">
            <a:avLst/>
          </a:prstGeom>
          <a:noFill/>
        </p:spPr>
      </p:pic>
      <p:sp>
        <p:nvSpPr>
          <p:cNvPr id="2" name="Titel 1"/>
          <p:cNvSpPr>
            <a:spLocks noGrp="1"/>
          </p:cNvSpPr>
          <p:nvPr>
            <p:ph type="ctrTitle"/>
          </p:nvPr>
        </p:nvSpPr>
        <p:spPr>
          <a:xfrm>
            <a:off x="684212" y="3429000"/>
            <a:ext cx="7775576" cy="885830"/>
          </a:xfrm>
        </p:spPr>
        <p:txBody>
          <a:bodyPr>
            <a:normAutofit/>
          </a:bodyPr>
          <a:lstStyle>
            <a:lvl1pPr algn="ctr">
              <a:defRPr sz="2800"/>
            </a:lvl1pPr>
          </a:lstStyle>
          <a:p>
            <a:r>
              <a:rPr lang="de-DE" smtClean="0"/>
              <a:t>Titelmasterformat durch Klicken bearbeiten</a:t>
            </a:r>
            <a:endParaRPr lang="de-DE" dirty="0"/>
          </a:p>
        </p:txBody>
      </p:sp>
      <p:sp>
        <p:nvSpPr>
          <p:cNvPr id="3" name="Untertitel 2"/>
          <p:cNvSpPr>
            <a:spLocks noGrp="1"/>
          </p:cNvSpPr>
          <p:nvPr>
            <p:ph type="subTitle" idx="1"/>
          </p:nvPr>
        </p:nvSpPr>
        <p:spPr>
          <a:xfrm>
            <a:off x="684213" y="4500570"/>
            <a:ext cx="7775575" cy="1138230"/>
          </a:xfrm>
        </p:spPr>
        <p:txBody>
          <a:bodyPr/>
          <a:lstStyle>
            <a:lvl1pPr marL="0" indent="0" algn="ctr">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smtClean="0"/>
              <a:t>Formatvorlage des Untertitelmasters durch Klicken bearbeiten</a:t>
            </a:r>
            <a:endParaRPr lang="de-DE" dirty="0"/>
          </a:p>
        </p:txBody>
      </p:sp>
      <p:sp>
        <p:nvSpPr>
          <p:cNvPr id="8" name="Rechteck 7"/>
          <p:cNvSpPr/>
          <p:nvPr/>
        </p:nvSpPr>
        <p:spPr>
          <a:xfrm>
            <a:off x="251521" y="6045200"/>
            <a:ext cx="8640959" cy="76200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3" name="Inhaltsplatzhalter 2"/>
          <p:cNvSpPr>
            <a:spLocks noGrp="1"/>
          </p:cNvSpPr>
          <p:nvPr>
            <p:ph idx="1"/>
          </p:nvPr>
        </p:nvSpPr>
        <p:spPr>
          <a:xfrm>
            <a:off x="323850" y="980729"/>
            <a:ext cx="8496300" cy="4896196"/>
          </a:xfrm>
        </p:spPr>
        <p:txBody>
          <a:bodyPr/>
          <a:lstStyle>
            <a:lvl1pPr>
              <a:buSzPct val="100000"/>
              <a:buFontTx/>
              <a:buBlip>
                <a:blip r:embed="rId2"/>
              </a:buBlip>
              <a:defRPr/>
            </a:lvl1pPr>
            <a:lvl2pPr>
              <a:buSzPct val="100000"/>
              <a:buFontTx/>
              <a:buBlip>
                <a:blip r:embed="rId2"/>
              </a:buBlip>
              <a:defRPr/>
            </a:lvl2pPr>
            <a:lvl3pPr>
              <a:buSzPct val="100000"/>
              <a:buFontTx/>
              <a:buBlip>
                <a:blip r:embed="rId2"/>
              </a:buBlip>
              <a:defRPr/>
            </a:lvl3pPr>
            <a:lvl4pPr>
              <a:buSzPct val="100000"/>
              <a:buFontTx/>
              <a:buBlip>
                <a:blip r:embed="rId2"/>
              </a:buBlip>
              <a:defRPr/>
            </a:lvl4pPr>
            <a:lvl5pPr>
              <a:buSzPct val="100000"/>
              <a:buFontTx/>
              <a:buBlip>
                <a:blip r:embed="rId2"/>
              </a:buBlip>
              <a:defRPr/>
            </a:lvl5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8" name="Titel 7"/>
          <p:cNvSpPr>
            <a:spLocks noGrp="1"/>
          </p:cNvSpPr>
          <p:nvPr>
            <p:ph type="title"/>
          </p:nvPr>
        </p:nvSpPr>
        <p:spPr/>
        <p:txBody>
          <a:bodyPr/>
          <a:lstStyle>
            <a:lvl1pPr>
              <a:defRPr/>
            </a:lvl1pPr>
          </a:lstStyle>
          <a:p>
            <a:r>
              <a:rPr lang="de-DE" dirty="0" smtClean="0"/>
              <a:t>Titelmasterformat durch Klicken bearbeiten</a:t>
            </a:r>
            <a:endParaRPr lang="de-DE" dirty="0"/>
          </a:p>
        </p:txBody>
      </p:sp>
      <p:sp>
        <p:nvSpPr>
          <p:cNvPr id="9" name="Datumsplatzhalter 8"/>
          <p:cNvSpPr>
            <a:spLocks noGrp="1"/>
          </p:cNvSpPr>
          <p:nvPr>
            <p:ph type="dt" sz="half" idx="10"/>
          </p:nvPr>
        </p:nvSpPr>
        <p:spPr/>
        <p:txBody>
          <a:bodyPr/>
          <a:lstStyle/>
          <a:p>
            <a:fld id="{DEBFAA7D-3C06-4CD5-BCCA-1A163F86F4A0}" type="datetime5">
              <a:rPr lang="de-DE" smtClean="0"/>
              <a:pPr/>
              <a:t>12-05-18</a:t>
            </a:fld>
            <a:endParaRPr lang="de-DE" dirty="0"/>
          </a:p>
        </p:txBody>
      </p:sp>
      <p:sp>
        <p:nvSpPr>
          <p:cNvPr id="10" name="Foliennummernplatzhalter 9"/>
          <p:cNvSpPr>
            <a:spLocks noGrp="1"/>
          </p:cNvSpPr>
          <p:nvPr>
            <p:ph type="sldNum" sz="quarter" idx="11"/>
          </p:nvPr>
        </p:nvSpPr>
        <p:spPr/>
        <p:txBody>
          <a:bodyPr/>
          <a:lstStyle/>
          <a:p>
            <a:fld id="{ADA48181-2C78-49CB-8C52-912A07842C2E}" type="slidenum">
              <a:rPr lang="de-DE" smtClean="0"/>
              <a:pPr/>
              <a:t>‹N°›</a:t>
            </a:fld>
            <a:endParaRPr lang="de-DE" dirty="0"/>
          </a:p>
        </p:txBody>
      </p:sp>
      <p:sp>
        <p:nvSpPr>
          <p:cNvPr id="11" name="Fußzeilenplatzhalter 10"/>
          <p:cNvSpPr>
            <a:spLocks noGrp="1"/>
          </p:cNvSpPr>
          <p:nvPr>
            <p:ph type="ftr" sz="quarter" idx="12"/>
          </p:nvPr>
        </p:nvSpPr>
        <p:spPr/>
        <p:txBody>
          <a:bodyPr/>
          <a:lstStyle/>
          <a:p>
            <a:r>
              <a:rPr lang="de-DE" smtClean="0"/>
              <a:t>© Continental AG</a:t>
            </a:r>
            <a:endParaRPr lang="de-DE" dirty="0"/>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el und zwei Inhalte (zwei Spalten)">
    <p:spTree>
      <p:nvGrpSpPr>
        <p:cNvPr id="1" name=""/>
        <p:cNvGrpSpPr/>
        <p:nvPr/>
      </p:nvGrpSpPr>
      <p:grpSpPr>
        <a:xfrm>
          <a:off x="0" y="0"/>
          <a:ext cx="0" cy="0"/>
          <a:chOff x="0" y="0"/>
          <a:chExt cx="0" cy="0"/>
        </a:xfrm>
      </p:grpSpPr>
      <p:sp>
        <p:nvSpPr>
          <p:cNvPr id="3" name="Inhaltsplatzhalter 2"/>
          <p:cNvSpPr>
            <a:spLocks noGrp="1"/>
          </p:cNvSpPr>
          <p:nvPr>
            <p:ph sz="half" idx="1"/>
          </p:nvPr>
        </p:nvSpPr>
        <p:spPr>
          <a:xfrm>
            <a:off x="323850" y="981075"/>
            <a:ext cx="4213225" cy="4895850"/>
          </a:xfrm>
        </p:spPr>
        <p:txBody>
          <a:bodyPr vert="horz" lIns="0" tIns="18000" rIns="0" bIns="18000" rtlCol="0">
            <a:normAutofit/>
          </a:bodyPr>
          <a:lstStyle>
            <a:lvl1pPr algn="l" defTabSz="914400" rtl="0" eaLnBrk="1" latinLnBrk="0" hangingPunct="1">
              <a:lnSpc>
                <a:spcPct val="100000"/>
              </a:lnSpc>
              <a:spcBef>
                <a:spcPts val="0"/>
              </a:spcBef>
              <a:spcAft>
                <a:spcPts val="1200"/>
              </a:spcAft>
              <a:buSzPct val="100000"/>
              <a:buFontTx/>
              <a:buBlip>
                <a:blip r:embed="rId2"/>
              </a:buBlip>
              <a:defRPr lang="de-DE" sz="1600" b="0" kern="1200" dirty="0" smtClean="0">
                <a:solidFill>
                  <a:schemeClr val="tx1"/>
                </a:solidFill>
                <a:latin typeface="Arial" pitchFamily="34" charset="0"/>
                <a:ea typeface="+mn-ea"/>
                <a:cs typeface="Arial" pitchFamily="34" charset="0"/>
              </a:defRPr>
            </a:lvl1pPr>
            <a:lvl2pPr algn="l" defTabSz="914400" rtl="0" eaLnBrk="1" latinLnBrk="0" hangingPunct="1">
              <a:lnSpc>
                <a:spcPct val="100000"/>
              </a:lnSpc>
              <a:spcBef>
                <a:spcPts val="0"/>
              </a:spcBef>
              <a:spcAft>
                <a:spcPts val="1200"/>
              </a:spcAft>
              <a:buSzPct val="100000"/>
              <a:buFontTx/>
              <a:buBlip>
                <a:blip r:embed="rId2"/>
              </a:buBlip>
              <a:defRPr lang="de-DE" sz="1600" b="0" kern="1200" dirty="0" smtClean="0">
                <a:solidFill>
                  <a:schemeClr val="tx1"/>
                </a:solidFill>
                <a:latin typeface="Arial" pitchFamily="34" charset="0"/>
                <a:ea typeface="+mn-ea"/>
                <a:cs typeface="Arial" pitchFamily="34" charset="0"/>
              </a:defRPr>
            </a:lvl2pPr>
            <a:lvl3pPr algn="l" defTabSz="914400" rtl="0" eaLnBrk="1" latinLnBrk="0" hangingPunct="1">
              <a:lnSpc>
                <a:spcPct val="100000"/>
              </a:lnSpc>
              <a:spcBef>
                <a:spcPts val="0"/>
              </a:spcBef>
              <a:spcAft>
                <a:spcPts val="1200"/>
              </a:spcAft>
              <a:buSzPct val="100000"/>
              <a:buFontTx/>
              <a:buBlip>
                <a:blip r:embed="rId2"/>
              </a:buBlip>
              <a:defRPr lang="de-DE" sz="1600" b="0" kern="1200" dirty="0" smtClean="0">
                <a:solidFill>
                  <a:schemeClr val="tx1"/>
                </a:solidFill>
                <a:latin typeface="Arial" pitchFamily="34" charset="0"/>
                <a:ea typeface="+mn-ea"/>
                <a:cs typeface="Arial" pitchFamily="34" charset="0"/>
              </a:defRPr>
            </a:lvl3pPr>
            <a:lvl4pPr algn="l" defTabSz="914400" rtl="0" eaLnBrk="1" latinLnBrk="0" hangingPunct="1">
              <a:lnSpc>
                <a:spcPct val="100000"/>
              </a:lnSpc>
              <a:spcBef>
                <a:spcPts val="0"/>
              </a:spcBef>
              <a:spcAft>
                <a:spcPts val="1200"/>
              </a:spcAft>
              <a:buSzPct val="100000"/>
              <a:buFontTx/>
              <a:buBlip>
                <a:blip r:embed="rId2"/>
              </a:buBlip>
              <a:defRPr lang="de-DE" sz="1600" b="0" kern="1200" dirty="0" smtClean="0">
                <a:solidFill>
                  <a:schemeClr val="tx1"/>
                </a:solidFill>
                <a:latin typeface="Arial" pitchFamily="34" charset="0"/>
                <a:ea typeface="+mn-ea"/>
                <a:cs typeface="Arial" pitchFamily="34" charset="0"/>
              </a:defRPr>
            </a:lvl4pPr>
            <a:lvl5pPr algn="l" defTabSz="914400" rtl="0" eaLnBrk="1" latinLnBrk="0" hangingPunct="1">
              <a:lnSpc>
                <a:spcPct val="100000"/>
              </a:lnSpc>
              <a:spcBef>
                <a:spcPts val="0"/>
              </a:spcBef>
              <a:spcAft>
                <a:spcPts val="1200"/>
              </a:spcAft>
              <a:buSzPct val="100000"/>
              <a:buFontTx/>
              <a:buBlip>
                <a:blip r:embed="rId3"/>
              </a:buBlip>
              <a:defRPr lang="de-DE" sz="1600" b="0" kern="1200" dirty="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p:txBody>
      </p:sp>
      <p:sp>
        <p:nvSpPr>
          <p:cNvPr id="4" name="Inhaltsplatzhalter 3"/>
          <p:cNvSpPr>
            <a:spLocks noGrp="1"/>
          </p:cNvSpPr>
          <p:nvPr>
            <p:ph sz="half" idx="2"/>
          </p:nvPr>
        </p:nvSpPr>
        <p:spPr>
          <a:xfrm>
            <a:off x="4606925" y="981075"/>
            <a:ext cx="4213225" cy="4895850"/>
          </a:xfrm>
        </p:spPr>
        <p:txBody>
          <a:bodyPr vert="horz" lIns="0" tIns="18000" rIns="0" bIns="18000" rtlCol="0">
            <a:normAutofit/>
          </a:bodyPr>
          <a:lstStyle>
            <a:lvl1pPr algn="l" defTabSz="914400" rtl="0" eaLnBrk="1" latinLnBrk="0" hangingPunct="1">
              <a:lnSpc>
                <a:spcPct val="100000"/>
              </a:lnSpc>
              <a:spcBef>
                <a:spcPts val="0"/>
              </a:spcBef>
              <a:spcAft>
                <a:spcPts val="1200"/>
              </a:spcAft>
              <a:buSzPct val="100000"/>
              <a:buFontTx/>
              <a:buBlip>
                <a:blip r:embed="rId2"/>
              </a:buBlip>
              <a:defRPr lang="de-DE" sz="1600" b="0" kern="1200" smtClean="0">
                <a:solidFill>
                  <a:schemeClr val="tx1"/>
                </a:solidFill>
                <a:latin typeface="Arial" pitchFamily="34" charset="0"/>
                <a:ea typeface="+mn-ea"/>
                <a:cs typeface="Arial" pitchFamily="34" charset="0"/>
              </a:defRPr>
            </a:lvl1pPr>
            <a:lvl2pPr algn="l" defTabSz="914400" rtl="0" eaLnBrk="1" latinLnBrk="0" hangingPunct="1">
              <a:lnSpc>
                <a:spcPct val="100000"/>
              </a:lnSpc>
              <a:spcBef>
                <a:spcPts val="0"/>
              </a:spcBef>
              <a:spcAft>
                <a:spcPts val="1200"/>
              </a:spcAft>
              <a:buSzPct val="100000"/>
              <a:buFontTx/>
              <a:buBlip>
                <a:blip r:embed="rId2"/>
              </a:buBlip>
              <a:defRPr lang="de-DE" sz="1600" b="0" kern="1200" smtClean="0">
                <a:solidFill>
                  <a:schemeClr val="tx1"/>
                </a:solidFill>
                <a:latin typeface="Arial" pitchFamily="34" charset="0"/>
                <a:ea typeface="+mn-ea"/>
                <a:cs typeface="Arial" pitchFamily="34" charset="0"/>
              </a:defRPr>
            </a:lvl2pPr>
            <a:lvl3pPr algn="l" defTabSz="914400" rtl="0" eaLnBrk="1" latinLnBrk="0" hangingPunct="1">
              <a:lnSpc>
                <a:spcPct val="100000"/>
              </a:lnSpc>
              <a:spcBef>
                <a:spcPts val="0"/>
              </a:spcBef>
              <a:spcAft>
                <a:spcPts val="1200"/>
              </a:spcAft>
              <a:buSzPct val="100000"/>
              <a:buFontTx/>
              <a:buBlip>
                <a:blip r:embed="rId2"/>
              </a:buBlip>
              <a:defRPr lang="de-DE" sz="1600" b="0" kern="1200" smtClean="0">
                <a:solidFill>
                  <a:schemeClr val="tx1"/>
                </a:solidFill>
                <a:latin typeface="Arial" pitchFamily="34" charset="0"/>
                <a:ea typeface="+mn-ea"/>
                <a:cs typeface="Arial" pitchFamily="34" charset="0"/>
              </a:defRPr>
            </a:lvl3pPr>
            <a:lvl4pPr algn="l" defTabSz="914400" rtl="0" eaLnBrk="1" latinLnBrk="0" hangingPunct="1">
              <a:lnSpc>
                <a:spcPct val="100000"/>
              </a:lnSpc>
              <a:spcBef>
                <a:spcPts val="0"/>
              </a:spcBef>
              <a:spcAft>
                <a:spcPts val="1200"/>
              </a:spcAft>
              <a:buSzPct val="100000"/>
              <a:buFontTx/>
              <a:buBlip>
                <a:blip r:embed="rId2"/>
              </a:buBlip>
              <a:defRPr lang="de-DE" sz="1600" b="0" kern="1200" smtClean="0">
                <a:solidFill>
                  <a:schemeClr val="tx1"/>
                </a:solidFill>
                <a:latin typeface="Arial" pitchFamily="34" charset="0"/>
                <a:ea typeface="+mn-ea"/>
                <a:cs typeface="Arial" pitchFamily="34" charset="0"/>
              </a:defRPr>
            </a:lvl4pPr>
            <a:lvl5pPr algn="l" defTabSz="914400" rtl="0" eaLnBrk="1" latinLnBrk="0" hangingPunct="1">
              <a:lnSpc>
                <a:spcPct val="100000"/>
              </a:lnSpc>
              <a:spcBef>
                <a:spcPts val="0"/>
              </a:spcBef>
              <a:spcAft>
                <a:spcPts val="1200"/>
              </a:spcAft>
              <a:buSzPct val="100000"/>
              <a:buFontTx/>
              <a:buNone/>
              <a:defRPr lang="de-DE" sz="1600" b="0" kern="1200" dirty="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p:txBody>
      </p:sp>
      <p:sp>
        <p:nvSpPr>
          <p:cNvPr id="12" name="Titel 11"/>
          <p:cNvSpPr>
            <a:spLocks noGrp="1"/>
          </p:cNvSpPr>
          <p:nvPr>
            <p:ph type="title"/>
          </p:nvPr>
        </p:nvSpPr>
        <p:spPr/>
        <p:txBody>
          <a:bodyPr/>
          <a:lstStyle/>
          <a:p>
            <a:r>
              <a:rPr lang="de-DE" smtClean="0"/>
              <a:t>Titelmasterformat durch Klicken bearbeiten</a:t>
            </a:r>
            <a:endParaRPr lang="de-DE"/>
          </a:p>
        </p:txBody>
      </p:sp>
      <p:sp>
        <p:nvSpPr>
          <p:cNvPr id="13" name="Datumsplatzhalter 12"/>
          <p:cNvSpPr>
            <a:spLocks noGrp="1"/>
          </p:cNvSpPr>
          <p:nvPr>
            <p:ph type="dt" sz="half" idx="10"/>
          </p:nvPr>
        </p:nvSpPr>
        <p:spPr/>
        <p:txBody>
          <a:bodyPr/>
          <a:lstStyle/>
          <a:p>
            <a:fld id="{BDC60A3A-8E7A-4374-AE5D-38386F4B87E8}" type="datetime5">
              <a:rPr lang="de-DE" smtClean="0"/>
              <a:pPr/>
              <a:t>12-05-18</a:t>
            </a:fld>
            <a:endParaRPr lang="de-DE" dirty="0"/>
          </a:p>
        </p:txBody>
      </p:sp>
      <p:sp>
        <p:nvSpPr>
          <p:cNvPr id="14" name="Foliennummernplatzhalter 13"/>
          <p:cNvSpPr>
            <a:spLocks noGrp="1"/>
          </p:cNvSpPr>
          <p:nvPr>
            <p:ph type="sldNum" sz="quarter" idx="11"/>
          </p:nvPr>
        </p:nvSpPr>
        <p:spPr/>
        <p:txBody>
          <a:bodyPr/>
          <a:lstStyle/>
          <a:p>
            <a:fld id="{ADA48181-2C78-49CB-8C52-912A07842C2E}" type="slidenum">
              <a:rPr lang="de-DE" smtClean="0"/>
              <a:pPr/>
              <a:t>‹N°›</a:t>
            </a:fld>
            <a:endParaRPr lang="de-DE" dirty="0"/>
          </a:p>
        </p:txBody>
      </p:sp>
      <p:sp>
        <p:nvSpPr>
          <p:cNvPr id="15" name="Fußzeilenplatzhalter 14"/>
          <p:cNvSpPr>
            <a:spLocks noGrp="1"/>
          </p:cNvSpPr>
          <p:nvPr>
            <p:ph type="ftr" sz="quarter" idx="12"/>
          </p:nvPr>
        </p:nvSpPr>
        <p:spPr/>
        <p:txBody>
          <a:bodyPr/>
          <a:lstStyle/>
          <a:p>
            <a:r>
              <a:rPr lang="de-DE" smtClean="0"/>
              <a:t>© Continental AG</a:t>
            </a:r>
            <a:endParaRPr lang="de-DE" dirty="0"/>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el und drei Inhalte (drei Spalten)">
    <p:spTree>
      <p:nvGrpSpPr>
        <p:cNvPr id="1" name=""/>
        <p:cNvGrpSpPr/>
        <p:nvPr/>
      </p:nvGrpSpPr>
      <p:grpSpPr>
        <a:xfrm>
          <a:off x="0" y="0"/>
          <a:ext cx="0" cy="0"/>
          <a:chOff x="0" y="0"/>
          <a:chExt cx="0" cy="0"/>
        </a:xfrm>
      </p:grpSpPr>
      <p:sp>
        <p:nvSpPr>
          <p:cNvPr id="3" name="Inhaltsplatzhalter 2"/>
          <p:cNvSpPr>
            <a:spLocks noGrp="1"/>
          </p:cNvSpPr>
          <p:nvPr>
            <p:ph sz="half" idx="1"/>
          </p:nvPr>
        </p:nvSpPr>
        <p:spPr>
          <a:xfrm>
            <a:off x="323850" y="981075"/>
            <a:ext cx="2808288" cy="4895850"/>
          </a:xfrm>
        </p:spPr>
        <p:txBody>
          <a:bodyPr vert="horz" lIns="0" tIns="18000" rIns="0" bIns="18000" rtlCol="0">
            <a:normAutofit/>
          </a:bodyPr>
          <a:lstStyle>
            <a:lvl1pPr algn="l" defTabSz="914400" rtl="0" eaLnBrk="1" latinLnBrk="0" hangingPunct="1">
              <a:lnSpc>
                <a:spcPct val="100000"/>
              </a:lnSpc>
              <a:spcBef>
                <a:spcPts val="0"/>
              </a:spcBef>
              <a:spcAft>
                <a:spcPts val="1200"/>
              </a:spcAft>
              <a:buSzPct val="100000"/>
              <a:buFontTx/>
              <a:buBlip>
                <a:blip r:embed="rId2"/>
              </a:buBlip>
              <a:defRPr lang="de-DE" sz="1600" b="0" kern="1200" dirty="0" smtClean="0">
                <a:solidFill>
                  <a:schemeClr val="tx1"/>
                </a:solidFill>
                <a:latin typeface="Arial" pitchFamily="34" charset="0"/>
                <a:ea typeface="+mn-ea"/>
                <a:cs typeface="Arial" pitchFamily="34" charset="0"/>
              </a:defRPr>
            </a:lvl1pPr>
            <a:lvl2pPr algn="l" defTabSz="914400" rtl="0" eaLnBrk="1" latinLnBrk="0" hangingPunct="1">
              <a:lnSpc>
                <a:spcPct val="100000"/>
              </a:lnSpc>
              <a:spcBef>
                <a:spcPts val="0"/>
              </a:spcBef>
              <a:spcAft>
                <a:spcPts val="1200"/>
              </a:spcAft>
              <a:buSzPct val="100000"/>
              <a:buFontTx/>
              <a:buBlip>
                <a:blip r:embed="rId2"/>
              </a:buBlip>
              <a:defRPr lang="de-DE" sz="1600" b="0" kern="1200" dirty="0" smtClean="0">
                <a:solidFill>
                  <a:schemeClr val="tx1"/>
                </a:solidFill>
                <a:latin typeface="Arial" pitchFamily="34" charset="0"/>
                <a:ea typeface="+mn-ea"/>
                <a:cs typeface="Arial" pitchFamily="34" charset="0"/>
              </a:defRPr>
            </a:lvl2pPr>
            <a:lvl3pPr algn="l" defTabSz="914400" rtl="0" eaLnBrk="1" latinLnBrk="0" hangingPunct="1">
              <a:lnSpc>
                <a:spcPct val="100000"/>
              </a:lnSpc>
              <a:spcBef>
                <a:spcPts val="0"/>
              </a:spcBef>
              <a:spcAft>
                <a:spcPts val="1200"/>
              </a:spcAft>
              <a:buSzPct val="100000"/>
              <a:buFontTx/>
              <a:buBlip>
                <a:blip r:embed="rId2"/>
              </a:buBlip>
              <a:defRPr lang="de-DE" sz="1600" b="0" kern="1200" dirty="0" smtClean="0">
                <a:solidFill>
                  <a:schemeClr val="tx1"/>
                </a:solidFill>
                <a:latin typeface="Arial" pitchFamily="34" charset="0"/>
                <a:ea typeface="+mn-ea"/>
                <a:cs typeface="Arial" pitchFamily="34" charset="0"/>
              </a:defRPr>
            </a:lvl3pPr>
            <a:lvl4pPr algn="l" defTabSz="914400" rtl="0" eaLnBrk="1" latinLnBrk="0" hangingPunct="1">
              <a:lnSpc>
                <a:spcPct val="100000"/>
              </a:lnSpc>
              <a:spcBef>
                <a:spcPts val="0"/>
              </a:spcBef>
              <a:spcAft>
                <a:spcPts val="1200"/>
              </a:spcAft>
              <a:buSzPct val="100000"/>
              <a:buFontTx/>
              <a:buBlip>
                <a:blip r:embed="rId2"/>
              </a:buBlip>
              <a:defRPr lang="de-DE" sz="1600" b="0" kern="1200" dirty="0" smtClean="0">
                <a:solidFill>
                  <a:schemeClr val="tx1"/>
                </a:solidFill>
                <a:latin typeface="Arial" pitchFamily="34" charset="0"/>
                <a:ea typeface="+mn-ea"/>
                <a:cs typeface="Arial" pitchFamily="34" charset="0"/>
              </a:defRPr>
            </a:lvl4pPr>
            <a:lvl5pPr>
              <a:defRPr sz="1200"/>
            </a:lvl5pPr>
            <a:lvl6pPr>
              <a:defRPr sz="1800"/>
            </a:lvl6pPr>
            <a:lvl7pPr>
              <a:defRPr sz="1800"/>
            </a:lvl7pPr>
            <a:lvl8pPr>
              <a:defRPr sz="1800"/>
            </a:lvl8pPr>
            <a:lvl9pPr>
              <a:defRPr sz="18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p:txBody>
      </p:sp>
      <p:sp>
        <p:nvSpPr>
          <p:cNvPr id="4" name="Inhaltsplatzhalter 3"/>
          <p:cNvSpPr>
            <a:spLocks noGrp="1"/>
          </p:cNvSpPr>
          <p:nvPr>
            <p:ph sz="half" idx="2"/>
          </p:nvPr>
        </p:nvSpPr>
        <p:spPr>
          <a:xfrm>
            <a:off x="3203575" y="981075"/>
            <a:ext cx="2736850" cy="4895850"/>
          </a:xfrm>
        </p:spPr>
        <p:txBody>
          <a:bodyPr vert="horz" lIns="0" tIns="18000" rIns="0" bIns="18000" rtlCol="0">
            <a:normAutofit/>
          </a:bodyPr>
          <a:lstStyle>
            <a:lvl1pPr algn="l" defTabSz="914400" rtl="0" eaLnBrk="1" latinLnBrk="0" hangingPunct="1">
              <a:lnSpc>
                <a:spcPct val="100000"/>
              </a:lnSpc>
              <a:spcBef>
                <a:spcPts val="0"/>
              </a:spcBef>
              <a:spcAft>
                <a:spcPts val="1200"/>
              </a:spcAft>
              <a:buSzPct val="100000"/>
              <a:buFontTx/>
              <a:buBlip>
                <a:blip r:embed="rId2"/>
              </a:buBlip>
              <a:defRPr lang="de-DE" sz="1600" b="0" kern="1200" smtClean="0">
                <a:solidFill>
                  <a:schemeClr val="tx1"/>
                </a:solidFill>
                <a:latin typeface="Arial" pitchFamily="34" charset="0"/>
                <a:ea typeface="+mn-ea"/>
                <a:cs typeface="Arial" pitchFamily="34" charset="0"/>
              </a:defRPr>
            </a:lvl1pPr>
            <a:lvl2pPr algn="l" defTabSz="914400" rtl="0" eaLnBrk="1" latinLnBrk="0" hangingPunct="1">
              <a:lnSpc>
                <a:spcPct val="100000"/>
              </a:lnSpc>
              <a:spcBef>
                <a:spcPts val="0"/>
              </a:spcBef>
              <a:spcAft>
                <a:spcPts val="1200"/>
              </a:spcAft>
              <a:buSzPct val="100000"/>
              <a:buFontTx/>
              <a:buBlip>
                <a:blip r:embed="rId2"/>
              </a:buBlip>
              <a:defRPr lang="de-DE" sz="1600" b="0" kern="1200" smtClean="0">
                <a:solidFill>
                  <a:schemeClr val="tx1"/>
                </a:solidFill>
                <a:latin typeface="Arial" pitchFamily="34" charset="0"/>
                <a:ea typeface="+mn-ea"/>
                <a:cs typeface="Arial" pitchFamily="34" charset="0"/>
              </a:defRPr>
            </a:lvl2pPr>
            <a:lvl3pPr algn="l" defTabSz="914400" rtl="0" eaLnBrk="1" latinLnBrk="0" hangingPunct="1">
              <a:lnSpc>
                <a:spcPct val="100000"/>
              </a:lnSpc>
              <a:spcBef>
                <a:spcPts val="0"/>
              </a:spcBef>
              <a:spcAft>
                <a:spcPts val="1200"/>
              </a:spcAft>
              <a:buSzPct val="100000"/>
              <a:buFontTx/>
              <a:buBlip>
                <a:blip r:embed="rId2"/>
              </a:buBlip>
              <a:defRPr lang="de-DE" sz="1600" b="0" kern="1200" smtClean="0">
                <a:solidFill>
                  <a:schemeClr val="tx1"/>
                </a:solidFill>
                <a:latin typeface="Arial" pitchFamily="34" charset="0"/>
                <a:ea typeface="+mn-ea"/>
                <a:cs typeface="Arial" pitchFamily="34" charset="0"/>
              </a:defRPr>
            </a:lvl3pPr>
            <a:lvl4pPr algn="l" defTabSz="914400" rtl="0" eaLnBrk="1" latinLnBrk="0" hangingPunct="1">
              <a:lnSpc>
                <a:spcPct val="100000"/>
              </a:lnSpc>
              <a:spcBef>
                <a:spcPts val="0"/>
              </a:spcBef>
              <a:spcAft>
                <a:spcPts val="1200"/>
              </a:spcAft>
              <a:buSzPct val="100000"/>
              <a:buFontTx/>
              <a:buBlip>
                <a:blip r:embed="rId2"/>
              </a:buBlip>
              <a:defRPr lang="de-DE" sz="1600" b="0" kern="1200" smtClean="0">
                <a:solidFill>
                  <a:schemeClr val="tx1"/>
                </a:solidFill>
                <a:latin typeface="Arial" pitchFamily="34" charset="0"/>
                <a:ea typeface="+mn-ea"/>
                <a:cs typeface="Arial" pitchFamily="34" charset="0"/>
              </a:defRPr>
            </a:lvl4pPr>
            <a:lvl5pPr>
              <a:defRPr sz="1200"/>
            </a:lvl5pPr>
            <a:lvl6pPr>
              <a:defRPr sz="1800"/>
            </a:lvl6pPr>
            <a:lvl7pPr>
              <a:defRPr sz="1800"/>
            </a:lvl7pPr>
            <a:lvl8pPr>
              <a:defRPr sz="1800"/>
            </a:lvl8pPr>
            <a:lvl9pPr>
              <a:defRPr sz="18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p:txBody>
      </p:sp>
      <p:sp>
        <p:nvSpPr>
          <p:cNvPr id="8" name="Inhaltsplatzhalter 3"/>
          <p:cNvSpPr>
            <a:spLocks noGrp="1"/>
          </p:cNvSpPr>
          <p:nvPr>
            <p:ph sz="half" idx="13"/>
          </p:nvPr>
        </p:nvSpPr>
        <p:spPr>
          <a:xfrm>
            <a:off x="6011862" y="981075"/>
            <a:ext cx="2808287" cy="4895850"/>
          </a:xfrm>
        </p:spPr>
        <p:txBody>
          <a:bodyPr vert="horz" lIns="0" tIns="18000" rIns="0" bIns="18000" rtlCol="0">
            <a:normAutofit/>
          </a:bodyPr>
          <a:lstStyle>
            <a:lvl1pPr algn="l" defTabSz="914400" rtl="0" eaLnBrk="1" latinLnBrk="0" hangingPunct="1">
              <a:lnSpc>
                <a:spcPct val="100000"/>
              </a:lnSpc>
              <a:spcBef>
                <a:spcPts val="0"/>
              </a:spcBef>
              <a:spcAft>
                <a:spcPts val="1200"/>
              </a:spcAft>
              <a:buSzPct val="100000"/>
              <a:buFontTx/>
              <a:buBlip>
                <a:blip r:embed="rId2"/>
              </a:buBlip>
              <a:defRPr lang="de-DE" sz="1600" b="0" kern="1200" dirty="0" smtClean="0">
                <a:solidFill>
                  <a:schemeClr val="tx1"/>
                </a:solidFill>
                <a:latin typeface="Arial" pitchFamily="34" charset="0"/>
                <a:ea typeface="+mn-ea"/>
                <a:cs typeface="Arial" pitchFamily="34" charset="0"/>
              </a:defRPr>
            </a:lvl1pPr>
            <a:lvl2pPr algn="l" defTabSz="914400" rtl="0" eaLnBrk="1" latinLnBrk="0" hangingPunct="1">
              <a:lnSpc>
                <a:spcPct val="100000"/>
              </a:lnSpc>
              <a:spcBef>
                <a:spcPts val="0"/>
              </a:spcBef>
              <a:spcAft>
                <a:spcPts val="1200"/>
              </a:spcAft>
              <a:buSzPct val="100000"/>
              <a:buFontTx/>
              <a:buBlip>
                <a:blip r:embed="rId2"/>
              </a:buBlip>
              <a:defRPr lang="de-DE" sz="1600" b="0" kern="1200" dirty="0" smtClean="0">
                <a:solidFill>
                  <a:schemeClr val="tx1"/>
                </a:solidFill>
                <a:latin typeface="Arial" pitchFamily="34" charset="0"/>
                <a:ea typeface="+mn-ea"/>
                <a:cs typeface="Arial" pitchFamily="34" charset="0"/>
              </a:defRPr>
            </a:lvl2pPr>
            <a:lvl3pPr algn="l" defTabSz="914400" rtl="0" eaLnBrk="1" latinLnBrk="0" hangingPunct="1">
              <a:lnSpc>
                <a:spcPct val="100000"/>
              </a:lnSpc>
              <a:spcBef>
                <a:spcPts val="0"/>
              </a:spcBef>
              <a:spcAft>
                <a:spcPts val="1200"/>
              </a:spcAft>
              <a:buSzPct val="100000"/>
              <a:buFontTx/>
              <a:buBlip>
                <a:blip r:embed="rId2"/>
              </a:buBlip>
              <a:defRPr lang="de-DE" sz="1600" b="0" kern="1200" dirty="0" smtClean="0">
                <a:solidFill>
                  <a:schemeClr val="tx1"/>
                </a:solidFill>
                <a:latin typeface="Arial" pitchFamily="34" charset="0"/>
                <a:ea typeface="+mn-ea"/>
                <a:cs typeface="Arial" pitchFamily="34" charset="0"/>
              </a:defRPr>
            </a:lvl3pPr>
            <a:lvl4pPr algn="l" defTabSz="914400" rtl="0" eaLnBrk="1" latinLnBrk="0" hangingPunct="1">
              <a:lnSpc>
                <a:spcPct val="100000"/>
              </a:lnSpc>
              <a:spcBef>
                <a:spcPts val="0"/>
              </a:spcBef>
              <a:spcAft>
                <a:spcPts val="1200"/>
              </a:spcAft>
              <a:buSzPct val="100000"/>
              <a:buFontTx/>
              <a:buBlip>
                <a:blip r:embed="rId2"/>
              </a:buBlip>
              <a:defRPr lang="de-DE" sz="1600" b="0" kern="1200" dirty="0" smtClean="0">
                <a:solidFill>
                  <a:schemeClr val="tx1"/>
                </a:solidFill>
                <a:latin typeface="Arial" pitchFamily="34" charset="0"/>
                <a:ea typeface="+mn-ea"/>
                <a:cs typeface="Arial" pitchFamily="34" charset="0"/>
              </a:defRPr>
            </a:lvl4pPr>
            <a:lvl5pPr>
              <a:defRPr sz="1200"/>
            </a:lvl5pPr>
            <a:lvl6pPr>
              <a:defRPr sz="1800"/>
            </a:lvl6pPr>
            <a:lvl7pPr>
              <a:defRPr sz="1800"/>
            </a:lvl7pPr>
            <a:lvl8pPr>
              <a:defRPr sz="1800"/>
            </a:lvl8pPr>
            <a:lvl9pPr>
              <a:defRPr sz="18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p:txBody>
      </p:sp>
      <p:sp>
        <p:nvSpPr>
          <p:cNvPr id="9" name="Titel 8"/>
          <p:cNvSpPr>
            <a:spLocks noGrp="1"/>
          </p:cNvSpPr>
          <p:nvPr>
            <p:ph type="title"/>
          </p:nvPr>
        </p:nvSpPr>
        <p:spPr/>
        <p:txBody>
          <a:bodyPr/>
          <a:lstStyle/>
          <a:p>
            <a:r>
              <a:rPr lang="de-DE" smtClean="0"/>
              <a:t>Titelmasterformat durch Klicken bearbeiten</a:t>
            </a:r>
            <a:endParaRPr lang="de-DE"/>
          </a:p>
        </p:txBody>
      </p:sp>
      <p:sp>
        <p:nvSpPr>
          <p:cNvPr id="10" name="Datumsplatzhalter 9"/>
          <p:cNvSpPr>
            <a:spLocks noGrp="1"/>
          </p:cNvSpPr>
          <p:nvPr>
            <p:ph type="dt" sz="half" idx="14"/>
          </p:nvPr>
        </p:nvSpPr>
        <p:spPr/>
        <p:txBody>
          <a:bodyPr/>
          <a:lstStyle/>
          <a:p>
            <a:fld id="{34DFC658-15A0-4A68-B894-59C9BBCBD6DD}" type="datetime5">
              <a:rPr lang="de-DE" smtClean="0"/>
              <a:pPr/>
              <a:t>12-05-18</a:t>
            </a:fld>
            <a:endParaRPr lang="de-DE" dirty="0"/>
          </a:p>
        </p:txBody>
      </p:sp>
      <p:sp>
        <p:nvSpPr>
          <p:cNvPr id="11" name="Foliennummernplatzhalter 10"/>
          <p:cNvSpPr>
            <a:spLocks noGrp="1"/>
          </p:cNvSpPr>
          <p:nvPr>
            <p:ph type="sldNum" sz="quarter" idx="15"/>
          </p:nvPr>
        </p:nvSpPr>
        <p:spPr/>
        <p:txBody>
          <a:bodyPr/>
          <a:lstStyle/>
          <a:p>
            <a:fld id="{ADA48181-2C78-49CB-8C52-912A07842C2E}" type="slidenum">
              <a:rPr lang="de-DE" smtClean="0"/>
              <a:pPr/>
              <a:t>‹N°›</a:t>
            </a:fld>
            <a:endParaRPr lang="de-DE" dirty="0"/>
          </a:p>
        </p:txBody>
      </p:sp>
      <p:sp>
        <p:nvSpPr>
          <p:cNvPr id="12" name="Fußzeilenplatzhalter 11"/>
          <p:cNvSpPr>
            <a:spLocks noGrp="1"/>
          </p:cNvSpPr>
          <p:nvPr>
            <p:ph type="ftr" sz="quarter" idx="16"/>
          </p:nvPr>
        </p:nvSpPr>
        <p:spPr/>
        <p:txBody>
          <a:bodyPr/>
          <a:lstStyle/>
          <a:p>
            <a:r>
              <a:rPr lang="de-DE" smtClean="0"/>
              <a:t>© Continental AG</a:t>
            </a:r>
            <a:endParaRPr lang="de-DE" dirty="0"/>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 und vier Inhalte (zwei Spalten)">
    <p:spTree>
      <p:nvGrpSpPr>
        <p:cNvPr id="1" name=""/>
        <p:cNvGrpSpPr/>
        <p:nvPr/>
      </p:nvGrpSpPr>
      <p:grpSpPr>
        <a:xfrm>
          <a:off x="0" y="0"/>
          <a:ext cx="0" cy="0"/>
          <a:chOff x="0" y="0"/>
          <a:chExt cx="0" cy="0"/>
        </a:xfrm>
      </p:grpSpPr>
      <p:sp>
        <p:nvSpPr>
          <p:cNvPr id="3" name="Inhaltsplatzhalter 2"/>
          <p:cNvSpPr>
            <a:spLocks noGrp="1"/>
          </p:cNvSpPr>
          <p:nvPr>
            <p:ph sz="half" idx="1"/>
          </p:nvPr>
        </p:nvSpPr>
        <p:spPr>
          <a:xfrm>
            <a:off x="323850" y="981075"/>
            <a:ext cx="4213225" cy="2447925"/>
          </a:xfrm>
        </p:spPr>
        <p:txBody>
          <a:bodyPr vert="horz" lIns="0" tIns="18000" rIns="0" bIns="18000" rtlCol="0">
            <a:normAutofit/>
          </a:bodyPr>
          <a:lstStyle>
            <a:lvl1pPr algn="l" defTabSz="914400" rtl="0" eaLnBrk="1" latinLnBrk="0" hangingPunct="1">
              <a:lnSpc>
                <a:spcPct val="100000"/>
              </a:lnSpc>
              <a:spcBef>
                <a:spcPts val="0"/>
              </a:spcBef>
              <a:spcAft>
                <a:spcPts val="1200"/>
              </a:spcAft>
              <a:buSzPct val="100000"/>
              <a:buFontTx/>
              <a:buBlip>
                <a:blip r:embed="rId2"/>
              </a:buBlip>
              <a:defRPr lang="de-DE" sz="1600" b="0" kern="1200" dirty="0" smtClean="0">
                <a:solidFill>
                  <a:schemeClr val="tx1"/>
                </a:solidFill>
                <a:latin typeface="Arial" pitchFamily="34" charset="0"/>
                <a:ea typeface="+mn-ea"/>
                <a:cs typeface="Arial" pitchFamily="34" charset="0"/>
              </a:defRPr>
            </a:lvl1pPr>
            <a:lvl2pPr algn="l" defTabSz="914400" rtl="0" eaLnBrk="1" latinLnBrk="0" hangingPunct="1">
              <a:lnSpc>
                <a:spcPct val="100000"/>
              </a:lnSpc>
              <a:spcBef>
                <a:spcPts val="0"/>
              </a:spcBef>
              <a:spcAft>
                <a:spcPts val="1200"/>
              </a:spcAft>
              <a:buSzPct val="100000"/>
              <a:buFontTx/>
              <a:buBlip>
                <a:blip r:embed="rId2"/>
              </a:buBlip>
              <a:defRPr lang="de-DE" sz="1600" b="0" kern="1200" dirty="0" smtClean="0">
                <a:solidFill>
                  <a:schemeClr val="tx1"/>
                </a:solidFill>
                <a:latin typeface="Arial" pitchFamily="34" charset="0"/>
                <a:ea typeface="+mn-ea"/>
                <a:cs typeface="Arial" pitchFamily="34" charset="0"/>
              </a:defRPr>
            </a:lvl2pPr>
            <a:lvl3pPr algn="l" defTabSz="914400" rtl="0" eaLnBrk="1" latinLnBrk="0" hangingPunct="1">
              <a:lnSpc>
                <a:spcPct val="100000"/>
              </a:lnSpc>
              <a:spcBef>
                <a:spcPts val="0"/>
              </a:spcBef>
              <a:spcAft>
                <a:spcPts val="1200"/>
              </a:spcAft>
              <a:buSzPct val="100000"/>
              <a:buFontTx/>
              <a:buBlip>
                <a:blip r:embed="rId2"/>
              </a:buBlip>
              <a:defRPr lang="de-DE" sz="1600" b="0" kern="1200" dirty="0" smtClean="0">
                <a:solidFill>
                  <a:schemeClr val="tx1"/>
                </a:solidFill>
                <a:latin typeface="Arial" pitchFamily="34" charset="0"/>
                <a:ea typeface="+mn-ea"/>
                <a:cs typeface="Arial" pitchFamily="34" charset="0"/>
              </a:defRPr>
            </a:lvl3pPr>
            <a:lvl4pPr algn="l" defTabSz="914400" rtl="0" eaLnBrk="1" latinLnBrk="0" hangingPunct="1">
              <a:lnSpc>
                <a:spcPct val="100000"/>
              </a:lnSpc>
              <a:spcBef>
                <a:spcPts val="0"/>
              </a:spcBef>
              <a:spcAft>
                <a:spcPts val="1200"/>
              </a:spcAft>
              <a:buSzPct val="100000"/>
              <a:buFontTx/>
              <a:buBlip>
                <a:blip r:embed="rId2"/>
              </a:buBlip>
              <a:defRPr lang="de-DE" sz="1600" b="0" kern="1200" dirty="0" smtClean="0">
                <a:solidFill>
                  <a:schemeClr val="tx1"/>
                </a:solidFill>
                <a:latin typeface="Arial" pitchFamily="34" charset="0"/>
                <a:ea typeface="+mn-ea"/>
                <a:cs typeface="Arial" pitchFamily="34" charset="0"/>
              </a:defRPr>
            </a:lvl4pPr>
            <a:lvl5pPr algn="l" defTabSz="914400" rtl="0" eaLnBrk="1" latinLnBrk="0" hangingPunct="1">
              <a:lnSpc>
                <a:spcPct val="100000"/>
              </a:lnSpc>
              <a:spcBef>
                <a:spcPts val="0"/>
              </a:spcBef>
              <a:spcAft>
                <a:spcPts val="1200"/>
              </a:spcAft>
              <a:buSzPct val="100000"/>
              <a:buFontTx/>
              <a:buBlip>
                <a:blip r:embed="rId3"/>
              </a:buBlip>
              <a:defRPr lang="de-DE" sz="1600" b="0" kern="1200" dirty="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p:txBody>
      </p:sp>
      <p:sp>
        <p:nvSpPr>
          <p:cNvPr id="4" name="Inhaltsplatzhalter 3"/>
          <p:cNvSpPr>
            <a:spLocks noGrp="1"/>
          </p:cNvSpPr>
          <p:nvPr>
            <p:ph sz="half" idx="2"/>
          </p:nvPr>
        </p:nvSpPr>
        <p:spPr>
          <a:xfrm>
            <a:off x="4606925" y="981075"/>
            <a:ext cx="4213225" cy="2447925"/>
          </a:xfrm>
        </p:spPr>
        <p:txBody>
          <a:bodyPr vert="horz" lIns="0" tIns="18000" rIns="0" bIns="18000" rtlCol="0">
            <a:normAutofit/>
          </a:bodyPr>
          <a:lstStyle>
            <a:lvl1pPr algn="l" defTabSz="914400" rtl="0" eaLnBrk="1" latinLnBrk="0" hangingPunct="1">
              <a:lnSpc>
                <a:spcPct val="100000"/>
              </a:lnSpc>
              <a:spcBef>
                <a:spcPts val="0"/>
              </a:spcBef>
              <a:spcAft>
                <a:spcPts val="1200"/>
              </a:spcAft>
              <a:buSzPct val="100000"/>
              <a:buFontTx/>
              <a:buBlip>
                <a:blip r:embed="rId2"/>
              </a:buBlip>
              <a:defRPr lang="de-DE" sz="1600" b="0" kern="1200" smtClean="0">
                <a:solidFill>
                  <a:schemeClr val="tx1"/>
                </a:solidFill>
                <a:latin typeface="Arial" pitchFamily="34" charset="0"/>
                <a:ea typeface="+mn-ea"/>
                <a:cs typeface="Arial" pitchFamily="34" charset="0"/>
              </a:defRPr>
            </a:lvl1pPr>
            <a:lvl2pPr algn="l" defTabSz="914400" rtl="0" eaLnBrk="1" latinLnBrk="0" hangingPunct="1">
              <a:lnSpc>
                <a:spcPct val="100000"/>
              </a:lnSpc>
              <a:spcBef>
                <a:spcPts val="0"/>
              </a:spcBef>
              <a:spcAft>
                <a:spcPts val="1200"/>
              </a:spcAft>
              <a:buSzPct val="100000"/>
              <a:buFontTx/>
              <a:buBlip>
                <a:blip r:embed="rId2"/>
              </a:buBlip>
              <a:defRPr lang="de-DE" sz="1600" b="0" kern="1200" smtClean="0">
                <a:solidFill>
                  <a:schemeClr val="tx1"/>
                </a:solidFill>
                <a:latin typeface="Arial" pitchFamily="34" charset="0"/>
                <a:ea typeface="+mn-ea"/>
                <a:cs typeface="Arial" pitchFamily="34" charset="0"/>
              </a:defRPr>
            </a:lvl2pPr>
            <a:lvl3pPr algn="l" defTabSz="914400" rtl="0" eaLnBrk="1" latinLnBrk="0" hangingPunct="1">
              <a:lnSpc>
                <a:spcPct val="100000"/>
              </a:lnSpc>
              <a:spcBef>
                <a:spcPts val="0"/>
              </a:spcBef>
              <a:spcAft>
                <a:spcPts val="1200"/>
              </a:spcAft>
              <a:buSzPct val="100000"/>
              <a:buFontTx/>
              <a:buBlip>
                <a:blip r:embed="rId2"/>
              </a:buBlip>
              <a:defRPr lang="de-DE" sz="1600" b="0" kern="1200" smtClean="0">
                <a:solidFill>
                  <a:schemeClr val="tx1"/>
                </a:solidFill>
                <a:latin typeface="Arial" pitchFamily="34" charset="0"/>
                <a:ea typeface="+mn-ea"/>
                <a:cs typeface="Arial" pitchFamily="34" charset="0"/>
              </a:defRPr>
            </a:lvl3pPr>
            <a:lvl4pPr algn="l" defTabSz="914400" rtl="0" eaLnBrk="1" latinLnBrk="0" hangingPunct="1">
              <a:lnSpc>
                <a:spcPct val="100000"/>
              </a:lnSpc>
              <a:spcBef>
                <a:spcPts val="0"/>
              </a:spcBef>
              <a:spcAft>
                <a:spcPts val="1200"/>
              </a:spcAft>
              <a:buSzPct val="100000"/>
              <a:buFontTx/>
              <a:buBlip>
                <a:blip r:embed="rId2"/>
              </a:buBlip>
              <a:defRPr lang="de-DE" sz="1600" b="0" kern="1200" smtClean="0">
                <a:solidFill>
                  <a:schemeClr val="tx1"/>
                </a:solidFill>
                <a:latin typeface="Arial" pitchFamily="34" charset="0"/>
                <a:ea typeface="+mn-ea"/>
                <a:cs typeface="Arial" pitchFamily="34" charset="0"/>
              </a:defRPr>
            </a:lvl4pPr>
            <a:lvl5pPr algn="l" defTabSz="914400" rtl="0" eaLnBrk="1" latinLnBrk="0" hangingPunct="1">
              <a:lnSpc>
                <a:spcPct val="100000"/>
              </a:lnSpc>
              <a:spcBef>
                <a:spcPts val="0"/>
              </a:spcBef>
              <a:spcAft>
                <a:spcPts val="1200"/>
              </a:spcAft>
              <a:buSzPct val="100000"/>
              <a:buFontTx/>
              <a:buNone/>
              <a:defRPr lang="de-DE" sz="1600" b="0" kern="1200" dirty="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p:txBody>
      </p:sp>
      <p:sp>
        <p:nvSpPr>
          <p:cNvPr id="12" name="Titel 11"/>
          <p:cNvSpPr>
            <a:spLocks noGrp="1"/>
          </p:cNvSpPr>
          <p:nvPr>
            <p:ph type="title"/>
          </p:nvPr>
        </p:nvSpPr>
        <p:spPr/>
        <p:txBody>
          <a:bodyPr/>
          <a:lstStyle/>
          <a:p>
            <a:r>
              <a:rPr lang="de-DE" smtClean="0"/>
              <a:t>Titelmasterformat durch Klicken bearbeiten</a:t>
            </a:r>
            <a:endParaRPr lang="de-DE"/>
          </a:p>
        </p:txBody>
      </p:sp>
      <p:sp>
        <p:nvSpPr>
          <p:cNvPr id="13" name="Datumsplatzhalter 12"/>
          <p:cNvSpPr>
            <a:spLocks noGrp="1"/>
          </p:cNvSpPr>
          <p:nvPr>
            <p:ph type="dt" sz="half" idx="10"/>
          </p:nvPr>
        </p:nvSpPr>
        <p:spPr/>
        <p:txBody>
          <a:bodyPr/>
          <a:lstStyle/>
          <a:p>
            <a:fld id="{121DC4BC-3A66-49E8-9450-A496EA37F4C1}" type="datetime5">
              <a:rPr lang="de-DE" smtClean="0"/>
              <a:pPr/>
              <a:t>12-05-18</a:t>
            </a:fld>
            <a:endParaRPr lang="de-DE" dirty="0"/>
          </a:p>
        </p:txBody>
      </p:sp>
      <p:sp>
        <p:nvSpPr>
          <p:cNvPr id="14" name="Foliennummernplatzhalter 13"/>
          <p:cNvSpPr>
            <a:spLocks noGrp="1"/>
          </p:cNvSpPr>
          <p:nvPr>
            <p:ph type="sldNum" sz="quarter" idx="11"/>
          </p:nvPr>
        </p:nvSpPr>
        <p:spPr/>
        <p:txBody>
          <a:bodyPr/>
          <a:lstStyle/>
          <a:p>
            <a:fld id="{ADA48181-2C78-49CB-8C52-912A07842C2E}" type="slidenum">
              <a:rPr lang="de-DE" smtClean="0"/>
              <a:pPr/>
              <a:t>‹N°›</a:t>
            </a:fld>
            <a:endParaRPr lang="de-DE" dirty="0"/>
          </a:p>
        </p:txBody>
      </p:sp>
      <p:sp>
        <p:nvSpPr>
          <p:cNvPr id="15" name="Fußzeilenplatzhalter 14"/>
          <p:cNvSpPr>
            <a:spLocks noGrp="1"/>
          </p:cNvSpPr>
          <p:nvPr>
            <p:ph type="ftr" sz="quarter" idx="12"/>
          </p:nvPr>
        </p:nvSpPr>
        <p:spPr/>
        <p:txBody>
          <a:bodyPr/>
          <a:lstStyle/>
          <a:p>
            <a:r>
              <a:rPr lang="de-DE" smtClean="0"/>
              <a:t>© Continental AG</a:t>
            </a:r>
            <a:endParaRPr lang="de-DE" dirty="0"/>
          </a:p>
        </p:txBody>
      </p:sp>
      <p:sp>
        <p:nvSpPr>
          <p:cNvPr id="18" name="Inhaltsplatzhalter 2"/>
          <p:cNvSpPr>
            <a:spLocks noGrp="1"/>
          </p:cNvSpPr>
          <p:nvPr>
            <p:ph sz="half" idx="13"/>
          </p:nvPr>
        </p:nvSpPr>
        <p:spPr>
          <a:xfrm>
            <a:off x="323850" y="3500438"/>
            <a:ext cx="4213225" cy="2376487"/>
          </a:xfrm>
        </p:spPr>
        <p:txBody>
          <a:bodyPr vert="horz" lIns="0" tIns="18000" rIns="0" bIns="18000" rtlCol="0">
            <a:normAutofit/>
          </a:bodyPr>
          <a:lstStyle>
            <a:lvl1pPr algn="l" defTabSz="914400" rtl="0" eaLnBrk="1" latinLnBrk="0" hangingPunct="1">
              <a:lnSpc>
                <a:spcPct val="100000"/>
              </a:lnSpc>
              <a:spcBef>
                <a:spcPts val="0"/>
              </a:spcBef>
              <a:spcAft>
                <a:spcPts val="1200"/>
              </a:spcAft>
              <a:buSzPct val="100000"/>
              <a:buFontTx/>
              <a:buBlip>
                <a:blip r:embed="rId2"/>
              </a:buBlip>
              <a:defRPr lang="de-DE" sz="1600" b="0" kern="1200" dirty="0" smtClean="0">
                <a:solidFill>
                  <a:schemeClr val="tx1"/>
                </a:solidFill>
                <a:latin typeface="Arial" pitchFamily="34" charset="0"/>
                <a:ea typeface="+mn-ea"/>
                <a:cs typeface="Arial" pitchFamily="34" charset="0"/>
              </a:defRPr>
            </a:lvl1pPr>
            <a:lvl2pPr algn="l" defTabSz="914400" rtl="0" eaLnBrk="1" latinLnBrk="0" hangingPunct="1">
              <a:lnSpc>
                <a:spcPct val="100000"/>
              </a:lnSpc>
              <a:spcBef>
                <a:spcPts val="0"/>
              </a:spcBef>
              <a:spcAft>
                <a:spcPts val="1200"/>
              </a:spcAft>
              <a:buSzPct val="100000"/>
              <a:buFontTx/>
              <a:buBlip>
                <a:blip r:embed="rId2"/>
              </a:buBlip>
              <a:defRPr lang="de-DE" sz="1600" b="0" kern="1200" dirty="0" smtClean="0">
                <a:solidFill>
                  <a:schemeClr val="tx1"/>
                </a:solidFill>
                <a:latin typeface="Arial" pitchFamily="34" charset="0"/>
                <a:ea typeface="+mn-ea"/>
                <a:cs typeface="Arial" pitchFamily="34" charset="0"/>
              </a:defRPr>
            </a:lvl2pPr>
            <a:lvl3pPr algn="l" defTabSz="914400" rtl="0" eaLnBrk="1" latinLnBrk="0" hangingPunct="1">
              <a:lnSpc>
                <a:spcPct val="100000"/>
              </a:lnSpc>
              <a:spcBef>
                <a:spcPts val="0"/>
              </a:spcBef>
              <a:spcAft>
                <a:spcPts val="1200"/>
              </a:spcAft>
              <a:buSzPct val="100000"/>
              <a:buFontTx/>
              <a:buBlip>
                <a:blip r:embed="rId2"/>
              </a:buBlip>
              <a:defRPr lang="de-DE" sz="1600" b="0" kern="1200" dirty="0" smtClean="0">
                <a:solidFill>
                  <a:schemeClr val="tx1"/>
                </a:solidFill>
                <a:latin typeface="Arial" pitchFamily="34" charset="0"/>
                <a:ea typeface="+mn-ea"/>
                <a:cs typeface="Arial" pitchFamily="34" charset="0"/>
              </a:defRPr>
            </a:lvl3pPr>
            <a:lvl4pPr algn="l" defTabSz="914400" rtl="0" eaLnBrk="1" latinLnBrk="0" hangingPunct="1">
              <a:lnSpc>
                <a:spcPct val="100000"/>
              </a:lnSpc>
              <a:spcBef>
                <a:spcPts val="0"/>
              </a:spcBef>
              <a:spcAft>
                <a:spcPts val="1200"/>
              </a:spcAft>
              <a:buSzPct val="100000"/>
              <a:buFontTx/>
              <a:buBlip>
                <a:blip r:embed="rId2"/>
              </a:buBlip>
              <a:defRPr lang="de-DE" sz="1600" b="0" kern="1200" dirty="0" smtClean="0">
                <a:solidFill>
                  <a:schemeClr val="tx1"/>
                </a:solidFill>
                <a:latin typeface="Arial" pitchFamily="34" charset="0"/>
                <a:ea typeface="+mn-ea"/>
                <a:cs typeface="Arial" pitchFamily="34" charset="0"/>
              </a:defRPr>
            </a:lvl4pPr>
            <a:lvl5pPr algn="l" defTabSz="914400" rtl="0" eaLnBrk="1" latinLnBrk="0" hangingPunct="1">
              <a:lnSpc>
                <a:spcPct val="100000"/>
              </a:lnSpc>
              <a:spcBef>
                <a:spcPts val="0"/>
              </a:spcBef>
              <a:spcAft>
                <a:spcPts val="1200"/>
              </a:spcAft>
              <a:buSzPct val="100000"/>
              <a:buFontTx/>
              <a:buBlip>
                <a:blip r:embed="rId3"/>
              </a:buBlip>
              <a:defRPr lang="de-DE" sz="1600" b="0" kern="1200" dirty="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p:txBody>
      </p:sp>
      <p:sp>
        <p:nvSpPr>
          <p:cNvPr id="19" name="Inhaltsplatzhalter 3"/>
          <p:cNvSpPr>
            <a:spLocks noGrp="1"/>
          </p:cNvSpPr>
          <p:nvPr>
            <p:ph sz="half" idx="14"/>
          </p:nvPr>
        </p:nvSpPr>
        <p:spPr>
          <a:xfrm>
            <a:off x="4606925" y="3500438"/>
            <a:ext cx="4213225" cy="2376487"/>
          </a:xfrm>
        </p:spPr>
        <p:txBody>
          <a:bodyPr vert="horz" lIns="0" tIns="18000" rIns="0" bIns="18000" rtlCol="0">
            <a:normAutofit/>
          </a:bodyPr>
          <a:lstStyle>
            <a:lvl1pPr algn="l" defTabSz="914400" rtl="0" eaLnBrk="1" latinLnBrk="0" hangingPunct="1">
              <a:lnSpc>
                <a:spcPct val="100000"/>
              </a:lnSpc>
              <a:spcBef>
                <a:spcPts val="0"/>
              </a:spcBef>
              <a:spcAft>
                <a:spcPts val="1200"/>
              </a:spcAft>
              <a:buSzPct val="100000"/>
              <a:buFontTx/>
              <a:buBlip>
                <a:blip r:embed="rId2"/>
              </a:buBlip>
              <a:defRPr lang="de-DE" sz="1600" b="0" kern="1200" smtClean="0">
                <a:solidFill>
                  <a:schemeClr val="tx1"/>
                </a:solidFill>
                <a:latin typeface="Arial" pitchFamily="34" charset="0"/>
                <a:ea typeface="+mn-ea"/>
                <a:cs typeface="Arial" pitchFamily="34" charset="0"/>
              </a:defRPr>
            </a:lvl1pPr>
            <a:lvl2pPr algn="l" defTabSz="914400" rtl="0" eaLnBrk="1" latinLnBrk="0" hangingPunct="1">
              <a:lnSpc>
                <a:spcPct val="100000"/>
              </a:lnSpc>
              <a:spcBef>
                <a:spcPts val="0"/>
              </a:spcBef>
              <a:spcAft>
                <a:spcPts val="1200"/>
              </a:spcAft>
              <a:buSzPct val="100000"/>
              <a:buFontTx/>
              <a:buBlip>
                <a:blip r:embed="rId2"/>
              </a:buBlip>
              <a:defRPr lang="de-DE" sz="1600" b="0" kern="1200" smtClean="0">
                <a:solidFill>
                  <a:schemeClr val="tx1"/>
                </a:solidFill>
                <a:latin typeface="Arial" pitchFamily="34" charset="0"/>
                <a:ea typeface="+mn-ea"/>
                <a:cs typeface="Arial" pitchFamily="34" charset="0"/>
              </a:defRPr>
            </a:lvl2pPr>
            <a:lvl3pPr algn="l" defTabSz="914400" rtl="0" eaLnBrk="1" latinLnBrk="0" hangingPunct="1">
              <a:lnSpc>
                <a:spcPct val="100000"/>
              </a:lnSpc>
              <a:spcBef>
                <a:spcPts val="0"/>
              </a:spcBef>
              <a:spcAft>
                <a:spcPts val="1200"/>
              </a:spcAft>
              <a:buSzPct val="100000"/>
              <a:buFontTx/>
              <a:buBlip>
                <a:blip r:embed="rId2"/>
              </a:buBlip>
              <a:defRPr lang="de-DE" sz="1600" b="0" kern="1200" smtClean="0">
                <a:solidFill>
                  <a:schemeClr val="tx1"/>
                </a:solidFill>
                <a:latin typeface="Arial" pitchFamily="34" charset="0"/>
                <a:ea typeface="+mn-ea"/>
                <a:cs typeface="Arial" pitchFamily="34" charset="0"/>
              </a:defRPr>
            </a:lvl3pPr>
            <a:lvl4pPr algn="l" defTabSz="914400" rtl="0" eaLnBrk="1" latinLnBrk="0" hangingPunct="1">
              <a:lnSpc>
                <a:spcPct val="100000"/>
              </a:lnSpc>
              <a:spcBef>
                <a:spcPts val="0"/>
              </a:spcBef>
              <a:spcAft>
                <a:spcPts val="1200"/>
              </a:spcAft>
              <a:buSzPct val="100000"/>
              <a:buFontTx/>
              <a:buBlip>
                <a:blip r:embed="rId2"/>
              </a:buBlip>
              <a:defRPr lang="de-DE" sz="1600" b="0" kern="1200" smtClean="0">
                <a:solidFill>
                  <a:schemeClr val="tx1"/>
                </a:solidFill>
                <a:latin typeface="Arial" pitchFamily="34" charset="0"/>
                <a:ea typeface="+mn-ea"/>
                <a:cs typeface="Arial" pitchFamily="34" charset="0"/>
              </a:defRPr>
            </a:lvl4pPr>
            <a:lvl5pPr algn="l" defTabSz="914400" rtl="0" eaLnBrk="1" latinLnBrk="0" hangingPunct="1">
              <a:lnSpc>
                <a:spcPct val="100000"/>
              </a:lnSpc>
              <a:spcBef>
                <a:spcPts val="0"/>
              </a:spcBef>
              <a:spcAft>
                <a:spcPts val="1200"/>
              </a:spcAft>
              <a:buSzPct val="100000"/>
              <a:buFontTx/>
              <a:buNone/>
              <a:defRPr lang="de-DE" sz="1600" b="0" kern="1200" dirty="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ild mit Subline">
    <p:spTree>
      <p:nvGrpSpPr>
        <p:cNvPr id="1" name=""/>
        <p:cNvGrpSpPr/>
        <p:nvPr/>
      </p:nvGrpSpPr>
      <p:grpSpPr>
        <a:xfrm>
          <a:off x="0" y="0"/>
          <a:ext cx="0" cy="0"/>
          <a:chOff x="0" y="0"/>
          <a:chExt cx="0" cy="0"/>
        </a:xfrm>
      </p:grpSpPr>
      <p:sp>
        <p:nvSpPr>
          <p:cNvPr id="3" name="Bildplatzhalter 2"/>
          <p:cNvSpPr>
            <a:spLocks noGrp="1"/>
          </p:cNvSpPr>
          <p:nvPr>
            <p:ph type="pic" idx="1"/>
          </p:nvPr>
        </p:nvSpPr>
        <p:spPr>
          <a:xfrm>
            <a:off x="323850" y="1052513"/>
            <a:ext cx="8496300" cy="424869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smtClean="0"/>
              <a:t>Bild durch Klicken auf Symbol hinzufügen</a:t>
            </a:r>
            <a:endParaRPr lang="de-DE" dirty="0"/>
          </a:p>
        </p:txBody>
      </p:sp>
      <p:sp>
        <p:nvSpPr>
          <p:cNvPr id="4" name="Textplatzhalter 3"/>
          <p:cNvSpPr>
            <a:spLocks noGrp="1"/>
          </p:cNvSpPr>
          <p:nvPr>
            <p:ph type="body" sz="half" idx="2"/>
          </p:nvPr>
        </p:nvSpPr>
        <p:spPr>
          <a:xfrm>
            <a:off x="323850" y="5373215"/>
            <a:ext cx="8496300" cy="503710"/>
          </a:xfrm>
        </p:spPr>
        <p:txBody>
          <a:bodyPr>
            <a:normAutofit/>
          </a:bodyPr>
          <a:lstStyle>
            <a:lvl1pPr marL="0" indent="0">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Textmasterformate durch Klicken bearbeiten</a:t>
            </a:r>
          </a:p>
        </p:txBody>
      </p:sp>
      <p:sp>
        <p:nvSpPr>
          <p:cNvPr id="8" name="Titel 7"/>
          <p:cNvSpPr>
            <a:spLocks noGrp="1"/>
          </p:cNvSpPr>
          <p:nvPr>
            <p:ph type="title"/>
          </p:nvPr>
        </p:nvSpPr>
        <p:spPr/>
        <p:txBody>
          <a:bodyPr/>
          <a:lstStyle/>
          <a:p>
            <a:r>
              <a:rPr lang="de-DE" smtClean="0"/>
              <a:t>Titelmasterformat durch Klicken bearbeiten</a:t>
            </a:r>
            <a:endParaRPr lang="de-DE"/>
          </a:p>
        </p:txBody>
      </p:sp>
      <p:sp>
        <p:nvSpPr>
          <p:cNvPr id="9" name="Datumsplatzhalter 8"/>
          <p:cNvSpPr>
            <a:spLocks noGrp="1"/>
          </p:cNvSpPr>
          <p:nvPr>
            <p:ph type="dt" sz="half" idx="10"/>
          </p:nvPr>
        </p:nvSpPr>
        <p:spPr/>
        <p:txBody>
          <a:bodyPr/>
          <a:lstStyle/>
          <a:p>
            <a:fld id="{DBBB88CB-9329-4AE8-A346-60CA03690D10}" type="datetime5">
              <a:rPr lang="de-DE" smtClean="0"/>
              <a:pPr/>
              <a:t>12-05-18</a:t>
            </a:fld>
            <a:endParaRPr lang="de-DE" dirty="0"/>
          </a:p>
        </p:txBody>
      </p:sp>
      <p:sp>
        <p:nvSpPr>
          <p:cNvPr id="10" name="Foliennummernplatzhalter 9"/>
          <p:cNvSpPr>
            <a:spLocks noGrp="1"/>
          </p:cNvSpPr>
          <p:nvPr>
            <p:ph type="sldNum" sz="quarter" idx="11"/>
          </p:nvPr>
        </p:nvSpPr>
        <p:spPr/>
        <p:txBody>
          <a:bodyPr/>
          <a:lstStyle/>
          <a:p>
            <a:fld id="{ADA48181-2C78-49CB-8C52-912A07842C2E}" type="slidenum">
              <a:rPr lang="de-DE" smtClean="0"/>
              <a:pPr/>
              <a:t>‹N°›</a:t>
            </a:fld>
            <a:endParaRPr lang="de-DE" dirty="0"/>
          </a:p>
        </p:txBody>
      </p:sp>
      <p:sp>
        <p:nvSpPr>
          <p:cNvPr id="11" name="Fußzeilenplatzhalter 10"/>
          <p:cNvSpPr>
            <a:spLocks noGrp="1"/>
          </p:cNvSpPr>
          <p:nvPr>
            <p:ph type="ftr" sz="quarter" idx="12"/>
          </p:nvPr>
        </p:nvSpPr>
        <p:spPr/>
        <p:txBody>
          <a:bodyPr/>
          <a:lstStyle/>
          <a:p>
            <a:r>
              <a:rPr lang="de-DE" smtClean="0"/>
              <a:t>© Continental AG</a:t>
            </a:r>
            <a:endParaRPr lang="de-DE" dirty="0"/>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6" name="Titel 5"/>
          <p:cNvSpPr>
            <a:spLocks noGrp="1"/>
          </p:cNvSpPr>
          <p:nvPr>
            <p:ph type="title"/>
          </p:nvPr>
        </p:nvSpPr>
        <p:spPr/>
        <p:txBody>
          <a:bodyPr/>
          <a:lstStyle/>
          <a:p>
            <a:r>
              <a:rPr lang="de-DE" dirty="0" smtClean="0"/>
              <a:t>Titelmasterformat durch Klicken bearbeiten</a:t>
            </a:r>
            <a:endParaRPr lang="de-DE" dirty="0"/>
          </a:p>
        </p:txBody>
      </p:sp>
      <p:sp>
        <p:nvSpPr>
          <p:cNvPr id="7" name="Datumsplatzhalter 6"/>
          <p:cNvSpPr>
            <a:spLocks noGrp="1"/>
          </p:cNvSpPr>
          <p:nvPr>
            <p:ph type="dt" sz="half" idx="10"/>
          </p:nvPr>
        </p:nvSpPr>
        <p:spPr/>
        <p:txBody>
          <a:bodyPr/>
          <a:lstStyle/>
          <a:p>
            <a:fld id="{FD8247E9-E3F0-483B-8226-32A7393E3B81}" type="datetime5">
              <a:rPr lang="de-DE" smtClean="0"/>
              <a:pPr/>
              <a:t>12-05-18</a:t>
            </a:fld>
            <a:endParaRPr lang="de-DE" dirty="0"/>
          </a:p>
        </p:txBody>
      </p:sp>
      <p:sp>
        <p:nvSpPr>
          <p:cNvPr id="8" name="Foliennummernplatzhalter 7"/>
          <p:cNvSpPr>
            <a:spLocks noGrp="1"/>
          </p:cNvSpPr>
          <p:nvPr>
            <p:ph type="sldNum" sz="quarter" idx="11"/>
          </p:nvPr>
        </p:nvSpPr>
        <p:spPr/>
        <p:txBody>
          <a:bodyPr/>
          <a:lstStyle/>
          <a:p>
            <a:fld id="{ADA48181-2C78-49CB-8C52-912A07842C2E}" type="slidenum">
              <a:rPr lang="de-DE" smtClean="0"/>
              <a:pPr/>
              <a:t>‹N°›</a:t>
            </a:fld>
            <a:endParaRPr lang="de-DE" dirty="0"/>
          </a:p>
        </p:txBody>
      </p:sp>
      <p:sp>
        <p:nvSpPr>
          <p:cNvPr id="9" name="Fußzeilenplatzhalter 8"/>
          <p:cNvSpPr>
            <a:spLocks noGrp="1"/>
          </p:cNvSpPr>
          <p:nvPr>
            <p:ph type="ftr" sz="quarter" idx="12"/>
          </p:nvPr>
        </p:nvSpPr>
        <p:spPr/>
        <p:txBody>
          <a:bodyPr/>
          <a:lstStyle/>
          <a:p>
            <a:r>
              <a:rPr lang="de-DE" smtClean="0"/>
              <a:t>© Continental AG</a:t>
            </a:r>
            <a:endParaRPr lang="de-DE" dirty="0"/>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5" name="Datumsplatzhalter 4"/>
          <p:cNvSpPr>
            <a:spLocks noGrp="1"/>
          </p:cNvSpPr>
          <p:nvPr>
            <p:ph type="dt" sz="half" idx="10"/>
          </p:nvPr>
        </p:nvSpPr>
        <p:spPr/>
        <p:txBody>
          <a:bodyPr/>
          <a:lstStyle/>
          <a:p>
            <a:fld id="{9CF15090-0FB7-4955-B263-A5F7A8E952D5}" type="datetime5">
              <a:rPr lang="de-DE" smtClean="0"/>
              <a:pPr/>
              <a:t>12-05-18</a:t>
            </a:fld>
            <a:endParaRPr lang="de-DE" dirty="0"/>
          </a:p>
        </p:txBody>
      </p:sp>
      <p:sp>
        <p:nvSpPr>
          <p:cNvPr id="6" name="Foliennummernplatzhalter 5"/>
          <p:cNvSpPr>
            <a:spLocks noGrp="1"/>
          </p:cNvSpPr>
          <p:nvPr>
            <p:ph type="sldNum" sz="quarter" idx="11"/>
          </p:nvPr>
        </p:nvSpPr>
        <p:spPr/>
        <p:txBody>
          <a:bodyPr/>
          <a:lstStyle/>
          <a:p>
            <a:fld id="{ADA48181-2C78-49CB-8C52-912A07842C2E}" type="slidenum">
              <a:rPr lang="de-DE" smtClean="0"/>
              <a:pPr/>
              <a:t>‹N°›</a:t>
            </a:fld>
            <a:endParaRPr lang="de-DE" dirty="0"/>
          </a:p>
        </p:txBody>
      </p:sp>
      <p:sp>
        <p:nvSpPr>
          <p:cNvPr id="7" name="Fußzeilenplatzhalter 6"/>
          <p:cNvSpPr>
            <a:spLocks noGrp="1"/>
          </p:cNvSpPr>
          <p:nvPr>
            <p:ph type="ftr" sz="quarter" idx="12"/>
          </p:nvPr>
        </p:nvSpPr>
        <p:spPr/>
        <p:txBody>
          <a:bodyPr/>
          <a:lstStyle/>
          <a:p>
            <a:r>
              <a:rPr lang="de-DE" smtClean="0"/>
              <a:t>© Continental AG</a:t>
            </a:r>
            <a:endParaRPr lang="de-DE" dirty="0"/>
          </a:p>
        </p:txBody>
      </p:sp>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2.gif"/><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323851" y="116633"/>
            <a:ext cx="8496299" cy="648071"/>
          </a:xfrm>
          <a:prstGeom prst="rect">
            <a:avLst/>
          </a:prstGeom>
        </p:spPr>
        <p:txBody>
          <a:bodyPr vert="horz" lIns="0" tIns="0" rIns="91440" bIns="0" rtlCol="0" anchor="b" anchorCtr="0">
            <a:normAutofit/>
          </a:bodyPr>
          <a:lstStyle/>
          <a:p>
            <a:r>
              <a:rPr lang="de-DE" dirty="0" smtClean="0"/>
              <a:t>Titelmasterformat durch Klicken bearbeiten</a:t>
            </a:r>
            <a:endParaRPr lang="de-DE" dirty="0"/>
          </a:p>
        </p:txBody>
      </p:sp>
      <p:sp>
        <p:nvSpPr>
          <p:cNvPr id="3" name="Textplatzhalter 2"/>
          <p:cNvSpPr>
            <a:spLocks noGrp="1"/>
          </p:cNvSpPr>
          <p:nvPr>
            <p:ph type="body" idx="1"/>
          </p:nvPr>
        </p:nvSpPr>
        <p:spPr>
          <a:xfrm>
            <a:off x="323850" y="981075"/>
            <a:ext cx="8496300" cy="4895851"/>
          </a:xfrm>
          <a:prstGeom prst="rect">
            <a:avLst/>
          </a:prstGeom>
        </p:spPr>
        <p:txBody>
          <a:bodyPr vert="horz" lIns="0" tIns="18000" rIns="0" bIns="18000" rtlCol="0">
            <a:normAutofit/>
          </a:bodyPr>
          <a:lstStyle/>
          <a:p>
            <a:pPr lvl="0"/>
            <a:r>
              <a:rPr lang="de-DE" dirty="0" smtClean="0"/>
              <a:t>Textmasterformate durch Klicken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10" name="Text Box 23"/>
          <p:cNvSpPr txBox="1">
            <a:spLocks noChangeArrowheads="1"/>
          </p:cNvSpPr>
          <p:nvPr/>
        </p:nvSpPr>
        <p:spPr bwMode="auto">
          <a:xfrm>
            <a:off x="323850" y="6237287"/>
            <a:ext cx="3405867" cy="287337"/>
          </a:xfrm>
          <a:prstGeom prst="rect">
            <a:avLst/>
          </a:prstGeom>
          <a:noFill/>
          <a:ln w="9525">
            <a:noFill/>
            <a:miter lim="800000"/>
            <a:headEnd/>
            <a:tailEnd/>
          </a:ln>
          <a:effectLst/>
        </p:spPr>
        <p:txBody>
          <a:bodyPr lIns="0" tIns="0" rIns="0" bIns="0" anchor="b"/>
          <a:lstStyle/>
          <a:p>
            <a:pPr algn="l" defTabSz="895888"/>
            <a:r>
              <a:rPr lang="de-DE" sz="900" b="1" dirty="0" smtClean="0"/>
              <a:t>         </a:t>
            </a:r>
            <a:endParaRPr lang="de-DE" sz="900" b="1" dirty="0"/>
          </a:p>
        </p:txBody>
      </p:sp>
      <p:sp>
        <p:nvSpPr>
          <p:cNvPr id="24" name="Datumsplatzhalter 23"/>
          <p:cNvSpPr>
            <a:spLocks noGrp="1"/>
          </p:cNvSpPr>
          <p:nvPr>
            <p:ph type="dt" sz="half" idx="2"/>
          </p:nvPr>
        </p:nvSpPr>
        <p:spPr>
          <a:xfrm>
            <a:off x="611560" y="6597650"/>
            <a:ext cx="503049" cy="150440"/>
          </a:xfrm>
          <a:prstGeom prst="rect">
            <a:avLst/>
          </a:prstGeom>
        </p:spPr>
        <p:txBody>
          <a:bodyPr vert="horz" wrap="none" lIns="0" tIns="0" rIns="0" bIns="0" rtlCol="0" anchor="ctr" anchorCtr="0"/>
          <a:lstStyle>
            <a:lvl1pPr algn="ctr">
              <a:defRPr sz="700">
                <a:solidFill>
                  <a:schemeClr val="tx1"/>
                </a:solidFill>
              </a:defRPr>
            </a:lvl1pPr>
          </a:lstStyle>
          <a:p>
            <a:fld id="{B0D81787-571D-4A6B-9767-120A4D3DA883}" type="datetime5">
              <a:rPr lang="de-DE" smtClean="0"/>
              <a:pPr/>
              <a:t>12-05-18</a:t>
            </a:fld>
            <a:endParaRPr lang="de-DE" dirty="0"/>
          </a:p>
        </p:txBody>
      </p:sp>
      <p:sp>
        <p:nvSpPr>
          <p:cNvPr id="25" name="Fußzeilenplatzhalter 24"/>
          <p:cNvSpPr>
            <a:spLocks noGrp="1"/>
          </p:cNvSpPr>
          <p:nvPr>
            <p:ph type="ftr" sz="quarter" idx="3"/>
          </p:nvPr>
        </p:nvSpPr>
        <p:spPr>
          <a:xfrm>
            <a:off x="1259632" y="6590928"/>
            <a:ext cx="4176464" cy="150440"/>
          </a:xfrm>
          <a:prstGeom prst="rect">
            <a:avLst/>
          </a:prstGeom>
        </p:spPr>
        <p:txBody>
          <a:bodyPr vert="horz" wrap="none" lIns="0" tIns="0" rIns="0" bIns="0" rtlCol="0" anchor="ctr" anchorCtr="0"/>
          <a:lstStyle>
            <a:lvl1pPr algn="l">
              <a:defRPr sz="700">
                <a:solidFill>
                  <a:schemeClr val="tx1"/>
                </a:solidFill>
              </a:defRPr>
            </a:lvl1pPr>
          </a:lstStyle>
          <a:p>
            <a:r>
              <a:rPr lang="de-DE" smtClean="0"/>
              <a:t>© Continental AG</a:t>
            </a:r>
            <a:endParaRPr lang="de-DE" dirty="0"/>
          </a:p>
        </p:txBody>
      </p:sp>
      <p:sp>
        <p:nvSpPr>
          <p:cNvPr id="26" name="Foliennummernplatzhalter 25"/>
          <p:cNvSpPr>
            <a:spLocks noGrp="1"/>
          </p:cNvSpPr>
          <p:nvPr>
            <p:ph type="sldNum" sz="quarter" idx="4"/>
          </p:nvPr>
        </p:nvSpPr>
        <p:spPr>
          <a:xfrm>
            <a:off x="323528" y="6590928"/>
            <a:ext cx="216024" cy="150440"/>
          </a:xfrm>
          <a:prstGeom prst="rect">
            <a:avLst/>
          </a:prstGeom>
        </p:spPr>
        <p:txBody>
          <a:bodyPr vert="horz" wrap="none" lIns="0" tIns="0" rIns="0" bIns="0" rtlCol="0" anchor="ctr" anchorCtr="0"/>
          <a:lstStyle>
            <a:lvl1pPr algn="l">
              <a:defRPr sz="700">
                <a:solidFill>
                  <a:schemeClr val="tx1"/>
                </a:solidFill>
              </a:defRPr>
            </a:lvl1pPr>
          </a:lstStyle>
          <a:p>
            <a:fld id="{ADA48181-2C78-49CB-8C52-912A07842C2E}" type="slidenum">
              <a:rPr lang="de-DE" smtClean="0"/>
              <a:pPr/>
              <a:t>‹N°›</a:t>
            </a:fld>
            <a:endParaRPr lang="de-DE" dirty="0"/>
          </a:p>
        </p:txBody>
      </p:sp>
      <p:sp>
        <p:nvSpPr>
          <p:cNvPr id="31" name="Rechteck 30"/>
          <p:cNvSpPr/>
          <p:nvPr/>
        </p:nvSpPr>
        <p:spPr>
          <a:xfrm>
            <a:off x="323850" y="5991119"/>
            <a:ext cx="8496000" cy="36000"/>
          </a:xfrm>
          <a:prstGeom prst="rect">
            <a:avLst/>
          </a:prstGeom>
          <a:solidFill>
            <a:schemeClr val="tx1"/>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dirty="0" smtClean="0"/>
          </a:p>
        </p:txBody>
      </p:sp>
      <p:sp>
        <p:nvSpPr>
          <p:cNvPr id="32" name="Rechteck 31"/>
          <p:cNvSpPr/>
          <p:nvPr/>
        </p:nvSpPr>
        <p:spPr>
          <a:xfrm>
            <a:off x="323850" y="5949280"/>
            <a:ext cx="8496000" cy="43200"/>
          </a:xfrm>
          <a:prstGeom prst="rect">
            <a:avLst/>
          </a:prstGeom>
          <a:solidFill>
            <a:schemeClr val="accent1"/>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dirty="0" smtClean="0"/>
          </a:p>
        </p:txBody>
      </p:sp>
      <p:sp>
        <p:nvSpPr>
          <p:cNvPr id="18" name="Rechteck 17"/>
          <p:cNvSpPr/>
          <p:nvPr/>
        </p:nvSpPr>
        <p:spPr>
          <a:xfrm>
            <a:off x="323850" y="836712"/>
            <a:ext cx="8496000" cy="43200"/>
          </a:xfrm>
          <a:prstGeom prst="rect">
            <a:avLst/>
          </a:prstGeom>
          <a:solidFill>
            <a:schemeClr val="accent1"/>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dirty="0" smtClean="0"/>
          </a:p>
        </p:txBody>
      </p:sp>
      <p:pic>
        <p:nvPicPr>
          <p:cNvPr id="12" name="Picture 2" descr="I:\ContiTech\Bildarchiv\CT_Logos_Claims_Fonts\0_CT_logo_vorlagen\01_logos_continental\continental_ppt.png"/>
          <p:cNvPicPr>
            <a:picLocks noChangeAspect="1" noChangeArrowheads="1"/>
          </p:cNvPicPr>
          <p:nvPr/>
        </p:nvPicPr>
        <p:blipFill>
          <a:blip r:embed="rId10"/>
          <a:stretch>
            <a:fillRect/>
          </a:stretch>
        </p:blipFill>
        <p:spPr bwMode="auto">
          <a:xfrm>
            <a:off x="6631459" y="6202441"/>
            <a:ext cx="2196642" cy="377201"/>
          </a:xfrm>
          <a:prstGeom prst="rect">
            <a:avLst/>
          </a:prstGeom>
          <a:noFill/>
        </p:spPr>
      </p:pic>
    </p:spTree>
  </p:cSld>
  <p:clrMap bg1="lt1" tx1="dk1" bg2="lt2" tx2="dk2" accent1="accent1" accent2="accent2" accent3="accent3" accent4="accent4" accent5="accent5" accent6="accent6" hlink="hlink" folHlink="folHlink"/>
  <p:sldLayoutIdLst>
    <p:sldLayoutId id="2147483730" r:id="rId1"/>
    <p:sldLayoutId id="2147483731" r:id="rId2"/>
    <p:sldLayoutId id="2147483737" r:id="rId3"/>
    <p:sldLayoutId id="2147483733" r:id="rId4"/>
    <p:sldLayoutId id="2147483732" r:id="rId5"/>
    <p:sldLayoutId id="2147483736" r:id="rId6"/>
    <p:sldLayoutId id="2147483734" r:id="rId7"/>
    <p:sldLayoutId id="2147483735" r:id="rId8"/>
  </p:sldLayoutIdLst>
  <p:timing>
    <p:tnLst>
      <p:par>
        <p:cTn id="1" dur="indefinite" restart="never" nodeType="tmRoot"/>
      </p:par>
    </p:tnLst>
  </p:timing>
  <p:hf hdr="0"/>
  <p:txStyles>
    <p:titleStyle>
      <a:lvl1pPr algn="l" defTabSz="914400" rtl="0" eaLnBrk="1" latinLnBrk="0" hangingPunct="1">
        <a:spcBef>
          <a:spcPct val="0"/>
        </a:spcBef>
        <a:buNone/>
        <a:defRPr sz="2100" b="1" kern="1200">
          <a:solidFill>
            <a:schemeClr val="tx1"/>
          </a:solidFill>
          <a:latin typeface="Arial" pitchFamily="34" charset="0"/>
          <a:ea typeface="+mj-ea"/>
          <a:cs typeface="Arial" pitchFamily="34" charset="0"/>
        </a:defRPr>
      </a:lvl1pPr>
    </p:titleStyle>
    <p:bodyStyle>
      <a:lvl1pPr marL="177800" indent="-177800" algn="l" defTabSz="914400" rtl="0" eaLnBrk="1" latinLnBrk="0" hangingPunct="1">
        <a:lnSpc>
          <a:spcPct val="100000"/>
        </a:lnSpc>
        <a:spcBef>
          <a:spcPts val="0"/>
        </a:spcBef>
        <a:spcAft>
          <a:spcPts val="1200"/>
        </a:spcAft>
        <a:buClr>
          <a:schemeClr val="accent1"/>
        </a:buClr>
        <a:buSzPct val="100000"/>
        <a:buFontTx/>
        <a:buBlip>
          <a:blip r:embed="rId11"/>
        </a:buBlip>
        <a:defRPr sz="1600" b="0" kern="1200">
          <a:solidFill>
            <a:schemeClr val="tx1"/>
          </a:solidFill>
          <a:latin typeface="Arial" pitchFamily="34" charset="0"/>
          <a:ea typeface="+mn-ea"/>
          <a:cs typeface="Arial" pitchFamily="34" charset="0"/>
        </a:defRPr>
      </a:lvl1pPr>
      <a:lvl2pPr marL="541338" indent="-184150" algn="l" defTabSz="914400" rtl="0" eaLnBrk="1" latinLnBrk="0" hangingPunct="1">
        <a:lnSpc>
          <a:spcPct val="100000"/>
        </a:lnSpc>
        <a:spcBef>
          <a:spcPts val="0"/>
        </a:spcBef>
        <a:spcAft>
          <a:spcPts val="1200"/>
        </a:spcAft>
        <a:buClr>
          <a:schemeClr val="bg2">
            <a:lumMod val="75000"/>
          </a:schemeClr>
        </a:buClr>
        <a:buSzPct val="100000"/>
        <a:buFontTx/>
        <a:buBlip>
          <a:blip r:embed="rId11"/>
        </a:buBlip>
        <a:defRPr sz="1600" b="0" kern="1200">
          <a:solidFill>
            <a:schemeClr val="tx1"/>
          </a:solidFill>
          <a:latin typeface="Arial" pitchFamily="34" charset="0"/>
          <a:ea typeface="+mn-ea"/>
          <a:cs typeface="Arial" pitchFamily="34" charset="0"/>
        </a:defRPr>
      </a:lvl2pPr>
      <a:lvl3pPr marL="896938" indent="-177800" algn="l" defTabSz="914400" rtl="0" eaLnBrk="1" latinLnBrk="0" hangingPunct="1">
        <a:lnSpc>
          <a:spcPct val="100000"/>
        </a:lnSpc>
        <a:spcBef>
          <a:spcPts val="0"/>
        </a:spcBef>
        <a:spcAft>
          <a:spcPts val="1200"/>
        </a:spcAft>
        <a:buClr>
          <a:schemeClr val="accent1"/>
        </a:buClr>
        <a:buSzPct val="100000"/>
        <a:buFontTx/>
        <a:buBlip>
          <a:blip r:embed="rId11"/>
        </a:buBlip>
        <a:defRPr sz="1600" b="0" kern="1200">
          <a:solidFill>
            <a:schemeClr val="tx1"/>
          </a:solidFill>
          <a:latin typeface="Arial" pitchFamily="34" charset="0"/>
          <a:ea typeface="+mn-ea"/>
          <a:cs typeface="Arial" pitchFamily="34" charset="0"/>
        </a:defRPr>
      </a:lvl3pPr>
      <a:lvl4pPr marL="1254125" indent="-179388" algn="l" defTabSz="914400" rtl="0" eaLnBrk="1" latinLnBrk="0" hangingPunct="1">
        <a:lnSpc>
          <a:spcPct val="100000"/>
        </a:lnSpc>
        <a:spcBef>
          <a:spcPts val="0"/>
        </a:spcBef>
        <a:spcAft>
          <a:spcPts val="1200"/>
        </a:spcAft>
        <a:buClr>
          <a:schemeClr val="tx1">
            <a:lumMod val="95000"/>
            <a:lumOff val="5000"/>
          </a:schemeClr>
        </a:buClr>
        <a:buSzPct val="100000"/>
        <a:buFontTx/>
        <a:buBlip>
          <a:blip r:embed="rId11"/>
        </a:buBlip>
        <a:defRPr sz="1600" b="0" kern="1200">
          <a:solidFill>
            <a:schemeClr val="tx1"/>
          </a:solidFill>
          <a:latin typeface="Arial" pitchFamily="34" charset="0"/>
          <a:ea typeface="+mn-ea"/>
          <a:cs typeface="Arial" pitchFamily="34" charset="0"/>
        </a:defRPr>
      </a:lvl4pPr>
      <a:lvl5pPr marL="1616075" indent="-177800" algn="l" defTabSz="914400" rtl="0" eaLnBrk="1" latinLnBrk="0" hangingPunct="1">
        <a:lnSpc>
          <a:spcPct val="100000"/>
        </a:lnSpc>
        <a:spcBef>
          <a:spcPts val="0"/>
        </a:spcBef>
        <a:spcAft>
          <a:spcPts val="1200"/>
        </a:spcAft>
        <a:buClr>
          <a:schemeClr val="accent1"/>
        </a:buClr>
        <a:buSzPct val="100000"/>
        <a:buFontTx/>
        <a:buBlip>
          <a:blip r:embed="rId11"/>
        </a:buBlip>
        <a:defRPr sz="1600" b="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9.xml"/><Relationship Id="rId1" Type="http://schemas.openxmlformats.org/officeDocument/2006/relationships/slideLayout" Target="../slideLayouts/slideLayout1.xml"/><Relationship Id="rId4" Type="http://schemas.openxmlformats.org/officeDocument/2006/relationships/image" Target="../media/image1.png"/></Relationships>
</file>

<file path=ppt/slides/_rels/slide1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0.xml"/><Relationship Id="rId1" Type="http://schemas.openxmlformats.org/officeDocument/2006/relationships/slideLayout" Target="../slideLayouts/slideLayout1.xml"/><Relationship Id="rId4" Type="http://schemas.openxmlformats.org/officeDocument/2006/relationships/image" Target="../media/image1.png"/></Relationships>
</file>

<file path=ppt/slides/_rels/slide1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1.xml"/><Relationship Id="rId1" Type="http://schemas.openxmlformats.org/officeDocument/2006/relationships/slideLayout" Target="../slideLayouts/slideLayout1.xml"/><Relationship Id="rId4" Type="http://schemas.openxmlformats.org/officeDocument/2006/relationships/image" Target="../media/image1.pn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7.xml"/><Relationship Id="rId1" Type="http://schemas.openxmlformats.org/officeDocument/2006/relationships/tags" Target="../tags/tag12.xml"/><Relationship Id="rId6" Type="http://schemas.openxmlformats.org/officeDocument/2006/relationships/image" Target="../media/image3.png"/><Relationship Id="rId5" Type="http://schemas.openxmlformats.org/officeDocument/2006/relationships/image" Target="../media/image10.png"/><Relationship Id="rId4" Type="http://schemas.openxmlformats.org/officeDocument/2006/relationships/image" Target="../media/image4.jpe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7.xml"/><Relationship Id="rId1" Type="http://schemas.openxmlformats.org/officeDocument/2006/relationships/tags" Target="../tags/tag13.xml"/><Relationship Id="rId6" Type="http://schemas.openxmlformats.org/officeDocument/2006/relationships/image" Target="../media/image3.png"/><Relationship Id="rId5" Type="http://schemas.openxmlformats.org/officeDocument/2006/relationships/image" Target="../media/image10.png"/><Relationship Id="rId4" Type="http://schemas.openxmlformats.org/officeDocument/2006/relationships/image" Target="../media/image4.jpe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4.xml"/><Relationship Id="rId1" Type="http://schemas.openxmlformats.org/officeDocument/2006/relationships/slideLayout" Target="../slideLayouts/slideLayout7.xml"/><Relationship Id="rId5" Type="http://schemas.openxmlformats.org/officeDocument/2006/relationships/image" Target="../media/image3.png"/><Relationship Id="rId4" Type="http://schemas.openxmlformats.org/officeDocument/2006/relationships/image" Target="../media/image10.png"/></Relationships>
</file>

<file path=ppt/slides/_rels/slide17.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5.xml"/><Relationship Id="rId1" Type="http://schemas.openxmlformats.org/officeDocument/2006/relationships/slideLayout" Target="../slideLayouts/slideLayout1.xml"/><Relationship Id="rId4" Type="http://schemas.openxmlformats.org/officeDocument/2006/relationships/image" Target="../media/image1.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3.xml"/><Relationship Id="rId1" Type="http://schemas.openxmlformats.org/officeDocument/2006/relationships/slideLayout" Target="../slideLayouts/slideLayout1.xml"/><Relationship Id="rId4" Type="http://schemas.openxmlformats.org/officeDocument/2006/relationships/image" Target="../media/image1.png"/></Relationships>
</file>

<file path=ppt/slides/_rels/slide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4.xml"/><Relationship Id="rId1" Type="http://schemas.openxmlformats.org/officeDocument/2006/relationships/slideLayout" Target="../slideLayouts/slideLayout7.xml"/><Relationship Id="rId4" Type="http://schemas.openxmlformats.org/officeDocument/2006/relationships/chart" Target="../charts/chart1.xml"/></Relationships>
</file>

<file path=ppt/slides/_rels/slide5.xml.rels><?xml version="1.0" encoding="UTF-8" standalone="yes"?>
<Relationships xmlns="http://schemas.openxmlformats.org/package/2006/relationships"><Relationship Id="rId3" Type="http://schemas.openxmlformats.org/officeDocument/2006/relationships/image" Target="../media/image5.gif"/><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6.xml"/><Relationship Id="rId1" Type="http://schemas.openxmlformats.org/officeDocument/2006/relationships/slideLayout" Target="../slideLayouts/slideLayout1.xml"/><Relationship Id="rId4" Type="http://schemas.openxmlformats.org/officeDocument/2006/relationships/image" Target="../media/image1.png"/></Relationships>
</file>

<file path=ppt/slides/_rels/slide7.xml.rels><?xml version="1.0" encoding="UTF-8" standalone="yes"?>
<Relationships xmlns="http://schemas.openxmlformats.org/package/2006/relationships"><Relationship Id="rId8" Type="http://schemas.openxmlformats.org/officeDocument/2006/relationships/tags" Target="../tags/tag7.xml"/><Relationship Id="rId13" Type="http://schemas.openxmlformats.org/officeDocument/2006/relationships/slideLayout" Target="../slideLayouts/slideLayout7.xml"/><Relationship Id="rId3" Type="http://schemas.openxmlformats.org/officeDocument/2006/relationships/tags" Target="../tags/tag2.xml"/><Relationship Id="rId7" Type="http://schemas.openxmlformats.org/officeDocument/2006/relationships/tags" Target="../tags/tag6.xml"/><Relationship Id="rId12" Type="http://schemas.openxmlformats.org/officeDocument/2006/relationships/tags" Target="../tags/tag11.xml"/><Relationship Id="rId2" Type="http://schemas.openxmlformats.org/officeDocument/2006/relationships/tags" Target="../tags/tag1.xml"/><Relationship Id="rId16" Type="http://schemas.openxmlformats.org/officeDocument/2006/relationships/image" Target="../media/image7.jpeg"/><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tags" Target="../tags/tag10.xml"/><Relationship Id="rId5" Type="http://schemas.openxmlformats.org/officeDocument/2006/relationships/tags" Target="../tags/tag4.xml"/><Relationship Id="rId15" Type="http://schemas.openxmlformats.org/officeDocument/2006/relationships/oleObject" Target="../embeddings/oleObject1.bin"/><Relationship Id="rId10" Type="http://schemas.openxmlformats.org/officeDocument/2006/relationships/tags" Target="../tags/tag9.xml"/><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8.xml"/><Relationship Id="rId1" Type="http://schemas.openxmlformats.org/officeDocument/2006/relationships/slideLayout" Target="../slideLayouts/slideLayout1.xml"/><Relationship Id="rId4" Type="http://schemas.openxmlformats.org/officeDocument/2006/relationships/image" Target="../media/image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ctrTitle"/>
          </p:nvPr>
        </p:nvSpPr>
        <p:spPr/>
        <p:txBody>
          <a:bodyPr/>
          <a:lstStyle/>
          <a:p>
            <a:r>
              <a:rPr lang="fr-FR" dirty="0" smtClean="0"/>
              <a:t>Etude du Système d’Information</a:t>
            </a:r>
            <a:endParaRPr lang="fr-FR" dirty="0"/>
          </a:p>
        </p:txBody>
      </p:sp>
      <p:sp>
        <p:nvSpPr>
          <p:cNvPr id="7" name="Untertitel 6"/>
          <p:cNvSpPr>
            <a:spLocks noGrp="1"/>
          </p:cNvSpPr>
          <p:nvPr>
            <p:ph type="subTitle" idx="1"/>
          </p:nvPr>
        </p:nvSpPr>
        <p:spPr/>
        <p:txBody>
          <a:bodyPr/>
          <a:lstStyle/>
          <a:p>
            <a:r>
              <a:rPr lang="en-GB" dirty="0" smtClean="0">
                <a:gradFill>
                  <a:gsLst>
                    <a:gs pos="0">
                      <a:srgbClr val="825600"/>
                    </a:gs>
                    <a:gs pos="13000">
                      <a:srgbClr val="FFA800"/>
                    </a:gs>
                    <a:gs pos="28000">
                      <a:srgbClr val="825600"/>
                    </a:gs>
                    <a:gs pos="42999">
                      <a:srgbClr val="FFA800"/>
                    </a:gs>
                    <a:gs pos="58000">
                      <a:srgbClr val="825600"/>
                    </a:gs>
                    <a:gs pos="72000">
                      <a:srgbClr val="FFA800"/>
                    </a:gs>
                    <a:gs pos="87000">
                      <a:srgbClr val="825600"/>
                    </a:gs>
                    <a:gs pos="100000">
                      <a:srgbClr val="FFA800"/>
                    </a:gs>
                  </a:gsLst>
                  <a:lin ang="5400000" scaled="0"/>
                </a:gradFill>
              </a:rPr>
              <a:t>Rapport de mission </a:t>
            </a:r>
            <a:r>
              <a:rPr lang="en-GB" dirty="0" smtClean="0">
                <a:gradFill>
                  <a:gsLst>
                    <a:gs pos="0">
                      <a:srgbClr val="825600"/>
                    </a:gs>
                    <a:gs pos="13000">
                      <a:srgbClr val="FFA800"/>
                    </a:gs>
                    <a:gs pos="28000">
                      <a:srgbClr val="825600"/>
                    </a:gs>
                    <a:gs pos="42999">
                      <a:srgbClr val="FFA800"/>
                    </a:gs>
                    <a:gs pos="58000">
                      <a:srgbClr val="825600"/>
                    </a:gs>
                    <a:gs pos="72000">
                      <a:srgbClr val="FFA800"/>
                    </a:gs>
                    <a:gs pos="87000">
                      <a:srgbClr val="825600"/>
                    </a:gs>
                    <a:gs pos="100000">
                      <a:srgbClr val="FFA800"/>
                    </a:gs>
                  </a:gsLst>
                  <a:lin ang="5400000" scaled="0"/>
                </a:gradFill>
              </a:rPr>
              <a:t>n°3</a:t>
            </a:r>
            <a:endParaRPr lang="en-US" dirty="0">
              <a:solidFill>
                <a:srgbClr val="000000"/>
              </a:solidFill>
            </a:endParaRPr>
          </a:p>
        </p:txBody>
      </p:sp>
    </p:spTree>
  </p:cSld>
  <p:clrMapOvr>
    <a:masterClrMapping/>
  </p:clrMapOvr>
  <p:transition advTm="8391">
    <p:wipe dir="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Grafik 10" descr="Overall-RGB_Small.jpg"/>
          <p:cNvPicPr>
            <a:picLocks noChangeAspect="1"/>
          </p:cNvPicPr>
          <p:nvPr/>
        </p:nvPicPr>
        <p:blipFill>
          <a:blip r:embed="rId3"/>
          <a:srcRect t="26563"/>
          <a:stretch>
            <a:fillRect/>
          </a:stretch>
        </p:blipFill>
        <p:spPr>
          <a:xfrm>
            <a:off x="0" y="0"/>
            <a:ext cx="9144000" cy="3789363"/>
          </a:xfrm>
          <a:prstGeom prst="rect">
            <a:avLst/>
          </a:prstGeom>
        </p:spPr>
      </p:pic>
      <p:sp>
        <p:nvSpPr>
          <p:cNvPr id="16" name="Rechteck 15"/>
          <p:cNvSpPr/>
          <p:nvPr/>
        </p:nvSpPr>
        <p:spPr>
          <a:xfrm>
            <a:off x="0" y="5876925"/>
            <a:ext cx="9144000" cy="981075"/>
          </a:xfrm>
          <a:prstGeom prst="rect">
            <a:avLst/>
          </a:prstGeom>
          <a:solidFill>
            <a:schemeClr val="tx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20" name="Picture 2" descr="I:\ContiTech\Bildarchiv\CT_Logos_Claims_Fonts\0_CT_logo_vorlagen\01_logos_continental\continental_ppt.png"/>
          <p:cNvPicPr>
            <a:picLocks noChangeAspect="1" noChangeArrowheads="1"/>
          </p:cNvPicPr>
          <p:nvPr/>
        </p:nvPicPr>
        <p:blipFill>
          <a:blip r:embed="rId4"/>
          <a:stretch>
            <a:fillRect/>
          </a:stretch>
        </p:blipFill>
        <p:spPr bwMode="auto">
          <a:xfrm>
            <a:off x="6631459" y="6202441"/>
            <a:ext cx="2196642" cy="377201"/>
          </a:xfrm>
          <a:prstGeom prst="rect">
            <a:avLst/>
          </a:prstGeom>
          <a:noFill/>
        </p:spPr>
      </p:pic>
      <p:sp>
        <p:nvSpPr>
          <p:cNvPr id="17" name="Titel 16"/>
          <p:cNvSpPr>
            <a:spLocks noGrp="1"/>
          </p:cNvSpPr>
          <p:nvPr>
            <p:ph type="ctrTitle"/>
          </p:nvPr>
        </p:nvSpPr>
        <p:spPr>
          <a:xfrm>
            <a:off x="323850" y="3789040"/>
            <a:ext cx="8512175" cy="1224136"/>
          </a:xfrm>
        </p:spPr>
        <p:txBody>
          <a:bodyPr/>
          <a:lstStyle/>
          <a:p>
            <a:r>
              <a:rPr lang="en-US" dirty="0" smtClean="0">
                <a:solidFill>
                  <a:srgbClr val="000000"/>
                </a:solidFill>
                <a:latin typeface="Arial"/>
                <a:cs typeface="Arial"/>
              </a:rPr>
              <a:t>4</a:t>
            </a:r>
            <a:r>
              <a:rPr lang="en-US" dirty="0" smtClean="0">
                <a:solidFill>
                  <a:srgbClr val="000000"/>
                </a:solidFill>
                <a:latin typeface="Arial"/>
                <a:cs typeface="Arial"/>
              </a:rPr>
              <a:t>. </a:t>
            </a:r>
            <a:r>
              <a:rPr lang="fr-FR" dirty="0" smtClean="0"/>
              <a:t>SI </a:t>
            </a:r>
            <a:r>
              <a:rPr lang="fr-FR" dirty="0" smtClean="0"/>
              <a:t>CONTINENTAL</a:t>
            </a:r>
            <a:endParaRPr lang="de-DE" dirty="0"/>
          </a:p>
        </p:txBody>
      </p:sp>
    </p:spTree>
  </p:cSld>
  <p:clrMapOvr>
    <a:masterClrMapping/>
  </p:clrMapOvr>
  <p:transition advTm="11578">
    <p:wipe dir="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Grafik 10" descr="Overall-RGB_Small.jpg"/>
          <p:cNvPicPr>
            <a:picLocks noChangeAspect="1"/>
          </p:cNvPicPr>
          <p:nvPr/>
        </p:nvPicPr>
        <p:blipFill>
          <a:blip r:embed="rId3"/>
          <a:srcRect t="26563"/>
          <a:stretch>
            <a:fillRect/>
          </a:stretch>
        </p:blipFill>
        <p:spPr>
          <a:xfrm>
            <a:off x="0" y="0"/>
            <a:ext cx="9144000" cy="3789363"/>
          </a:xfrm>
          <a:prstGeom prst="rect">
            <a:avLst/>
          </a:prstGeom>
        </p:spPr>
      </p:pic>
      <p:sp>
        <p:nvSpPr>
          <p:cNvPr id="16" name="Rechteck 15"/>
          <p:cNvSpPr/>
          <p:nvPr/>
        </p:nvSpPr>
        <p:spPr>
          <a:xfrm>
            <a:off x="0" y="5876925"/>
            <a:ext cx="9144000" cy="981075"/>
          </a:xfrm>
          <a:prstGeom prst="rect">
            <a:avLst/>
          </a:prstGeom>
          <a:solidFill>
            <a:schemeClr val="tx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20" name="Picture 2" descr="I:\ContiTech\Bildarchiv\CT_Logos_Claims_Fonts\0_CT_logo_vorlagen\01_logos_continental\continental_ppt.png"/>
          <p:cNvPicPr>
            <a:picLocks noChangeAspect="1" noChangeArrowheads="1"/>
          </p:cNvPicPr>
          <p:nvPr/>
        </p:nvPicPr>
        <p:blipFill>
          <a:blip r:embed="rId4"/>
          <a:stretch>
            <a:fillRect/>
          </a:stretch>
        </p:blipFill>
        <p:spPr bwMode="auto">
          <a:xfrm>
            <a:off x="6631459" y="6202441"/>
            <a:ext cx="2196642" cy="377201"/>
          </a:xfrm>
          <a:prstGeom prst="rect">
            <a:avLst/>
          </a:prstGeom>
          <a:noFill/>
        </p:spPr>
      </p:pic>
      <p:sp>
        <p:nvSpPr>
          <p:cNvPr id="17" name="Titel 16"/>
          <p:cNvSpPr>
            <a:spLocks noGrp="1"/>
          </p:cNvSpPr>
          <p:nvPr>
            <p:ph type="ctrTitle"/>
          </p:nvPr>
        </p:nvSpPr>
        <p:spPr>
          <a:xfrm>
            <a:off x="323850" y="3789040"/>
            <a:ext cx="8512175" cy="1224136"/>
          </a:xfrm>
        </p:spPr>
        <p:txBody>
          <a:bodyPr/>
          <a:lstStyle/>
          <a:p>
            <a:r>
              <a:rPr lang="en-US" dirty="0" smtClean="0">
                <a:solidFill>
                  <a:srgbClr val="000000"/>
                </a:solidFill>
                <a:latin typeface="Arial"/>
                <a:cs typeface="Arial"/>
              </a:rPr>
              <a:t>4</a:t>
            </a:r>
            <a:r>
              <a:rPr lang="en-US" dirty="0" smtClean="0">
                <a:solidFill>
                  <a:srgbClr val="000000"/>
                </a:solidFill>
                <a:latin typeface="Arial"/>
                <a:cs typeface="Arial"/>
              </a:rPr>
              <a:t>.1 </a:t>
            </a:r>
            <a:r>
              <a:rPr lang="fr-FR" dirty="0" smtClean="0"/>
              <a:t>Architecture réseau</a:t>
            </a:r>
            <a:endParaRPr lang="de-DE" dirty="0"/>
          </a:p>
        </p:txBody>
      </p:sp>
    </p:spTree>
  </p:cSld>
  <p:clrMapOvr>
    <a:masterClrMapping/>
  </p:clrMapOvr>
  <p:transition advTm="11578">
    <p:wipe dir="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Grafik 10" descr="Overall-RGB_Small.jpg"/>
          <p:cNvPicPr>
            <a:picLocks noChangeAspect="1"/>
          </p:cNvPicPr>
          <p:nvPr/>
        </p:nvPicPr>
        <p:blipFill>
          <a:blip r:embed="rId3"/>
          <a:srcRect t="26563"/>
          <a:stretch>
            <a:fillRect/>
          </a:stretch>
        </p:blipFill>
        <p:spPr>
          <a:xfrm>
            <a:off x="0" y="0"/>
            <a:ext cx="9144000" cy="3789363"/>
          </a:xfrm>
          <a:prstGeom prst="rect">
            <a:avLst/>
          </a:prstGeom>
        </p:spPr>
      </p:pic>
      <p:sp>
        <p:nvSpPr>
          <p:cNvPr id="16" name="Rechteck 15"/>
          <p:cNvSpPr/>
          <p:nvPr/>
        </p:nvSpPr>
        <p:spPr>
          <a:xfrm>
            <a:off x="0" y="5876925"/>
            <a:ext cx="9144000" cy="981075"/>
          </a:xfrm>
          <a:prstGeom prst="rect">
            <a:avLst/>
          </a:prstGeom>
          <a:solidFill>
            <a:schemeClr val="tx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20" name="Picture 2" descr="I:\ContiTech\Bildarchiv\CT_Logos_Claims_Fonts\0_CT_logo_vorlagen\01_logos_continental\continental_ppt.png"/>
          <p:cNvPicPr>
            <a:picLocks noChangeAspect="1" noChangeArrowheads="1"/>
          </p:cNvPicPr>
          <p:nvPr/>
        </p:nvPicPr>
        <p:blipFill>
          <a:blip r:embed="rId4"/>
          <a:stretch>
            <a:fillRect/>
          </a:stretch>
        </p:blipFill>
        <p:spPr bwMode="auto">
          <a:xfrm>
            <a:off x="6631459" y="6202441"/>
            <a:ext cx="2196642" cy="377201"/>
          </a:xfrm>
          <a:prstGeom prst="rect">
            <a:avLst/>
          </a:prstGeom>
          <a:noFill/>
        </p:spPr>
      </p:pic>
      <p:sp>
        <p:nvSpPr>
          <p:cNvPr id="17" name="Titel 16"/>
          <p:cNvSpPr>
            <a:spLocks noGrp="1"/>
          </p:cNvSpPr>
          <p:nvPr>
            <p:ph type="ctrTitle"/>
          </p:nvPr>
        </p:nvSpPr>
        <p:spPr>
          <a:xfrm>
            <a:off x="323850" y="3789040"/>
            <a:ext cx="8512175" cy="1224136"/>
          </a:xfrm>
        </p:spPr>
        <p:txBody>
          <a:bodyPr/>
          <a:lstStyle/>
          <a:p>
            <a:r>
              <a:rPr lang="en-US" dirty="0" smtClean="0">
                <a:solidFill>
                  <a:srgbClr val="000000"/>
                </a:solidFill>
                <a:latin typeface="Arial"/>
                <a:cs typeface="Arial"/>
              </a:rPr>
              <a:t>4</a:t>
            </a:r>
            <a:r>
              <a:rPr lang="en-US" dirty="0" smtClean="0">
                <a:solidFill>
                  <a:srgbClr val="000000"/>
                </a:solidFill>
                <a:latin typeface="Arial"/>
                <a:cs typeface="Arial"/>
              </a:rPr>
              <a:t>.2 </a:t>
            </a:r>
            <a:r>
              <a:rPr lang="fr-FR" dirty="0" smtClean="0"/>
              <a:t>Architecture logicielle</a:t>
            </a:r>
            <a:endParaRPr lang="de-DE" dirty="0"/>
          </a:p>
        </p:txBody>
      </p:sp>
    </p:spTree>
  </p:cSld>
  <p:clrMapOvr>
    <a:masterClrMapping/>
  </p:clrMapOvr>
  <p:transition advTm="11578">
    <p:wipe dir="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Grafik 18" descr="Overall-RGB_Small.jpg"/>
          <p:cNvPicPr>
            <a:picLocks noChangeAspect="1"/>
          </p:cNvPicPr>
          <p:nvPr/>
        </p:nvPicPr>
        <p:blipFill>
          <a:blip r:embed="rId4"/>
          <a:srcRect b="829"/>
          <a:stretch>
            <a:fillRect/>
          </a:stretch>
        </p:blipFill>
        <p:spPr>
          <a:xfrm>
            <a:off x="323850" y="1052513"/>
            <a:ext cx="8496299" cy="4824412"/>
          </a:xfrm>
          <a:prstGeom prst="rect">
            <a:avLst/>
          </a:prstGeom>
          <a:noFill/>
          <a:ln>
            <a:noFill/>
          </a:ln>
        </p:spPr>
      </p:pic>
      <p:pic>
        <p:nvPicPr>
          <p:cNvPr id="20" name="Picture 2"/>
          <p:cNvPicPr>
            <a:picLocks noChangeAspect="1" noChangeArrowheads="1"/>
          </p:cNvPicPr>
          <p:nvPr/>
        </p:nvPicPr>
        <p:blipFill>
          <a:blip r:embed="rId5" cstate="print"/>
          <a:srcRect r="30" b="103"/>
          <a:stretch>
            <a:fillRect/>
          </a:stretch>
        </p:blipFill>
        <p:spPr bwMode="auto">
          <a:xfrm>
            <a:off x="323850" y="1912672"/>
            <a:ext cx="8496300" cy="863749"/>
          </a:xfrm>
          <a:prstGeom prst="rect">
            <a:avLst/>
          </a:prstGeom>
          <a:noFill/>
          <a:ln w="9525">
            <a:noFill/>
            <a:miter lim="800000"/>
            <a:headEnd/>
            <a:tailEnd/>
          </a:ln>
          <a:effectLst/>
        </p:spPr>
      </p:pic>
      <p:sp>
        <p:nvSpPr>
          <p:cNvPr id="17416" name="Rectangle 17"/>
          <p:cNvSpPr>
            <a:spLocks noGrp="1" noChangeArrowheads="1"/>
          </p:cNvSpPr>
          <p:nvPr>
            <p:ph type="title"/>
          </p:nvPr>
        </p:nvSpPr>
        <p:spPr/>
        <p:txBody>
          <a:bodyPr/>
          <a:lstStyle/>
          <a:p>
            <a:r>
              <a:rPr lang="fr-FR" dirty="0" smtClean="0">
                <a:solidFill>
                  <a:srgbClr val="000000"/>
                </a:solidFill>
                <a:cs typeface="Arial"/>
              </a:rPr>
              <a:t>Travail accompli</a:t>
            </a:r>
            <a:r>
              <a:rPr lang="en-US" dirty="0" smtClean="0"/>
              <a:t/>
            </a:r>
            <a:br>
              <a:rPr lang="en-US" dirty="0" smtClean="0"/>
            </a:br>
            <a:r>
              <a:rPr lang="en-US" dirty="0" smtClean="0">
                <a:solidFill>
                  <a:srgbClr val="5F5F5F"/>
                </a:solidFill>
                <a:latin typeface="Arial"/>
                <a:cs typeface="Arial"/>
              </a:rPr>
              <a:t>3.1</a:t>
            </a:r>
            <a:r>
              <a:rPr lang="en-US" dirty="0" smtClean="0"/>
              <a:t> </a:t>
            </a:r>
            <a:r>
              <a:rPr lang="fr-FR" dirty="0" smtClean="0">
                <a:solidFill>
                  <a:srgbClr val="5F5F5F"/>
                </a:solidFill>
                <a:latin typeface="Arial"/>
                <a:cs typeface="Arial"/>
              </a:rPr>
              <a:t>Besoin</a:t>
            </a:r>
            <a:endParaRPr lang="fr-FR" dirty="0" smtClean="0">
              <a:solidFill>
                <a:schemeClr val="accent5"/>
              </a:solidFill>
            </a:endParaRPr>
          </a:p>
        </p:txBody>
      </p:sp>
      <p:sp>
        <p:nvSpPr>
          <p:cNvPr id="17417" name="Rectangle 18"/>
          <p:cNvSpPr>
            <a:spLocks noGrp="1" noChangeArrowheads="1"/>
          </p:cNvSpPr>
          <p:nvPr>
            <p:ph type="body" idx="4294967295"/>
          </p:nvPr>
        </p:nvSpPr>
        <p:spPr>
          <a:xfrm>
            <a:off x="313704" y="1916095"/>
            <a:ext cx="8758237" cy="865188"/>
          </a:xfrm>
        </p:spPr>
        <p:txBody>
          <a:bodyPr vert="horz" lIns="91440" tIns="45720" rIns="0" bIns="45720" rtlCol="0" anchor="ctr">
            <a:normAutofit/>
          </a:bodyPr>
          <a:lstStyle/>
          <a:p>
            <a:pPr marL="237744" indent="-237744" defTabSz="768096">
              <a:lnSpc>
                <a:spcPct val="120000"/>
              </a:lnSpc>
              <a:buClr>
                <a:srgbClr val="FF9900"/>
              </a:buClr>
            </a:pPr>
            <a:r>
              <a:rPr lang="fr-FR" sz="1900" dirty="0" smtClean="0">
                <a:solidFill>
                  <a:srgbClr val="000000"/>
                </a:solidFill>
                <a:latin typeface="Arial"/>
                <a:cs typeface="Arial"/>
              </a:rPr>
              <a:t>Wiki :</a:t>
            </a:r>
            <a:endParaRPr lang="fr-FR" sz="1900" dirty="0">
              <a:solidFill>
                <a:srgbClr val="000000"/>
              </a:solidFill>
              <a:latin typeface="Arial"/>
              <a:cs typeface="Arial"/>
            </a:endParaRPr>
          </a:p>
        </p:txBody>
      </p:sp>
      <p:sp>
        <p:nvSpPr>
          <p:cNvPr id="17" name="Rectangle 18"/>
          <p:cNvSpPr txBox="1">
            <a:spLocks noChangeArrowheads="1"/>
          </p:cNvSpPr>
          <p:nvPr/>
        </p:nvSpPr>
        <p:spPr>
          <a:xfrm>
            <a:off x="313704" y="2852911"/>
            <a:ext cx="7929618" cy="863600"/>
          </a:xfrm>
          <a:prstGeom prst="rect">
            <a:avLst/>
          </a:prstGeom>
        </p:spPr>
        <p:txBody>
          <a:bodyPr vert="horz" lIns="91440" tIns="45720" rIns="91440" bIns="45720" rtlCol="0" anchor="ctr">
            <a:normAutofit/>
          </a:bodyPr>
          <a:lstStyle/>
          <a:p>
            <a:pPr marL="237744" indent="-237744" defTabSz="768096">
              <a:spcAft>
                <a:spcPts val="1254"/>
              </a:spcAft>
              <a:buClr>
                <a:srgbClr val="E19900"/>
              </a:buClr>
              <a:buBlip>
                <a:blip r:embed="rId6"/>
              </a:buBlip>
            </a:pPr>
            <a:endParaRPr lang="fr-FR" sz="1900" dirty="0" smtClean="0">
              <a:cs typeface="Arial"/>
            </a:endParaRPr>
          </a:p>
        </p:txBody>
      </p:sp>
      <p:sp>
        <p:nvSpPr>
          <p:cNvPr id="18" name="Rectangle 18"/>
          <p:cNvSpPr txBox="1">
            <a:spLocks noChangeArrowheads="1"/>
          </p:cNvSpPr>
          <p:nvPr/>
        </p:nvSpPr>
        <p:spPr>
          <a:xfrm>
            <a:off x="313704" y="3774717"/>
            <a:ext cx="7820050" cy="878419"/>
          </a:xfrm>
          <a:prstGeom prst="rect">
            <a:avLst/>
          </a:prstGeom>
        </p:spPr>
        <p:txBody>
          <a:bodyPr vert="horz" lIns="91440" tIns="45720" rIns="91440" bIns="45720" rtlCol="0" anchor="ctr">
            <a:normAutofit/>
          </a:bodyPr>
          <a:lstStyle/>
          <a:p>
            <a:pPr marL="237744" indent="-237744" defTabSz="768096">
              <a:spcAft>
                <a:spcPts val="1254"/>
              </a:spcAft>
              <a:buClr>
                <a:srgbClr val="E19900"/>
              </a:buClr>
              <a:buBlip>
                <a:blip r:embed="rId6"/>
              </a:buBlip>
            </a:pPr>
            <a:endParaRPr lang="fr-FR" sz="1900" dirty="0">
              <a:cs typeface="Arial"/>
            </a:endParaRPr>
          </a:p>
        </p:txBody>
      </p:sp>
      <p:sp>
        <p:nvSpPr>
          <p:cNvPr id="23" name="Rechteck 22"/>
          <p:cNvSpPr/>
          <p:nvPr/>
        </p:nvSpPr>
        <p:spPr>
          <a:xfrm>
            <a:off x="7524328" y="-387424"/>
            <a:ext cx="1619672" cy="315416"/>
          </a:xfrm>
          <a:prstGeom prst="rect">
            <a:avLst/>
          </a:prstGeom>
          <a:solidFill>
            <a:schemeClr val="accent6"/>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smtClean="0"/>
              <a:t>Animated Slide</a:t>
            </a:r>
            <a:endParaRPr lang="en-US" sz="1400"/>
          </a:p>
        </p:txBody>
      </p:sp>
      <p:sp>
        <p:nvSpPr>
          <p:cNvPr id="13" name="Datumsplatzhalter 12"/>
          <p:cNvSpPr>
            <a:spLocks noGrp="1"/>
          </p:cNvSpPr>
          <p:nvPr>
            <p:ph type="dt" sz="half" idx="10"/>
          </p:nvPr>
        </p:nvSpPr>
        <p:spPr/>
        <p:txBody>
          <a:bodyPr/>
          <a:lstStyle/>
          <a:p>
            <a:fld id="{3E34CEAD-3907-4C6D-9FB1-1E8B3AAFFAAB}" type="datetime5">
              <a:rPr lang="de-DE" smtClean="0"/>
              <a:pPr/>
              <a:t>12-05-18</a:t>
            </a:fld>
            <a:endParaRPr lang="en-US"/>
          </a:p>
        </p:txBody>
      </p:sp>
      <p:sp>
        <p:nvSpPr>
          <p:cNvPr id="14" name="Foliennummernplatzhalter 13"/>
          <p:cNvSpPr>
            <a:spLocks noGrp="1"/>
          </p:cNvSpPr>
          <p:nvPr>
            <p:ph type="sldNum" sz="quarter" idx="11"/>
          </p:nvPr>
        </p:nvSpPr>
        <p:spPr/>
        <p:txBody>
          <a:bodyPr/>
          <a:lstStyle/>
          <a:p>
            <a:fld id="{ADA48181-2C78-49CB-8C52-912A07842C2E}" type="slidenum">
              <a:rPr lang="en-US" smtClean="0"/>
              <a:pPr/>
              <a:t>13</a:t>
            </a:fld>
            <a:endParaRPr lang="en-US"/>
          </a:p>
        </p:txBody>
      </p:sp>
      <p:sp>
        <p:nvSpPr>
          <p:cNvPr id="15" name="Fußzeilenplatzhalter 14"/>
          <p:cNvSpPr>
            <a:spLocks noGrp="1"/>
          </p:cNvSpPr>
          <p:nvPr>
            <p:ph type="ftr" sz="quarter" idx="12"/>
          </p:nvPr>
        </p:nvSpPr>
        <p:spPr/>
        <p:txBody>
          <a:bodyPr/>
          <a:lstStyle/>
          <a:p>
            <a:r>
              <a:rPr lang="en-US" smtClean="0"/>
              <a:t>© Continental AG</a:t>
            </a:r>
            <a:endParaRPr lang="en-US"/>
          </a:p>
        </p:txBody>
      </p:sp>
      <p:pic>
        <p:nvPicPr>
          <p:cNvPr id="16" name="Picture 2"/>
          <p:cNvPicPr>
            <a:picLocks noChangeAspect="1" noChangeArrowheads="1"/>
          </p:cNvPicPr>
          <p:nvPr/>
        </p:nvPicPr>
        <p:blipFill>
          <a:blip r:embed="rId5" cstate="print"/>
          <a:srcRect r="30" b="103"/>
          <a:stretch>
            <a:fillRect/>
          </a:stretch>
        </p:blipFill>
        <p:spPr bwMode="auto">
          <a:xfrm>
            <a:off x="323850" y="2846125"/>
            <a:ext cx="8496300" cy="863749"/>
          </a:xfrm>
          <a:prstGeom prst="rect">
            <a:avLst/>
          </a:prstGeom>
          <a:noFill/>
          <a:ln w="9525">
            <a:noFill/>
            <a:miter lim="800000"/>
            <a:headEnd/>
            <a:tailEnd/>
          </a:ln>
          <a:effectLst/>
        </p:spPr>
      </p:pic>
      <p:sp>
        <p:nvSpPr>
          <p:cNvPr id="24" name="Rectangle 18"/>
          <p:cNvSpPr txBox="1">
            <a:spLocks noChangeArrowheads="1"/>
          </p:cNvSpPr>
          <p:nvPr/>
        </p:nvSpPr>
        <p:spPr>
          <a:xfrm>
            <a:off x="323528" y="2852936"/>
            <a:ext cx="7929618" cy="863600"/>
          </a:xfrm>
          <a:prstGeom prst="rect">
            <a:avLst/>
          </a:prstGeom>
        </p:spPr>
        <p:txBody>
          <a:bodyPr vert="horz" lIns="91440" tIns="45720" rIns="91440" bIns="45720" rtlCol="0" anchor="ctr">
            <a:normAutofit/>
          </a:bodyPr>
          <a:lstStyle/>
          <a:p>
            <a:pPr marL="237744" indent="-237744" defTabSz="768096">
              <a:spcAft>
                <a:spcPts val="1254"/>
              </a:spcAft>
              <a:buClr>
                <a:srgbClr val="E19900"/>
              </a:buClr>
              <a:buBlip>
                <a:blip r:embed="rId6"/>
              </a:buBlip>
            </a:pPr>
            <a:r>
              <a:rPr lang="fr-FR" sz="1900" dirty="0" smtClean="0">
                <a:cs typeface="Arial"/>
              </a:rPr>
              <a:t>Sharepoint :</a:t>
            </a:r>
            <a:endParaRPr lang="fr-FR" sz="1900" dirty="0" smtClean="0">
              <a:cs typeface="Arial"/>
            </a:endParaRPr>
          </a:p>
        </p:txBody>
      </p:sp>
      <p:pic>
        <p:nvPicPr>
          <p:cNvPr id="21" name="Picture 2"/>
          <p:cNvPicPr>
            <a:picLocks noChangeAspect="1" noChangeArrowheads="1"/>
          </p:cNvPicPr>
          <p:nvPr/>
        </p:nvPicPr>
        <p:blipFill>
          <a:blip r:embed="rId5" cstate="print"/>
          <a:srcRect r="30" b="103"/>
          <a:stretch>
            <a:fillRect/>
          </a:stretch>
        </p:blipFill>
        <p:spPr bwMode="auto">
          <a:xfrm>
            <a:off x="323528" y="3789040"/>
            <a:ext cx="8496300" cy="863749"/>
          </a:xfrm>
          <a:prstGeom prst="rect">
            <a:avLst/>
          </a:prstGeom>
          <a:noFill/>
          <a:ln w="9525">
            <a:noFill/>
            <a:miter lim="800000"/>
            <a:headEnd/>
            <a:tailEnd/>
          </a:ln>
          <a:effectLst/>
        </p:spPr>
      </p:pic>
      <p:sp>
        <p:nvSpPr>
          <p:cNvPr id="22" name="Rectangle 21"/>
          <p:cNvSpPr/>
          <p:nvPr/>
        </p:nvSpPr>
        <p:spPr>
          <a:xfrm>
            <a:off x="323528" y="4005064"/>
            <a:ext cx="1668405" cy="369332"/>
          </a:xfrm>
          <a:prstGeom prst="rect">
            <a:avLst/>
          </a:prstGeom>
        </p:spPr>
        <p:txBody>
          <a:bodyPr wrap="none">
            <a:spAutoFit/>
          </a:bodyPr>
          <a:lstStyle/>
          <a:p>
            <a:pPr marL="237744" indent="-237744" defTabSz="768096">
              <a:spcAft>
                <a:spcPts val="1254"/>
              </a:spcAft>
              <a:buClr>
                <a:srgbClr val="E19900"/>
              </a:buClr>
              <a:buBlip>
                <a:blip r:embed="rId6"/>
              </a:buBlip>
            </a:pPr>
            <a:r>
              <a:rPr lang="fr-FR" dirty="0" smtClean="0">
                <a:cs typeface="Arial"/>
              </a:rPr>
              <a:t>Lotus Note :</a:t>
            </a:r>
            <a:endParaRPr lang="fr-FR" dirty="0" smtClean="0">
              <a:cs typeface="Arial"/>
            </a:endParaRPr>
          </a:p>
        </p:txBody>
      </p:sp>
    </p:spTree>
    <p:custDataLst>
      <p:tags r:id="rId1"/>
    </p:custDataLst>
  </p:cSld>
  <p:clrMapOvr>
    <a:masterClrMapping/>
  </p:clrMapOvr>
  <p:transition advTm="97984">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wipe(down)">
                                      <p:cBhvr>
                                        <p:cTn id="7" dur="1000"/>
                                        <p:tgtEl>
                                          <p:spTgt spid="16"/>
                                        </p:tgtEl>
                                      </p:cBhvr>
                                    </p:animEffect>
                                  </p:childTnLst>
                                </p:cTn>
                              </p:par>
                              <p:par>
                                <p:cTn id="8" presetID="22" presetClass="entr" presetSubtype="4" fill="hold" nodeType="withEffect">
                                  <p:stCondLst>
                                    <p:cond delay="0"/>
                                  </p:stCondLst>
                                  <p:childTnLst>
                                    <p:set>
                                      <p:cBhvr>
                                        <p:cTn id="9" dur="1" fill="hold">
                                          <p:stCondLst>
                                            <p:cond delay="0"/>
                                          </p:stCondLst>
                                        </p:cTn>
                                        <p:tgtEl>
                                          <p:spTgt spid="16"/>
                                        </p:tgtEl>
                                        <p:attrNameLst>
                                          <p:attrName>style.visibility</p:attrName>
                                        </p:attrNameLst>
                                      </p:cBhvr>
                                      <p:to>
                                        <p:strVal val="visible"/>
                                      </p:to>
                                    </p:set>
                                    <p:animEffect transition="in" filter="wipe(down)">
                                      <p:cBhvr>
                                        <p:cTn id="10" dur="500"/>
                                        <p:tgtEl>
                                          <p:spTgt spid="16"/>
                                        </p:tgtEl>
                                      </p:cBhvr>
                                    </p:animEffect>
                                  </p:childTnLst>
                                </p:cTn>
                              </p:par>
                              <p:par>
                                <p:cTn id="11" presetID="22" presetClass="entr" presetSubtype="4" fill="hold" nodeType="withEffect">
                                  <p:stCondLst>
                                    <p:cond delay="0"/>
                                  </p:stCondLst>
                                  <p:childTnLst>
                                    <p:set>
                                      <p:cBhvr>
                                        <p:cTn id="12" dur="1" fill="hold">
                                          <p:stCondLst>
                                            <p:cond delay="0"/>
                                          </p:stCondLst>
                                        </p:cTn>
                                        <p:tgtEl>
                                          <p:spTgt spid="24"/>
                                        </p:tgtEl>
                                        <p:attrNameLst>
                                          <p:attrName>style.visibility</p:attrName>
                                        </p:attrNameLst>
                                      </p:cBhvr>
                                      <p:to>
                                        <p:strVal val="visible"/>
                                      </p:to>
                                    </p:set>
                                    <p:animEffect transition="in" filter="wipe(down)">
                                      <p:cBhvr>
                                        <p:cTn id="13" dur="500"/>
                                        <p:tgtEl>
                                          <p:spTgt spid="24"/>
                                        </p:tgtEl>
                                      </p:cBhvr>
                                    </p:animEffect>
                                  </p:childTnLst>
                                </p:cTn>
                              </p:par>
                            </p:childTnLst>
                          </p:cTn>
                        </p:par>
                      </p:childTnLst>
                    </p:cTn>
                  </p:par>
                  <p:par>
                    <p:cTn id="14" fill="hold">
                      <p:stCondLst>
                        <p:cond delay="indefinite"/>
                      </p:stCondLst>
                      <p:childTnLst>
                        <p:par>
                          <p:cTn id="15" fill="hold">
                            <p:stCondLst>
                              <p:cond delay="0"/>
                            </p:stCondLst>
                            <p:childTnLst>
                              <p:par>
                                <p:cTn id="16" presetID="22" presetClass="entr" presetSubtype="4" fill="hold" nodeType="clickEffect">
                                  <p:stCondLst>
                                    <p:cond delay="0"/>
                                  </p:stCondLst>
                                  <p:childTnLst>
                                    <p:set>
                                      <p:cBhvr>
                                        <p:cTn id="17" dur="1" fill="hold">
                                          <p:stCondLst>
                                            <p:cond delay="0"/>
                                          </p:stCondLst>
                                        </p:cTn>
                                        <p:tgtEl>
                                          <p:spTgt spid="21"/>
                                        </p:tgtEl>
                                        <p:attrNameLst>
                                          <p:attrName>style.visibility</p:attrName>
                                        </p:attrNameLst>
                                      </p:cBhvr>
                                      <p:to>
                                        <p:strVal val="visible"/>
                                      </p:to>
                                    </p:set>
                                    <p:animEffect transition="in" filter="wipe(down)">
                                      <p:cBhvr>
                                        <p:cTn id="18" dur="1000"/>
                                        <p:tgtEl>
                                          <p:spTgt spid="21"/>
                                        </p:tgtEl>
                                      </p:cBhvr>
                                    </p:animEffect>
                                  </p:childTnLst>
                                </p:cTn>
                              </p:par>
                              <p:par>
                                <p:cTn id="19" presetID="22" presetClass="entr" presetSubtype="4" fill="hold" nodeType="withEffect">
                                  <p:stCondLst>
                                    <p:cond delay="0"/>
                                  </p:stCondLst>
                                  <p:childTnLst>
                                    <p:set>
                                      <p:cBhvr>
                                        <p:cTn id="20" dur="1" fill="hold">
                                          <p:stCondLst>
                                            <p:cond delay="0"/>
                                          </p:stCondLst>
                                        </p:cTn>
                                        <p:tgtEl>
                                          <p:spTgt spid="21"/>
                                        </p:tgtEl>
                                        <p:attrNameLst>
                                          <p:attrName>style.visibility</p:attrName>
                                        </p:attrNameLst>
                                      </p:cBhvr>
                                      <p:to>
                                        <p:strVal val="visible"/>
                                      </p:to>
                                    </p:set>
                                    <p:animEffect transition="in" filter="wipe(down)">
                                      <p:cBhvr>
                                        <p:cTn id="21"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Grafik 18" descr="Overall-RGB_Small.jpg"/>
          <p:cNvPicPr>
            <a:picLocks noChangeAspect="1"/>
          </p:cNvPicPr>
          <p:nvPr/>
        </p:nvPicPr>
        <p:blipFill>
          <a:blip r:embed="rId4"/>
          <a:srcRect b="829"/>
          <a:stretch>
            <a:fillRect/>
          </a:stretch>
        </p:blipFill>
        <p:spPr>
          <a:xfrm>
            <a:off x="323850" y="1052513"/>
            <a:ext cx="8496299" cy="4824412"/>
          </a:xfrm>
          <a:prstGeom prst="rect">
            <a:avLst/>
          </a:prstGeom>
          <a:noFill/>
          <a:ln>
            <a:noFill/>
          </a:ln>
        </p:spPr>
      </p:pic>
      <p:pic>
        <p:nvPicPr>
          <p:cNvPr id="20" name="Picture 2"/>
          <p:cNvPicPr>
            <a:picLocks noChangeAspect="1" noChangeArrowheads="1"/>
          </p:cNvPicPr>
          <p:nvPr/>
        </p:nvPicPr>
        <p:blipFill>
          <a:blip r:embed="rId5" cstate="print"/>
          <a:srcRect r="30" b="103"/>
          <a:stretch>
            <a:fillRect/>
          </a:stretch>
        </p:blipFill>
        <p:spPr bwMode="auto">
          <a:xfrm>
            <a:off x="323850" y="1912672"/>
            <a:ext cx="8496300" cy="863749"/>
          </a:xfrm>
          <a:prstGeom prst="rect">
            <a:avLst/>
          </a:prstGeom>
          <a:noFill/>
          <a:ln w="9525">
            <a:noFill/>
            <a:miter lim="800000"/>
            <a:headEnd/>
            <a:tailEnd/>
          </a:ln>
          <a:effectLst/>
        </p:spPr>
      </p:pic>
      <p:sp>
        <p:nvSpPr>
          <p:cNvPr id="17416" name="Rectangle 17"/>
          <p:cNvSpPr>
            <a:spLocks noGrp="1" noChangeArrowheads="1"/>
          </p:cNvSpPr>
          <p:nvPr>
            <p:ph type="title"/>
          </p:nvPr>
        </p:nvSpPr>
        <p:spPr/>
        <p:txBody>
          <a:bodyPr/>
          <a:lstStyle/>
          <a:p>
            <a:r>
              <a:rPr lang="fr-FR" dirty="0" smtClean="0">
                <a:solidFill>
                  <a:srgbClr val="000000"/>
                </a:solidFill>
                <a:cs typeface="Arial"/>
              </a:rPr>
              <a:t>Travail accompli</a:t>
            </a:r>
            <a:r>
              <a:rPr lang="en-US" dirty="0" smtClean="0"/>
              <a:t/>
            </a:r>
            <a:br>
              <a:rPr lang="en-US" dirty="0" smtClean="0"/>
            </a:br>
            <a:r>
              <a:rPr lang="en-US" dirty="0" smtClean="0">
                <a:solidFill>
                  <a:srgbClr val="5F5F5F"/>
                </a:solidFill>
                <a:latin typeface="Arial"/>
                <a:cs typeface="Arial"/>
              </a:rPr>
              <a:t>3.1</a:t>
            </a:r>
            <a:r>
              <a:rPr lang="en-US" dirty="0" smtClean="0"/>
              <a:t> </a:t>
            </a:r>
            <a:r>
              <a:rPr lang="fr-FR" dirty="0" smtClean="0">
                <a:solidFill>
                  <a:srgbClr val="5F5F5F"/>
                </a:solidFill>
                <a:latin typeface="Arial"/>
                <a:cs typeface="Arial"/>
              </a:rPr>
              <a:t>Besoin</a:t>
            </a:r>
            <a:endParaRPr lang="fr-FR" dirty="0" smtClean="0">
              <a:solidFill>
                <a:schemeClr val="accent5"/>
              </a:solidFill>
            </a:endParaRPr>
          </a:p>
        </p:txBody>
      </p:sp>
      <p:sp>
        <p:nvSpPr>
          <p:cNvPr id="17417" name="Rectangle 18"/>
          <p:cNvSpPr>
            <a:spLocks noGrp="1" noChangeArrowheads="1"/>
          </p:cNvSpPr>
          <p:nvPr>
            <p:ph type="body" idx="4294967295"/>
          </p:nvPr>
        </p:nvSpPr>
        <p:spPr>
          <a:xfrm>
            <a:off x="313704" y="1916095"/>
            <a:ext cx="8758237" cy="865188"/>
          </a:xfrm>
        </p:spPr>
        <p:txBody>
          <a:bodyPr vert="horz" lIns="91440" tIns="45720" rIns="0" bIns="45720" rtlCol="0" anchor="ctr">
            <a:normAutofit/>
          </a:bodyPr>
          <a:lstStyle/>
          <a:p>
            <a:pPr marL="237744" indent="-237744" defTabSz="768096">
              <a:lnSpc>
                <a:spcPct val="120000"/>
              </a:lnSpc>
              <a:buClr>
                <a:srgbClr val="FF9900"/>
              </a:buClr>
            </a:pPr>
            <a:r>
              <a:rPr lang="fr-FR" sz="1900" dirty="0" smtClean="0">
                <a:solidFill>
                  <a:srgbClr val="000000"/>
                </a:solidFill>
                <a:latin typeface="Arial"/>
                <a:cs typeface="Arial"/>
              </a:rPr>
              <a:t>IMES :</a:t>
            </a:r>
            <a:endParaRPr lang="fr-FR" sz="1900" dirty="0">
              <a:solidFill>
                <a:srgbClr val="000000"/>
              </a:solidFill>
              <a:latin typeface="Arial"/>
              <a:cs typeface="Arial"/>
            </a:endParaRPr>
          </a:p>
        </p:txBody>
      </p:sp>
      <p:sp>
        <p:nvSpPr>
          <p:cNvPr id="17" name="Rectangle 18"/>
          <p:cNvSpPr txBox="1">
            <a:spLocks noChangeArrowheads="1"/>
          </p:cNvSpPr>
          <p:nvPr/>
        </p:nvSpPr>
        <p:spPr>
          <a:xfrm>
            <a:off x="313704" y="2852911"/>
            <a:ext cx="7929618" cy="863600"/>
          </a:xfrm>
          <a:prstGeom prst="rect">
            <a:avLst/>
          </a:prstGeom>
        </p:spPr>
        <p:txBody>
          <a:bodyPr vert="horz" lIns="91440" tIns="45720" rIns="91440" bIns="45720" rtlCol="0" anchor="ctr">
            <a:normAutofit/>
          </a:bodyPr>
          <a:lstStyle/>
          <a:p>
            <a:pPr marL="237744" indent="-237744" defTabSz="768096">
              <a:spcAft>
                <a:spcPts val="1254"/>
              </a:spcAft>
              <a:buClr>
                <a:srgbClr val="E19900"/>
              </a:buClr>
              <a:buBlip>
                <a:blip r:embed="rId6"/>
              </a:buBlip>
            </a:pPr>
            <a:endParaRPr lang="fr-FR" sz="1900" dirty="0" smtClean="0">
              <a:cs typeface="Arial"/>
            </a:endParaRPr>
          </a:p>
        </p:txBody>
      </p:sp>
      <p:sp>
        <p:nvSpPr>
          <p:cNvPr id="18" name="Rectangle 18"/>
          <p:cNvSpPr txBox="1">
            <a:spLocks noChangeArrowheads="1"/>
          </p:cNvSpPr>
          <p:nvPr/>
        </p:nvSpPr>
        <p:spPr>
          <a:xfrm>
            <a:off x="313704" y="3774717"/>
            <a:ext cx="7820050" cy="878419"/>
          </a:xfrm>
          <a:prstGeom prst="rect">
            <a:avLst/>
          </a:prstGeom>
        </p:spPr>
        <p:txBody>
          <a:bodyPr vert="horz" lIns="91440" tIns="45720" rIns="91440" bIns="45720" rtlCol="0" anchor="ctr">
            <a:normAutofit/>
          </a:bodyPr>
          <a:lstStyle/>
          <a:p>
            <a:pPr marL="237744" indent="-237744" defTabSz="768096">
              <a:spcAft>
                <a:spcPts val="1254"/>
              </a:spcAft>
              <a:buClr>
                <a:srgbClr val="E19900"/>
              </a:buClr>
              <a:buBlip>
                <a:blip r:embed="rId6"/>
              </a:buBlip>
            </a:pPr>
            <a:endParaRPr lang="fr-FR" sz="1900" dirty="0">
              <a:cs typeface="Arial"/>
            </a:endParaRPr>
          </a:p>
        </p:txBody>
      </p:sp>
      <p:sp>
        <p:nvSpPr>
          <p:cNvPr id="23" name="Rechteck 22"/>
          <p:cNvSpPr/>
          <p:nvPr/>
        </p:nvSpPr>
        <p:spPr>
          <a:xfrm>
            <a:off x="7524328" y="-387424"/>
            <a:ext cx="1619672" cy="315416"/>
          </a:xfrm>
          <a:prstGeom prst="rect">
            <a:avLst/>
          </a:prstGeom>
          <a:solidFill>
            <a:schemeClr val="accent6"/>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smtClean="0"/>
              <a:t>Animated Slide</a:t>
            </a:r>
            <a:endParaRPr lang="en-US" sz="1400"/>
          </a:p>
        </p:txBody>
      </p:sp>
      <p:sp>
        <p:nvSpPr>
          <p:cNvPr id="13" name="Datumsplatzhalter 12"/>
          <p:cNvSpPr>
            <a:spLocks noGrp="1"/>
          </p:cNvSpPr>
          <p:nvPr>
            <p:ph type="dt" sz="half" idx="10"/>
          </p:nvPr>
        </p:nvSpPr>
        <p:spPr/>
        <p:txBody>
          <a:bodyPr/>
          <a:lstStyle/>
          <a:p>
            <a:fld id="{3E34CEAD-3907-4C6D-9FB1-1E8B3AAFFAAB}" type="datetime5">
              <a:rPr lang="de-DE" smtClean="0"/>
              <a:pPr/>
              <a:t>12-05-18</a:t>
            </a:fld>
            <a:endParaRPr lang="en-US"/>
          </a:p>
        </p:txBody>
      </p:sp>
      <p:sp>
        <p:nvSpPr>
          <p:cNvPr id="14" name="Foliennummernplatzhalter 13"/>
          <p:cNvSpPr>
            <a:spLocks noGrp="1"/>
          </p:cNvSpPr>
          <p:nvPr>
            <p:ph type="sldNum" sz="quarter" idx="11"/>
          </p:nvPr>
        </p:nvSpPr>
        <p:spPr/>
        <p:txBody>
          <a:bodyPr/>
          <a:lstStyle/>
          <a:p>
            <a:fld id="{ADA48181-2C78-49CB-8C52-912A07842C2E}" type="slidenum">
              <a:rPr lang="en-US" smtClean="0"/>
              <a:pPr/>
              <a:t>14</a:t>
            </a:fld>
            <a:endParaRPr lang="en-US"/>
          </a:p>
        </p:txBody>
      </p:sp>
      <p:sp>
        <p:nvSpPr>
          <p:cNvPr id="15" name="Fußzeilenplatzhalter 14"/>
          <p:cNvSpPr>
            <a:spLocks noGrp="1"/>
          </p:cNvSpPr>
          <p:nvPr>
            <p:ph type="ftr" sz="quarter" idx="12"/>
          </p:nvPr>
        </p:nvSpPr>
        <p:spPr/>
        <p:txBody>
          <a:bodyPr/>
          <a:lstStyle/>
          <a:p>
            <a:r>
              <a:rPr lang="en-US" smtClean="0"/>
              <a:t>© Continental AG</a:t>
            </a:r>
            <a:endParaRPr lang="en-US"/>
          </a:p>
        </p:txBody>
      </p:sp>
      <p:pic>
        <p:nvPicPr>
          <p:cNvPr id="16" name="Picture 2"/>
          <p:cNvPicPr>
            <a:picLocks noChangeAspect="1" noChangeArrowheads="1"/>
          </p:cNvPicPr>
          <p:nvPr/>
        </p:nvPicPr>
        <p:blipFill>
          <a:blip r:embed="rId5" cstate="print"/>
          <a:srcRect r="30" b="103"/>
          <a:stretch>
            <a:fillRect/>
          </a:stretch>
        </p:blipFill>
        <p:spPr bwMode="auto">
          <a:xfrm>
            <a:off x="323850" y="2846125"/>
            <a:ext cx="8496300" cy="863749"/>
          </a:xfrm>
          <a:prstGeom prst="rect">
            <a:avLst/>
          </a:prstGeom>
          <a:noFill/>
          <a:ln w="9525">
            <a:noFill/>
            <a:miter lim="800000"/>
            <a:headEnd/>
            <a:tailEnd/>
          </a:ln>
          <a:effectLst/>
        </p:spPr>
      </p:pic>
      <p:sp>
        <p:nvSpPr>
          <p:cNvPr id="24" name="Rectangle 18"/>
          <p:cNvSpPr txBox="1">
            <a:spLocks noChangeArrowheads="1"/>
          </p:cNvSpPr>
          <p:nvPr/>
        </p:nvSpPr>
        <p:spPr>
          <a:xfrm>
            <a:off x="323528" y="2852936"/>
            <a:ext cx="7929618" cy="863600"/>
          </a:xfrm>
          <a:prstGeom prst="rect">
            <a:avLst/>
          </a:prstGeom>
        </p:spPr>
        <p:txBody>
          <a:bodyPr vert="horz" lIns="91440" tIns="45720" rIns="91440" bIns="45720" rtlCol="0" anchor="ctr">
            <a:normAutofit/>
          </a:bodyPr>
          <a:lstStyle/>
          <a:p>
            <a:pPr marL="237744" indent="-237744" defTabSz="768096">
              <a:spcAft>
                <a:spcPts val="1254"/>
              </a:spcAft>
              <a:buClr>
                <a:srgbClr val="E19900"/>
              </a:buClr>
              <a:buBlip>
                <a:blip r:embed="rId6"/>
              </a:buBlip>
            </a:pPr>
            <a:r>
              <a:rPr lang="fr-FR" sz="1900" dirty="0" smtClean="0">
                <a:cs typeface="Arial"/>
              </a:rPr>
              <a:t>LIMAS :</a:t>
            </a:r>
            <a:endParaRPr lang="fr-FR" sz="1900" dirty="0" smtClean="0">
              <a:cs typeface="Arial"/>
            </a:endParaRPr>
          </a:p>
        </p:txBody>
      </p:sp>
      <p:pic>
        <p:nvPicPr>
          <p:cNvPr id="21" name="Picture 2"/>
          <p:cNvPicPr>
            <a:picLocks noChangeAspect="1" noChangeArrowheads="1"/>
          </p:cNvPicPr>
          <p:nvPr/>
        </p:nvPicPr>
        <p:blipFill>
          <a:blip r:embed="rId5" cstate="print"/>
          <a:srcRect r="30" b="103"/>
          <a:stretch>
            <a:fillRect/>
          </a:stretch>
        </p:blipFill>
        <p:spPr bwMode="auto">
          <a:xfrm>
            <a:off x="323528" y="3789040"/>
            <a:ext cx="8496300" cy="863749"/>
          </a:xfrm>
          <a:prstGeom prst="rect">
            <a:avLst/>
          </a:prstGeom>
          <a:noFill/>
          <a:ln w="9525">
            <a:noFill/>
            <a:miter lim="800000"/>
            <a:headEnd/>
            <a:tailEnd/>
          </a:ln>
          <a:effectLst/>
        </p:spPr>
      </p:pic>
      <p:sp>
        <p:nvSpPr>
          <p:cNvPr id="22" name="Rectangle 21"/>
          <p:cNvSpPr/>
          <p:nvPr/>
        </p:nvSpPr>
        <p:spPr>
          <a:xfrm>
            <a:off x="323528" y="4005064"/>
            <a:ext cx="1181093" cy="369332"/>
          </a:xfrm>
          <a:prstGeom prst="rect">
            <a:avLst/>
          </a:prstGeom>
        </p:spPr>
        <p:txBody>
          <a:bodyPr wrap="none">
            <a:spAutoFit/>
          </a:bodyPr>
          <a:lstStyle/>
          <a:p>
            <a:pPr marL="237744" indent="-237744" defTabSz="768096">
              <a:spcAft>
                <a:spcPts val="1254"/>
              </a:spcAft>
              <a:buClr>
                <a:srgbClr val="E19900"/>
              </a:buClr>
              <a:buBlip>
                <a:blip r:embed="rId6"/>
              </a:buBlip>
            </a:pPr>
            <a:r>
              <a:rPr lang="fr-FR" dirty="0" smtClean="0">
                <a:cs typeface="Arial"/>
              </a:rPr>
              <a:t>PVCS :</a:t>
            </a:r>
            <a:endParaRPr lang="fr-FR" dirty="0" smtClean="0">
              <a:cs typeface="Arial"/>
            </a:endParaRPr>
          </a:p>
        </p:txBody>
      </p:sp>
    </p:spTree>
    <p:custDataLst>
      <p:tags r:id="rId1"/>
    </p:custDataLst>
  </p:cSld>
  <p:clrMapOvr>
    <a:masterClrMapping/>
  </p:clrMapOvr>
  <p:transition advTm="97984">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wipe(down)">
                                      <p:cBhvr>
                                        <p:cTn id="7" dur="1000"/>
                                        <p:tgtEl>
                                          <p:spTgt spid="16"/>
                                        </p:tgtEl>
                                      </p:cBhvr>
                                    </p:animEffect>
                                  </p:childTnLst>
                                </p:cTn>
                              </p:par>
                              <p:par>
                                <p:cTn id="8" presetID="22" presetClass="entr" presetSubtype="4" fill="hold" nodeType="withEffect">
                                  <p:stCondLst>
                                    <p:cond delay="0"/>
                                  </p:stCondLst>
                                  <p:childTnLst>
                                    <p:set>
                                      <p:cBhvr>
                                        <p:cTn id="9" dur="1" fill="hold">
                                          <p:stCondLst>
                                            <p:cond delay="0"/>
                                          </p:stCondLst>
                                        </p:cTn>
                                        <p:tgtEl>
                                          <p:spTgt spid="16"/>
                                        </p:tgtEl>
                                        <p:attrNameLst>
                                          <p:attrName>style.visibility</p:attrName>
                                        </p:attrNameLst>
                                      </p:cBhvr>
                                      <p:to>
                                        <p:strVal val="visible"/>
                                      </p:to>
                                    </p:set>
                                    <p:animEffect transition="in" filter="wipe(down)">
                                      <p:cBhvr>
                                        <p:cTn id="10" dur="500"/>
                                        <p:tgtEl>
                                          <p:spTgt spid="16"/>
                                        </p:tgtEl>
                                      </p:cBhvr>
                                    </p:animEffect>
                                  </p:childTnLst>
                                </p:cTn>
                              </p:par>
                              <p:par>
                                <p:cTn id="11" presetID="22" presetClass="entr" presetSubtype="4" fill="hold" nodeType="withEffect">
                                  <p:stCondLst>
                                    <p:cond delay="0"/>
                                  </p:stCondLst>
                                  <p:childTnLst>
                                    <p:set>
                                      <p:cBhvr>
                                        <p:cTn id="12" dur="1" fill="hold">
                                          <p:stCondLst>
                                            <p:cond delay="0"/>
                                          </p:stCondLst>
                                        </p:cTn>
                                        <p:tgtEl>
                                          <p:spTgt spid="24"/>
                                        </p:tgtEl>
                                        <p:attrNameLst>
                                          <p:attrName>style.visibility</p:attrName>
                                        </p:attrNameLst>
                                      </p:cBhvr>
                                      <p:to>
                                        <p:strVal val="visible"/>
                                      </p:to>
                                    </p:set>
                                    <p:animEffect transition="in" filter="wipe(down)">
                                      <p:cBhvr>
                                        <p:cTn id="13" dur="500"/>
                                        <p:tgtEl>
                                          <p:spTgt spid="24"/>
                                        </p:tgtEl>
                                      </p:cBhvr>
                                    </p:animEffect>
                                  </p:childTnLst>
                                </p:cTn>
                              </p:par>
                            </p:childTnLst>
                          </p:cTn>
                        </p:par>
                      </p:childTnLst>
                    </p:cTn>
                  </p:par>
                  <p:par>
                    <p:cTn id="14" fill="hold">
                      <p:stCondLst>
                        <p:cond delay="indefinite"/>
                      </p:stCondLst>
                      <p:childTnLst>
                        <p:par>
                          <p:cTn id="15" fill="hold">
                            <p:stCondLst>
                              <p:cond delay="0"/>
                            </p:stCondLst>
                            <p:childTnLst>
                              <p:par>
                                <p:cTn id="16" presetID="22" presetClass="entr" presetSubtype="4" fill="hold" nodeType="clickEffect">
                                  <p:stCondLst>
                                    <p:cond delay="0"/>
                                  </p:stCondLst>
                                  <p:childTnLst>
                                    <p:set>
                                      <p:cBhvr>
                                        <p:cTn id="17" dur="1" fill="hold">
                                          <p:stCondLst>
                                            <p:cond delay="0"/>
                                          </p:stCondLst>
                                        </p:cTn>
                                        <p:tgtEl>
                                          <p:spTgt spid="21"/>
                                        </p:tgtEl>
                                        <p:attrNameLst>
                                          <p:attrName>style.visibility</p:attrName>
                                        </p:attrNameLst>
                                      </p:cBhvr>
                                      <p:to>
                                        <p:strVal val="visible"/>
                                      </p:to>
                                    </p:set>
                                    <p:animEffect transition="in" filter="wipe(down)">
                                      <p:cBhvr>
                                        <p:cTn id="18" dur="1000"/>
                                        <p:tgtEl>
                                          <p:spTgt spid="21"/>
                                        </p:tgtEl>
                                      </p:cBhvr>
                                    </p:animEffect>
                                  </p:childTnLst>
                                </p:cTn>
                              </p:par>
                              <p:par>
                                <p:cTn id="19" presetID="22" presetClass="entr" presetSubtype="4" fill="hold" nodeType="withEffect">
                                  <p:stCondLst>
                                    <p:cond delay="0"/>
                                  </p:stCondLst>
                                  <p:childTnLst>
                                    <p:set>
                                      <p:cBhvr>
                                        <p:cTn id="20" dur="1" fill="hold">
                                          <p:stCondLst>
                                            <p:cond delay="0"/>
                                          </p:stCondLst>
                                        </p:cTn>
                                        <p:tgtEl>
                                          <p:spTgt spid="21"/>
                                        </p:tgtEl>
                                        <p:attrNameLst>
                                          <p:attrName>style.visibility</p:attrName>
                                        </p:attrNameLst>
                                      </p:cBhvr>
                                      <p:to>
                                        <p:strVal val="visible"/>
                                      </p:to>
                                    </p:set>
                                    <p:animEffect transition="in" filter="wipe(down)">
                                      <p:cBhvr>
                                        <p:cTn id="21"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contenu 1"/>
          <p:cNvSpPr>
            <a:spLocks noGrp="1"/>
          </p:cNvSpPr>
          <p:nvPr>
            <p:ph idx="1"/>
          </p:nvPr>
        </p:nvSpPr>
        <p:spPr/>
        <p:txBody>
          <a:bodyPr/>
          <a:lstStyle/>
          <a:p>
            <a:pPr>
              <a:buNone/>
            </a:pPr>
            <a:endParaRPr lang="fr-FR" dirty="0" smtClean="0"/>
          </a:p>
          <a:p>
            <a:r>
              <a:rPr lang="fr-FR" dirty="0" smtClean="0"/>
              <a:t>Pourquoi MATLAB</a:t>
            </a:r>
          </a:p>
          <a:p>
            <a:pPr lvl="1"/>
            <a:r>
              <a:rPr lang="fr-FR" dirty="0" smtClean="0"/>
              <a:t>Utilisation de modèles </a:t>
            </a:r>
            <a:r>
              <a:rPr lang="fr-FR" dirty="0" err="1" smtClean="0"/>
              <a:t>Simulink</a:t>
            </a:r>
            <a:endParaRPr lang="fr-FR" dirty="0" smtClean="0"/>
          </a:p>
          <a:p>
            <a:pPr>
              <a:buNone/>
            </a:pPr>
            <a:endParaRPr lang="fr-FR" dirty="0" smtClean="0"/>
          </a:p>
          <a:p>
            <a:r>
              <a:rPr lang="fr-FR" dirty="0" smtClean="0"/>
              <a:t>Contraintes</a:t>
            </a:r>
          </a:p>
          <a:p>
            <a:pPr lvl="1"/>
            <a:r>
              <a:rPr lang="fr-FR" dirty="0" smtClean="0"/>
              <a:t>Base de Donnée XML</a:t>
            </a:r>
          </a:p>
          <a:p>
            <a:pPr lvl="1"/>
            <a:r>
              <a:rPr lang="fr-FR" dirty="0" smtClean="0"/>
              <a:t>Travail sur de l’existant</a:t>
            </a:r>
          </a:p>
          <a:p>
            <a:pPr lvl="1">
              <a:buNone/>
            </a:pPr>
            <a:endParaRPr lang="fr-FR" dirty="0" smtClean="0"/>
          </a:p>
          <a:p>
            <a:r>
              <a:rPr lang="fr-FR" dirty="0" smtClean="0"/>
              <a:t>Besoin des personnes qui valident les bancs de test</a:t>
            </a:r>
          </a:p>
          <a:p>
            <a:pPr lvl="1"/>
            <a:r>
              <a:rPr lang="fr-FR" dirty="0" smtClean="0"/>
              <a:t>Génération automatique du rapport de test</a:t>
            </a:r>
          </a:p>
          <a:p>
            <a:pPr lvl="1"/>
            <a:r>
              <a:rPr lang="fr-FR" dirty="0" smtClean="0"/>
              <a:t>Sélection simplifié des tests</a:t>
            </a:r>
          </a:p>
          <a:p>
            <a:pPr lvl="1"/>
            <a:r>
              <a:rPr lang="fr-FR" dirty="0" smtClean="0"/>
              <a:t>Sauvegardes des tests sélectionnés </a:t>
            </a:r>
          </a:p>
          <a:p>
            <a:pPr>
              <a:buNone/>
            </a:pPr>
            <a:endParaRPr lang="fr-FR" dirty="0" smtClean="0"/>
          </a:p>
        </p:txBody>
      </p:sp>
      <p:sp>
        <p:nvSpPr>
          <p:cNvPr id="3" name="Titre 2"/>
          <p:cNvSpPr>
            <a:spLocks noGrp="1"/>
          </p:cNvSpPr>
          <p:nvPr>
            <p:ph type="title"/>
          </p:nvPr>
        </p:nvSpPr>
        <p:spPr/>
        <p:txBody>
          <a:bodyPr/>
          <a:lstStyle/>
          <a:p>
            <a:r>
              <a:rPr lang="fr-FR" dirty="0" smtClean="0">
                <a:solidFill>
                  <a:srgbClr val="000000"/>
                </a:solidFill>
                <a:cs typeface="Arial"/>
              </a:rPr>
              <a:t>Travail accompli </a:t>
            </a:r>
            <a:br>
              <a:rPr lang="fr-FR" dirty="0" smtClean="0">
                <a:solidFill>
                  <a:srgbClr val="000000"/>
                </a:solidFill>
                <a:cs typeface="Arial"/>
              </a:rPr>
            </a:br>
            <a:r>
              <a:rPr lang="fr-FR" dirty="0" smtClean="0">
                <a:solidFill>
                  <a:srgbClr val="5F5F5F"/>
                </a:solidFill>
                <a:latin typeface="Arial"/>
                <a:cs typeface="Arial"/>
              </a:rPr>
              <a:t>3.2</a:t>
            </a:r>
            <a:r>
              <a:rPr lang="fr-FR" dirty="0" smtClean="0">
                <a:solidFill>
                  <a:srgbClr val="000000"/>
                </a:solidFill>
                <a:cs typeface="Arial"/>
              </a:rPr>
              <a:t> </a:t>
            </a:r>
            <a:r>
              <a:rPr lang="fr-FR" dirty="0" smtClean="0">
                <a:solidFill>
                  <a:srgbClr val="5F5F5F"/>
                </a:solidFill>
                <a:latin typeface="Arial"/>
                <a:cs typeface="Arial"/>
              </a:rPr>
              <a:t>Environnement de développement</a:t>
            </a:r>
          </a:p>
        </p:txBody>
      </p:sp>
      <p:sp>
        <p:nvSpPr>
          <p:cNvPr id="4" name="Espace réservé de la date 3"/>
          <p:cNvSpPr>
            <a:spLocks noGrp="1"/>
          </p:cNvSpPr>
          <p:nvPr>
            <p:ph type="dt" sz="half" idx="10"/>
          </p:nvPr>
        </p:nvSpPr>
        <p:spPr/>
        <p:txBody>
          <a:bodyPr/>
          <a:lstStyle/>
          <a:p>
            <a:fld id="{DEBFAA7D-3C06-4CD5-BCCA-1A163F86F4A0}" type="datetime5">
              <a:rPr lang="de-DE" smtClean="0"/>
              <a:pPr/>
              <a:t>12-05-18</a:t>
            </a:fld>
            <a:endParaRPr lang="de-DE" dirty="0"/>
          </a:p>
        </p:txBody>
      </p:sp>
      <p:sp>
        <p:nvSpPr>
          <p:cNvPr id="5" name="Espace réservé du numéro de diapositive 4"/>
          <p:cNvSpPr>
            <a:spLocks noGrp="1"/>
          </p:cNvSpPr>
          <p:nvPr>
            <p:ph type="sldNum" sz="quarter" idx="11"/>
          </p:nvPr>
        </p:nvSpPr>
        <p:spPr/>
        <p:txBody>
          <a:bodyPr/>
          <a:lstStyle/>
          <a:p>
            <a:fld id="{ADA48181-2C78-49CB-8C52-912A07842C2E}" type="slidenum">
              <a:rPr lang="de-DE" smtClean="0"/>
              <a:pPr/>
              <a:t>15</a:t>
            </a:fld>
            <a:endParaRPr lang="de-DE" dirty="0"/>
          </a:p>
        </p:txBody>
      </p:sp>
      <p:sp>
        <p:nvSpPr>
          <p:cNvPr id="6" name="Espace réservé du pied de page 5"/>
          <p:cNvSpPr>
            <a:spLocks noGrp="1"/>
          </p:cNvSpPr>
          <p:nvPr>
            <p:ph type="ftr" sz="quarter" idx="12"/>
          </p:nvPr>
        </p:nvSpPr>
        <p:spPr/>
        <p:txBody>
          <a:bodyPr/>
          <a:lstStyle/>
          <a:p>
            <a:r>
              <a:rPr lang="de-DE" smtClean="0"/>
              <a:t>© Continental AG</a:t>
            </a:r>
            <a:endParaRPr lang="de-DE" dirty="0"/>
          </a:p>
        </p:txBody>
      </p:sp>
    </p:spTree>
  </p:cSld>
  <p:clrMapOvr>
    <a:masterClrMapping/>
  </p:clrMapOvr>
  <p:transition advTm="136625"/>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Grafik 18" descr="Overall-RGB_Small.jpg"/>
          <p:cNvPicPr>
            <a:picLocks noChangeAspect="1"/>
          </p:cNvPicPr>
          <p:nvPr/>
        </p:nvPicPr>
        <p:blipFill>
          <a:blip r:embed="rId3"/>
          <a:srcRect b="829"/>
          <a:stretch>
            <a:fillRect/>
          </a:stretch>
        </p:blipFill>
        <p:spPr>
          <a:xfrm>
            <a:off x="323850" y="1052513"/>
            <a:ext cx="8496299" cy="4824412"/>
          </a:xfrm>
          <a:prstGeom prst="rect">
            <a:avLst/>
          </a:prstGeom>
          <a:noFill/>
          <a:ln>
            <a:noFill/>
          </a:ln>
        </p:spPr>
      </p:pic>
      <p:pic>
        <p:nvPicPr>
          <p:cNvPr id="21" name="Picture 2"/>
          <p:cNvPicPr>
            <a:picLocks noChangeAspect="1" noChangeArrowheads="1"/>
          </p:cNvPicPr>
          <p:nvPr/>
        </p:nvPicPr>
        <p:blipFill>
          <a:blip r:embed="rId4" cstate="print"/>
          <a:srcRect r="30" b="103"/>
          <a:stretch>
            <a:fillRect/>
          </a:stretch>
        </p:blipFill>
        <p:spPr bwMode="auto">
          <a:xfrm>
            <a:off x="323850" y="3784880"/>
            <a:ext cx="8496300" cy="863749"/>
          </a:xfrm>
          <a:prstGeom prst="rect">
            <a:avLst/>
          </a:prstGeom>
          <a:noFill/>
          <a:ln w="9525">
            <a:noFill/>
            <a:miter lim="800000"/>
            <a:headEnd/>
            <a:tailEnd/>
          </a:ln>
          <a:effectLst/>
        </p:spPr>
      </p:pic>
      <p:sp>
        <p:nvSpPr>
          <p:cNvPr id="17416" name="Rectangle 17"/>
          <p:cNvSpPr>
            <a:spLocks noGrp="1" noChangeArrowheads="1"/>
          </p:cNvSpPr>
          <p:nvPr>
            <p:ph type="title"/>
          </p:nvPr>
        </p:nvSpPr>
        <p:spPr/>
        <p:txBody>
          <a:bodyPr/>
          <a:lstStyle/>
          <a:p>
            <a:r>
              <a:rPr lang="fr-FR" dirty="0" smtClean="0">
                <a:solidFill>
                  <a:srgbClr val="000000"/>
                </a:solidFill>
                <a:cs typeface="Arial"/>
              </a:rPr>
              <a:t>Travail accompli</a:t>
            </a:r>
            <a:r>
              <a:rPr lang="en-US" dirty="0" smtClean="0"/>
              <a:t/>
            </a:r>
            <a:br>
              <a:rPr lang="en-US" dirty="0" smtClean="0"/>
            </a:br>
            <a:r>
              <a:rPr lang="en-US" dirty="0" smtClean="0">
                <a:solidFill>
                  <a:srgbClr val="5F5F5F"/>
                </a:solidFill>
                <a:latin typeface="Arial"/>
                <a:cs typeface="Arial"/>
              </a:rPr>
              <a:t>3.1</a:t>
            </a:r>
            <a:r>
              <a:rPr lang="en-US" dirty="0" smtClean="0"/>
              <a:t> </a:t>
            </a:r>
            <a:r>
              <a:rPr lang="fr-FR" dirty="0" smtClean="0">
                <a:solidFill>
                  <a:srgbClr val="5F5F5F"/>
                </a:solidFill>
                <a:latin typeface="Arial"/>
                <a:cs typeface="Arial"/>
              </a:rPr>
              <a:t>Besoin</a:t>
            </a:r>
            <a:endParaRPr lang="fr-FR" dirty="0" smtClean="0">
              <a:solidFill>
                <a:schemeClr val="accent5"/>
              </a:solidFill>
            </a:endParaRPr>
          </a:p>
        </p:txBody>
      </p:sp>
      <p:sp>
        <p:nvSpPr>
          <p:cNvPr id="18" name="Rectangle 18"/>
          <p:cNvSpPr txBox="1">
            <a:spLocks noChangeArrowheads="1"/>
          </p:cNvSpPr>
          <p:nvPr/>
        </p:nvSpPr>
        <p:spPr>
          <a:xfrm>
            <a:off x="313704" y="3774717"/>
            <a:ext cx="7820050" cy="878419"/>
          </a:xfrm>
          <a:prstGeom prst="rect">
            <a:avLst/>
          </a:prstGeom>
        </p:spPr>
        <p:txBody>
          <a:bodyPr vert="horz" lIns="91440" tIns="45720" rIns="91440" bIns="45720" rtlCol="0" anchor="ctr">
            <a:normAutofit/>
          </a:bodyPr>
          <a:lstStyle/>
          <a:p>
            <a:pPr marL="237744" indent="-237744" defTabSz="768096">
              <a:spcAft>
                <a:spcPts val="1254"/>
              </a:spcAft>
              <a:buClr>
                <a:srgbClr val="E19900"/>
              </a:buClr>
              <a:buBlip>
                <a:blip r:embed="rId5"/>
              </a:buBlip>
            </a:pPr>
            <a:r>
              <a:rPr lang="fr-FR" sz="1900" dirty="0" smtClean="0">
                <a:cs typeface="Arial"/>
              </a:rPr>
              <a:t>Changement de version ACHILE (AchileSwitchTool)</a:t>
            </a:r>
            <a:endParaRPr lang="fr-FR" sz="1900" dirty="0">
              <a:cs typeface="Arial"/>
            </a:endParaRPr>
          </a:p>
        </p:txBody>
      </p:sp>
      <p:sp>
        <p:nvSpPr>
          <p:cNvPr id="23" name="Rechteck 22"/>
          <p:cNvSpPr/>
          <p:nvPr/>
        </p:nvSpPr>
        <p:spPr>
          <a:xfrm>
            <a:off x="7524328" y="-387424"/>
            <a:ext cx="1619672" cy="315416"/>
          </a:xfrm>
          <a:prstGeom prst="rect">
            <a:avLst/>
          </a:prstGeom>
          <a:solidFill>
            <a:schemeClr val="accent6"/>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smtClean="0"/>
              <a:t>Animated Slide</a:t>
            </a:r>
            <a:endParaRPr lang="en-US" sz="1400"/>
          </a:p>
        </p:txBody>
      </p:sp>
      <p:sp>
        <p:nvSpPr>
          <p:cNvPr id="13" name="Datumsplatzhalter 12"/>
          <p:cNvSpPr>
            <a:spLocks noGrp="1"/>
          </p:cNvSpPr>
          <p:nvPr>
            <p:ph type="dt" sz="half" idx="10"/>
          </p:nvPr>
        </p:nvSpPr>
        <p:spPr/>
        <p:txBody>
          <a:bodyPr/>
          <a:lstStyle/>
          <a:p>
            <a:fld id="{3E34CEAD-3907-4C6D-9FB1-1E8B3AAFFAAB}" type="datetime5">
              <a:rPr lang="de-DE" smtClean="0"/>
              <a:pPr/>
              <a:t>12-05-18</a:t>
            </a:fld>
            <a:endParaRPr lang="en-US"/>
          </a:p>
        </p:txBody>
      </p:sp>
      <p:sp>
        <p:nvSpPr>
          <p:cNvPr id="14" name="Foliennummernplatzhalter 13"/>
          <p:cNvSpPr>
            <a:spLocks noGrp="1"/>
          </p:cNvSpPr>
          <p:nvPr>
            <p:ph type="sldNum" sz="quarter" idx="11"/>
          </p:nvPr>
        </p:nvSpPr>
        <p:spPr/>
        <p:txBody>
          <a:bodyPr/>
          <a:lstStyle/>
          <a:p>
            <a:fld id="{ADA48181-2C78-49CB-8C52-912A07842C2E}" type="slidenum">
              <a:rPr lang="en-US" smtClean="0"/>
              <a:pPr/>
              <a:t>16</a:t>
            </a:fld>
            <a:endParaRPr lang="en-US"/>
          </a:p>
        </p:txBody>
      </p:sp>
      <p:sp>
        <p:nvSpPr>
          <p:cNvPr id="15" name="Fußzeilenplatzhalter 14"/>
          <p:cNvSpPr>
            <a:spLocks noGrp="1"/>
          </p:cNvSpPr>
          <p:nvPr>
            <p:ph type="ftr" sz="quarter" idx="12"/>
          </p:nvPr>
        </p:nvSpPr>
        <p:spPr/>
        <p:txBody>
          <a:bodyPr/>
          <a:lstStyle/>
          <a:p>
            <a:r>
              <a:rPr lang="en-US" smtClean="0"/>
              <a:t>© Continental AG</a:t>
            </a:r>
            <a:endParaRPr lang="en-US"/>
          </a:p>
        </p:txBody>
      </p:sp>
    </p:spTree>
  </p:cSld>
  <p:clrMapOvr>
    <a:masterClrMapping/>
  </p:clrMapOvr>
  <p:transition advTm="97984">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8"/>
                                        </p:tgtEl>
                                        <p:attrNameLst>
                                          <p:attrName>style.visibility</p:attrName>
                                        </p:attrNameLst>
                                      </p:cBhvr>
                                      <p:to>
                                        <p:strVal val="visible"/>
                                      </p:to>
                                    </p:set>
                                    <p:animEffect transition="in" filter="fade">
                                      <p:cBhvr>
                                        <p:cTn id="11"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Grafik 10" descr="Overall-RGB_Small.jpg"/>
          <p:cNvPicPr>
            <a:picLocks noChangeAspect="1"/>
          </p:cNvPicPr>
          <p:nvPr/>
        </p:nvPicPr>
        <p:blipFill>
          <a:blip r:embed="rId3"/>
          <a:srcRect t="26563"/>
          <a:stretch>
            <a:fillRect/>
          </a:stretch>
        </p:blipFill>
        <p:spPr>
          <a:xfrm>
            <a:off x="0" y="0"/>
            <a:ext cx="9144000" cy="3789363"/>
          </a:xfrm>
          <a:prstGeom prst="rect">
            <a:avLst/>
          </a:prstGeom>
        </p:spPr>
      </p:pic>
      <p:sp>
        <p:nvSpPr>
          <p:cNvPr id="16" name="Rechteck 15"/>
          <p:cNvSpPr/>
          <p:nvPr/>
        </p:nvSpPr>
        <p:spPr>
          <a:xfrm>
            <a:off x="0" y="5876925"/>
            <a:ext cx="9144000" cy="981075"/>
          </a:xfrm>
          <a:prstGeom prst="rect">
            <a:avLst/>
          </a:prstGeom>
          <a:solidFill>
            <a:schemeClr val="tx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20" name="Picture 2" descr="I:\ContiTech\Bildarchiv\CT_Logos_Claims_Fonts\0_CT_logo_vorlagen\01_logos_continental\continental_ppt.png"/>
          <p:cNvPicPr>
            <a:picLocks noChangeAspect="1" noChangeArrowheads="1"/>
          </p:cNvPicPr>
          <p:nvPr/>
        </p:nvPicPr>
        <p:blipFill>
          <a:blip r:embed="rId4"/>
          <a:stretch>
            <a:fillRect/>
          </a:stretch>
        </p:blipFill>
        <p:spPr bwMode="auto">
          <a:xfrm>
            <a:off x="6631459" y="6202441"/>
            <a:ext cx="2196642" cy="377201"/>
          </a:xfrm>
          <a:prstGeom prst="rect">
            <a:avLst/>
          </a:prstGeom>
          <a:noFill/>
        </p:spPr>
      </p:pic>
      <p:sp>
        <p:nvSpPr>
          <p:cNvPr id="17" name="Titel 16"/>
          <p:cNvSpPr>
            <a:spLocks noGrp="1"/>
          </p:cNvSpPr>
          <p:nvPr>
            <p:ph type="ctrTitle"/>
          </p:nvPr>
        </p:nvSpPr>
        <p:spPr>
          <a:xfrm>
            <a:off x="323850" y="3789362"/>
            <a:ext cx="8512175" cy="863773"/>
          </a:xfrm>
        </p:spPr>
        <p:txBody>
          <a:bodyPr/>
          <a:lstStyle/>
          <a:p>
            <a:r>
              <a:rPr lang="en-US" dirty="0" smtClean="0">
                <a:solidFill>
                  <a:srgbClr val="000000"/>
                </a:solidFill>
                <a:latin typeface="Arial"/>
                <a:cs typeface="Arial"/>
              </a:rPr>
              <a:t>Merci pour </a:t>
            </a:r>
            <a:r>
              <a:rPr lang="en-US" dirty="0" err="1" smtClean="0">
                <a:solidFill>
                  <a:srgbClr val="000000"/>
                </a:solidFill>
                <a:latin typeface="Arial"/>
                <a:cs typeface="Arial"/>
              </a:rPr>
              <a:t>votre</a:t>
            </a:r>
            <a:r>
              <a:rPr lang="en-US" dirty="0" smtClean="0">
                <a:solidFill>
                  <a:srgbClr val="000000"/>
                </a:solidFill>
                <a:latin typeface="Arial"/>
                <a:cs typeface="Arial"/>
              </a:rPr>
              <a:t> attention!</a:t>
            </a:r>
            <a:endParaRPr lang="de-DE" dirty="0"/>
          </a:p>
        </p:txBody>
      </p:sp>
      <p:sp>
        <p:nvSpPr>
          <p:cNvPr id="18" name="Untertitel 17"/>
          <p:cNvSpPr>
            <a:spLocks noGrp="1"/>
          </p:cNvSpPr>
          <p:nvPr>
            <p:ph type="subTitle" idx="1"/>
          </p:nvPr>
        </p:nvSpPr>
        <p:spPr>
          <a:xfrm>
            <a:off x="323850" y="4869160"/>
            <a:ext cx="8512175" cy="1007765"/>
          </a:xfrm>
        </p:spPr>
        <p:txBody>
          <a:bodyPr/>
          <a:lstStyle/>
          <a:p>
            <a:endParaRPr lang="de-DE" dirty="0"/>
          </a:p>
        </p:txBody>
      </p:sp>
    </p:spTree>
  </p:cSld>
  <p:clrMapOvr>
    <a:masterClrMapping/>
  </p:clrMapOvr>
  <p:transition>
    <p:wipe dir="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err="1" smtClean="0"/>
              <a:t>Sommaire</a:t>
            </a:r>
            <a:endParaRPr lang="de-DE" dirty="0"/>
          </a:p>
        </p:txBody>
      </p:sp>
      <p:grpSp>
        <p:nvGrpSpPr>
          <p:cNvPr id="3" name="Gruppieren 29"/>
          <p:cNvGrpSpPr/>
          <p:nvPr/>
        </p:nvGrpSpPr>
        <p:grpSpPr>
          <a:xfrm>
            <a:off x="323529" y="1052736"/>
            <a:ext cx="8496047" cy="504000"/>
            <a:chOff x="323529" y="1052513"/>
            <a:chExt cx="8496047" cy="504000"/>
          </a:xfrm>
        </p:grpSpPr>
        <p:sp>
          <p:nvSpPr>
            <p:cNvPr id="7" name="Rectangle 15"/>
            <p:cNvSpPr>
              <a:spLocks noChangeArrowheads="1"/>
            </p:cNvSpPr>
            <p:nvPr/>
          </p:nvSpPr>
          <p:spPr bwMode="auto">
            <a:xfrm>
              <a:off x="755576" y="1052513"/>
              <a:ext cx="8064000" cy="504000"/>
            </a:xfrm>
            <a:prstGeom prst="rect">
              <a:avLst/>
            </a:prstGeom>
            <a:gradFill rotWithShape="1">
              <a:gsLst>
                <a:gs pos="0">
                  <a:srgbClr val="EAEAEA"/>
                </a:gs>
                <a:gs pos="100000">
                  <a:srgbClr val="B2B2B2"/>
                </a:gs>
              </a:gsLst>
              <a:lin ang="2700000" scaled="1"/>
            </a:gradFill>
            <a:ln w="9525" algn="ctr">
              <a:noFill/>
              <a:miter lim="800000"/>
              <a:headEnd/>
              <a:tailEnd/>
            </a:ln>
          </p:spPr>
          <p:txBody>
            <a:bodyPr wrap="none" lIns="108000" tIns="35120" rIns="70239" bIns="35120" anchor="ctr"/>
            <a:lstStyle/>
            <a:p>
              <a:pPr marL="238125" indent="-238125"/>
              <a:r>
                <a:rPr lang="en-US" dirty="0" smtClean="0">
                  <a:solidFill>
                    <a:srgbClr val="000000"/>
                  </a:solidFill>
                  <a:cs typeface="Arial"/>
                </a:rPr>
                <a:t>Continental Corporation</a:t>
              </a:r>
              <a:endParaRPr lang="en-US" b="1" dirty="0" smtClean="0"/>
            </a:p>
          </p:txBody>
        </p:sp>
        <p:sp>
          <p:nvSpPr>
            <p:cNvPr id="12" name="Rectangle 15"/>
            <p:cNvSpPr>
              <a:spLocks noChangeArrowheads="1"/>
            </p:cNvSpPr>
            <p:nvPr/>
          </p:nvSpPr>
          <p:spPr bwMode="auto">
            <a:xfrm>
              <a:off x="323529" y="1052513"/>
              <a:ext cx="432048" cy="504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en-US" sz="1800" dirty="0" smtClean="0"/>
                <a:t>1.</a:t>
              </a:r>
              <a:endParaRPr lang="en-US" sz="1800" dirty="0"/>
            </a:p>
          </p:txBody>
        </p:sp>
      </p:grpSp>
      <p:grpSp>
        <p:nvGrpSpPr>
          <p:cNvPr id="4" name="Gruppieren 30"/>
          <p:cNvGrpSpPr/>
          <p:nvPr/>
        </p:nvGrpSpPr>
        <p:grpSpPr>
          <a:xfrm>
            <a:off x="323528" y="2492896"/>
            <a:ext cx="8493732" cy="504000"/>
            <a:chOff x="325844" y="1772593"/>
            <a:chExt cx="8493732" cy="504000"/>
          </a:xfrm>
        </p:grpSpPr>
        <p:sp>
          <p:nvSpPr>
            <p:cNvPr id="11" name="Rectangle 15"/>
            <p:cNvSpPr>
              <a:spLocks noChangeArrowheads="1"/>
            </p:cNvSpPr>
            <p:nvPr/>
          </p:nvSpPr>
          <p:spPr bwMode="auto">
            <a:xfrm>
              <a:off x="755576" y="1772593"/>
              <a:ext cx="8064000" cy="504000"/>
            </a:xfrm>
            <a:prstGeom prst="rect">
              <a:avLst/>
            </a:prstGeom>
            <a:gradFill rotWithShape="1">
              <a:gsLst>
                <a:gs pos="0">
                  <a:srgbClr val="EAEAEA"/>
                </a:gs>
                <a:gs pos="100000">
                  <a:srgbClr val="B2B2B2"/>
                </a:gs>
              </a:gsLst>
              <a:lin ang="2700000" scaled="1"/>
            </a:gradFill>
            <a:ln w="9525" algn="ctr">
              <a:noFill/>
              <a:miter lim="800000"/>
              <a:headEnd/>
              <a:tailEnd/>
            </a:ln>
          </p:spPr>
          <p:txBody>
            <a:bodyPr wrap="none" lIns="108000" tIns="35120" rIns="70239" bIns="35120" anchor="ctr"/>
            <a:lstStyle/>
            <a:p>
              <a:pPr marL="238125" indent="-238125"/>
              <a:r>
                <a:rPr lang="fr-FR" dirty="0" smtClean="0">
                  <a:solidFill>
                    <a:srgbClr val="000000"/>
                  </a:solidFill>
                  <a:cs typeface="Arial"/>
                </a:rPr>
                <a:t>Mon Service</a:t>
              </a:r>
            </a:p>
          </p:txBody>
        </p:sp>
        <p:sp>
          <p:nvSpPr>
            <p:cNvPr id="16" name="Rectangle 15"/>
            <p:cNvSpPr>
              <a:spLocks noChangeArrowheads="1"/>
            </p:cNvSpPr>
            <p:nvPr/>
          </p:nvSpPr>
          <p:spPr bwMode="auto">
            <a:xfrm>
              <a:off x="325844" y="1772593"/>
              <a:ext cx="432048" cy="504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en-US" sz="1800" dirty="0" smtClean="0"/>
                <a:t>2.</a:t>
              </a:r>
              <a:endParaRPr lang="en-US" sz="1800" dirty="0"/>
            </a:p>
          </p:txBody>
        </p:sp>
      </p:grpSp>
      <p:grpSp>
        <p:nvGrpSpPr>
          <p:cNvPr id="5" name="Gruppieren 31"/>
          <p:cNvGrpSpPr/>
          <p:nvPr/>
        </p:nvGrpSpPr>
        <p:grpSpPr>
          <a:xfrm>
            <a:off x="755576" y="1628800"/>
            <a:ext cx="8064895" cy="360040"/>
            <a:chOff x="323529" y="2492673"/>
            <a:chExt cx="8496047" cy="504000"/>
          </a:xfrm>
        </p:grpSpPr>
        <p:sp>
          <p:nvSpPr>
            <p:cNvPr id="17" name="Rectangle 15"/>
            <p:cNvSpPr>
              <a:spLocks noChangeArrowheads="1"/>
            </p:cNvSpPr>
            <p:nvPr/>
          </p:nvSpPr>
          <p:spPr bwMode="auto">
            <a:xfrm>
              <a:off x="755576" y="2492673"/>
              <a:ext cx="8064000" cy="504000"/>
            </a:xfrm>
            <a:prstGeom prst="rect">
              <a:avLst/>
            </a:prstGeom>
            <a:gradFill rotWithShape="1">
              <a:gsLst>
                <a:gs pos="0">
                  <a:srgbClr val="EAEAEA"/>
                </a:gs>
                <a:gs pos="100000">
                  <a:srgbClr val="B2B2B2"/>
                </a:gs>
              </a:gsLst>
              <a:lin ang="2700000" scaled="1"/>
            </a:gradFill>
            <a:ln w="9525" algn="ctr">
              <a:noFill/>
              <a:miter lim="800000"/>
              <a:headEnd/>
              <a:tailEnd/>
            </a:ln>
          </p:spPr>
          <p:txBody>
            <a:bodyPr wrap="none" lIns="108000" tIns="35120" rIns="70239" bIns="35120" anchor="ctr"/>
            <a:lstStyle/>
            <a:p>
              <a:pPr marL="238125" indent="-238125"/>
              <a:r>
                <a:rPr lang="en-US" sz="1400" dirty="0" smtClean="0">
                  <a:solidFill>
                    <a:srgbClr val="000000"/>
                  </a:solidFill>
                  <a:cs typeface="Arial"/>
                </a:rPr>
                <a:t>Situation</a:t>
              </a:r>
              <a:r>
                <a:rPr lang="en-US" sz="1400" b="1" dirty="0" smtClean="0"/>
                <a:t> </a:t>
              </a:r>
              <a:r>
                <a:rPr lang="en-US" sz="1400" dirty="0" smtClean="0">
                  <a:solidFill>
                    <a:srgbClr val="000000"/>
                  </a:solidFill>
                  <a:cs typeface="Arial"/>
                </a:rPr>
                <a:t>en 2010</a:t>
              </a:r>
            </a:p>
          </p:txBody>
        </p:sp>
        <p:sp>
          <p:nvSpPr>
            <p:cNvPr id="19" name="Rectangle 15"/>
            <p:cNvSpPr>
              <a:spLocks noChangeArrowheads="1"/>
            </p:cNvSpPr>
            <p:nvPr/>
          </p:nvSpPr>
          <p:spPr bwMode="auto">
            <a:xfrm>
              <a:off x="323529" y="2492673"/>
              <a:ext cx="432048" cy="504000"/>
            </a:xfrm>
            <a:prstGeom prst="rect">
              <a:avLst/>
            </a:prstGeom>
            <a:solidFill>
              <a:schemeClr val="accent1"/>
            </a:solidFill>
            <a:ln w="9525" algn="ctr">
              <a:noFill/>
              <a:miter lim="800000"/>
              <a:headEnd/>
              <a:tailEnd/>
            </a:ln>
          </p:spPr>
          <p:txBody>
            <a:bodyPr wrap="none" lIns="36000" tIns="35120" rIns="36000" bIns="35120" anchor="ctr"/>
            <a:lstStyle/>
            <a:p>
              <a:pPr marL="238125" indent="-238125">
                <a:tabLst>
                  <a:tab pos="446088" algn="l"/>
                </a:tabLst>
              </a:pPr>
              <a:r>
                <a:rPr lang="en-US" sz="1400" dirty="0" smtClean="0">
                  <a:solidFill>
                    <a:srgbClr val="000000"/>
                  </a:solidFill>
                  <a:cs typeface="Arial"/>
                </a:rPr>
                <a:t>1.1</a:t>
              </a:r>
              <a:endParaRPr lang="en-US" sz="1400" dirty="0">
                <a:solidFill>
                  <a:srgbClr val="000000"/>
                </a:solidFill>
                <a:cs typeface="Arial"/>
              </a:endParaRPr>
            </a:p>
          </p:txBody>
        </p:sp>
      </p:grpSp>
      <p:sp>
        <p:nvSpPr>
          <p:cNvPr id="27" name="Datumsplatzhalter 26"/>
          <p:cNvSpPr>
            <a:spLocks noGrp="1"/>
          </p:cNvSpPr>
          <p:nvPr>
            <p:ph type="dt" sz="half" idx="10"/>
          </p:nvPr>
        </p:nvSpPr>
        <p:spPr/>
        <p:txBody>
          <a:bodyPr/>
          <a:lstStyle/>
          <a:p>
            <a:fld id="{105CCDDF-2161-4403-9ABF-5C21C1E497AC}" type="datetime5">
              <a:rPr lang="de-DE" smtClean="0"/>
              <a:pPr/>
              <a:t>12-05-18</a:t>
            </a:fld>
            <a:endParaRPr lang="de-DE" dirty="0"/>
          </a:p>
        </p:txBody>
      </p:sp>
      <p:sp>
        <p:nvSpPr>
          <p:cNvPr id="28" name="Foliennummernplatzhalter 27"/>
          <p:cNvSpPr>
            <a:spLocks noGrp="1"/>
          </p:cNvSpPr>
          <p:nvPr>
            <p:ph type="sldNum" sz="quarter" idx="11"/>
          </p:nvPr>
        </p:nvSpPr>
        <p:spPr/>
        <p:txBody>
          <a:bodyPr/>
          <a:lstStyle/>
          <a:p>
            <a:fld id="{ADA48181-2C78-49CB-8C52-912A07842C2E}" type="slidenum">
              <a:rPr lang="de-DE" smtClean="0"/>
              <a:pPr/>
              <a:t>2</a:t>
            </a:fld>
            <a:endParaRPr lang="de-DE" dirty="0"/>
          </a:p>
        </p:txBody>
      </p:sp>
      <p:sp>
        <p:nvSpPr>
          <p:cNvPr id="29" name="Fußzeilenplatzhalter 28"/>
          <p:cNvSpPr>
            <a:spLocks noGrp="1"/>
          </p:cNvSpPr>
          <p:nvPr>
            <p:ph type="ftr" sz="quarter" idx="12"/>
          </p:nvPr>
        </p:nvSpPr>
        <p:spPr/>
        <p:txBody>
          <a:bodyPr/>
          <a:lstStyle/>
          <a:p>
            <a:r>
              <a:rPr lang="de-DE" smtClean="0"/>
              <a:t>© Continental AG</a:t>
            </a:r>
            <a:endParaRPr lang="de-DE" dirty="0"/>
          </a:p>
        </p:txBody>
      </p:sp>
      <p:grpSp>
        <p:nvGrpSpPr>
          <p:cNvPr id="30" name="Gruppieren 31"/>
          <p:cNvGrpSpPr/>
          <p:nvPr/>
        </p:nvGrpSpPr>
        <p:grpSpPr>
          <a:xfrm>
            <a:off x="755576" y="2060848"/>
            <a:ext cx="8064895" cy="360040"/>
            <a:chOff x="323529" y="2492673"/>
            <a:chExt cx="8496047" cy="504000"/>
          </a:xfrm>
        </p:grpSpPr>
        <p:sp>
          <p:nvSpPr>
            <p:cNvPr id="31" name="Rectangle 15"/>
            <p:cNvSpPr>
              <a:spLocks noChangeArrowheads="1"/>
            </p:cNvSpPr>
            <p:nvPr/>
          </p:nvSpPr>
          <p:spPr bwMode="auto">
            <a:xfrm>
              <a:off x="755576" y="2492673"/>
              <a:ext cx="8064000" cy="504000"/>
            </a:xfrm>
            <a:prstGeom prst="rect">
              <a:avLst/>
            </a:prstGeom>
            <a:gradFill rotWithShape="1">
              <a:gsLst>
                <a:gs pos="0">
                  <a:srgbClr val="EAEAEA"/>
                </a:gs>
                <a:gs pos="100000">
                  <a:srgbClr val="B2B2B2"/>
                </a:gs>
              </a:gsLst>
              <a:lin ang="2700000" scaled="1"/>
            </a:gradFill>
            <a:ln w="9525" algn="ctr">
              <a:noFill/>
              <a:miter lim="800000"/>
              <a:headEnd/>
              <a:tailEnd/>
            </a:ln>
          </p:spPr>
          <p:txBody>
            <a:bodyPr wrap="none" lIns="108000" tIns="35120" rIns="70239" bIns="35120" anchor="ctr"/>
            <a:lstStyle/>
            <a:p>
              <a:pPr marL="238125" indent="-238125"/>
              <a:r>
                <a:rPr lang="fr-FR" sz="1400" dirty="0" smtClean="0">
                  <a:solidFill>
                    <a:srgbClr val="000000"/>
                  </a:solidFill>
                  <a:cs typeface="Arial"/>
                </a:rPr>
                <a:t>Sites Continental</a:t>
              </a:r>
            </a:p>
          </p:txBody>
        </p:sp>
        <p:sp>
          <p:nvSpPr>
            <p:cNvPr id="32" name="Rectangle 15"/>
            <p:cNvSpPr>
              <a:spLocks noChangeArrowheads="1"/>
            </p:cNvSpPr>
            <p:nvPr/>
          </p:nvSpPr>
          <p:spPr bwMode="auto">
            <a:xfrm>
              <a:off x="323529" y="2492673"/>
              <a:ext cx="432048" cy="504000"/>
            </a:xfrm>
            <a:prstGeom prst="rect">
              <a:avLst/>
            </a:prstGeom>
            <a:solidFill>
              <a:schemeClr val="accent1"/>
            </a:solidFill>
            <a:ln w="9525" algn="ctr">
              <a:noFill/>
              <a:miter lim="800000"/>
              <a:headEnd/>
              <a:tailEnd/>
            </a:ln>
          </p:spPr>
          <p:txBody>
            <a:bodyPr wrap="none" lIns="36000" tIns="35120" rIns="36000" bIns="35120" anchor="ctr"/>
            <a:lstStyle/>
            <a:p>
              <a:pPr marL="238125" indent="-238125">
                <a:tabLst>
                  <a:tab pos="446088" algn="l"/>
                </a:tabLst>
              </a:pPr>
              <a:r>
                <a:rPr lang="en-US" sz="1400" dirty="0" smtClean="0">
                  <a:solidFill>
                    <a:srgbClr val="000000"/>
                  </a:solidFill>
                  <a:cs typeface="Arial"/>
                </a:rPr>
                <a:t>1.2</a:t>
              </a:r>
              <a:endParaRPr lang="en-US" sz="1400" dirty="0">
                <a:solidFill>
                  <a:srgbClr val="000000"/>
                </a:solidFill>
                <a:cs typeface="Arial"/>
              </a:endParaRPr>
            </a:p>
          </p:txBody>
        </p:sp>
      </p:grpSp>
      <p:grpSp>
        <p:nvGrpSpPr>
          <p:cNvPr id="33" name="Gruppieren 31"/>
          <p:cNvGrpSpPr/>
          <p:nvPr/>
        </p:nvGrpSpPr>
        <p:grpSpPr>
          <a:xfrm>
            <a:off x="755576" y="3068960"/>
            <a:ext cx="8064895" cy="360040"/>
            <a:chOff x="323529" y="2492673"/>
            <a:chExt cx="8496047" cy="504000"/>
          </a:xfrm>
        </p:grpSpPr>
        <p:sp>
          <p:nvSpPr>
            <p:cNvPr id="34" name="Rectangle 15"/>
            <p:cNvSpPr>
              <a:spLocks noChangeArrowheads="1"/>
            </p:cNvSpPr>
            <p:nvPr/>
          </p:nvSpPr>
          <p:spPr bwMode="auto">
            <a:xfrm>
              <a:off x="755576" y="2492673"/>
              <a:ext cx="8064000" cy="504000"/>
            </a:xfrm>
            <a:prstGeom prst="rect">
              <a:avLst/>
            </a:prstGeom>
            <a:gradFill rotWithShape="1">
              <a:gsLst>
                <a:gs pos="0">
                  <a:srgbClr val="EAEAEA"/>
                </a:gs>
                <a:gs pos="100000">
                  <a:srgbClr val="B2B2B2"/>
                </a:gs>
              </a:gsLst>
              <a:lin ang="2700000" scaled="1"/>
            </a:gradFill>
            <a:ln w="9525" algn="ctr">
              <a:noFill/>
              <a:miter lim="800000"/>
              <a:headEnd/>
              <a:tailEnd/>
            </a:ln>
          </p:spPr>
          <p:txBody>
            <a:bodyPr wrap="none" lIns="108000" tIns="35120" rIns="70239" bIns="35120" anchor="ctr"/>
            <a:lstStyle/>
            <a:p>
              <a:pPr marL="238125" indent="-238125"/>
              <a:r>
                <a:rPr lang="en-US" sz="1400" dirty="0" smtClean="0">
                  <a:solidFill>
                    <a:srgbClr val="000000"/>
                  </a:solidFill>
                  <a:cs typeface="Arial"/>
                </a:rPr>
                <a:t>5 </a:t>
              </a:r>
              <a:r>
                <a:rPr lang="fr-FR" sz="1400" dirty="0" smtClean="0">
                  <a:solidFill>
                    <a:srgbClr val="000000"/>
                  </a:solidFill>
                  <a:cs typeface="Arial"/>
                </a:rPr>
                <a:t>grandes</a:t>
              </a:r>
              <a:r>
                <a:rPr lang="en-US" sz="1400" dirty="0" smtClean="0">
                  <a:solidFill>
                    <a:srgbClr val="000000"/>
                  </a:solidFill>
                  <a:cs typeface="Arial"/>
                </a:rPr>
                <a:t> Divisions</a:t>
              </a:r>
              <a:endParaRPr lang="fr-FR" sz="1400" dirty="0" smtClean="0">
                <a:solidFill>
                  <a:srgbClr val="000000"/>
                </a:solidFill>
                <a:cs typeface="Arial"/>
              </a:endParaRPr>
            </a:p>
          </p:txBody>
        </p:sp>
        <p:sp>
          <p:nvSpPr>
            <p:cNvPr id="35" name="Rectangle 15"/>
            <p:cNvSpPr>
              <a:spLocks noChangeArrowheads="1"/>
            </p:cNvSpPr>
            <p:nvPr/>
          </p:nvSpPr>
          <p:spPr bwMode="auto">
            <a:xfrm>
              <a:off x="323529" y="2492673"/>
              <a:ext cx="432048" cy="504000"/>
            </a:xfrm>
            <a:prstGeom prst="rect">
              <a:avLst/>
            </a:prstGeom>
            <a:solidFill>
              <a:schemeClr val="accent1"/>
            </a:solidFill>
            <a:ln w="9525" algn="ctr">
              <a:noFill/>
              <a:miter lim="800000"/>
              <a:headEnd/>
              <a:tailEnd/>
            </a:ln>
          </p:spPr>
          <p:txBody>
            <a:bodyPr wrap="none" lIns="36000" tIns="35120" rIns="36000" bIns="35120" anchor="ctr"/>
            <a:lstStyle/>
            <a:p>
              <a:pPr marL="238125" indent="-238125">
                <a:tabLst>
                  <a:tab pos="446088" algn="l"/>
                </a:tabLst>
              </a:pPr>
              <a:r>
                <a:rPr lang="en-US" sz="1400" dirty="0" smtClean="0">
                  <a:solidFill>
                    <a:srgbClr val="000000"/>
                  </a:solidFill>
                  <a:cs typeface="Arial"/>
                </a:rPr>
                <a:t>2.1</a:t>
              </a:r>
              <a:endParaRPr lang="en-US" sz="1400" dirty="0">
                <a:solidFill>
                  <a:srgbClr val="000000"/>
                </a:solidFill>
                <a:cs typeface="Arial"/>
              </a:endParaRPr>
            </a:p>
          </p:txBody>
        </p:sp>
      </p:grpSp>
      <p:grpSp>
        <p:nvGrpSpPr>
          <p:cNvPr id="42" name="Gruppieren 30"/>
          <p:cNvGrpSpPr/>
          <p:nvPr/>
        </p:nvGrpSpPr>
        <p:grpSpPr>
          <a:xfrm>
            <a:off x="323528" y="3501008"/>
            <a:ext cx="8493732" cy="504056"/>
            <a:chOff x="325844" y="1988561"/>
            <a:chExt cx="8493732" cy="504056"/>
          </a:xfrm>
        </p:grpSpPr>
        <p:sp>
          <p:nvSpPr>
            <p:cNvPr id="43" name="Rectangle 15"/>
            <p:cNvSpPr>
              <a:spLocks noChangeArrowheads="1"/>
            </p:cNvSpPr>
            <p:nvPr/>
          </p:nvSpPr>
          <p:spPr bwMode="auto">
            <a:xfrm>
              <a:off x="755576" y="1988617"/>
              <a:ext cx="8064000" cy="504000"/>
            </a:xfrm>
            <a:prstGeom prst="rect">
              <a:avLst/>
            </a:prstGeom>
            <a:gradFill rotWithShape="1">
              <a:gsLst>
                <a:gs pos="0">
                  <a:srgbClr val="EAEAEA"/>
                </a:gs>
                <a:gs pos="100000">
                  <a:srgbClr val="B2B2B2"/>
                </a:gs>
              </a:gsLst>
              <a:lin ang="2700000" scaled="1"/>
            </a:gradFill>
            <a:ln w="9525" algn="ctr">
              <a:noFill/>
              <a:miter lim="800000"/>
              <a:headEnd/>
              <a:tailEnd/>
            </a:ln>
          </p:spPr>
          <p:txBody>
            <a:bodyPr wrap="none" lIns="108000" tIns="35120" rIns="70239" bIns="35120" anchor="ctr"/>
            <a:lstStyle/>
            <a:p>
              <a:pPr marL="238125" indent="-238125"/>
              <a:r>
                <a:rPr lang="fr-FR" dirty="0" smtClean="0">
                  <a:solidFill>
                    <a:srgbClr val="000000"/>
                  </a:solidFill>
                  <a:cs typeface="Arial"/>
                </a:rPr>
                <a:t>Travail accompli</a:t>
              </a:r>
            </a:p>
          </p:txBody>
        </p:sp>
        <p:sp>
          <p:nvSpPr>
            <p:cNvPr id="44" name="Rectangle 43"/>
            <p:cNvSpPr>
              <a:spLocks noChangeArrowheads="1"/>
            </p:cNvSpPr>
            <p:nvPr/>
          </p:nvSpPr>
          <p:spPr bwMode="auto">
            <a:xfrm>
              <a:off x="325844" y="1988561"/>
              <a:ext cx="432048" cy="504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en-US" dirty="0" smtClean="0"/>
                <a:t>3</a:t>
              </a:r>
              <a:r>
                <a:rPr lang="en-US" sz="1800" dirty="0" smtClean="0"/>
                <a:t>.</a:t>
              </a:r>
              <a:endParaRPr lang="en-US" sz="1800" dirty="0"/>
            </a:p>
          </p:txBody>
        </p:sp>
      </p:grpSp>
      <p:grpSp>
        <p:nvGrpSpPr>
          <p:cNvPr id="36" name="Gruppieren 31"/>
          <p:cNvGrpSpPr/>
          <p:nvPr/>
        </p:nvGrpSpPr>
        <p:grpSpPr>
          <a:xfrm>
            <a:off x="755576" y="4077072"/>
            <a:ext cx="8064895" cy="360040"/>
            <a:chOff x="323529" y="2492673"/>
            <a:chExt cx="8496047" cy="504000"/>
          </a:xfrm>
        </p:grpSpPr>
        <p:sp>
          <p:nvSpPr>
            <p:cNvPr id="37" name="Rectangle 15"/>
            <p:cNvSpPr>
              <a:spLocks noChangeArrowheads="1"/>
            </p:cNvSpPr>
            <p:nvPr/>
          </p:nvSpPr>
          <p:spPr bwMode="auto">
            <a:xfrm>
              <a:off x="755576" y="2492673"/>
              <a:ext cx="8064000" cy="504000"/>
            </a:xfrm>
            <a:prstGeom prst="rect">
              <a:avLst/>
            </a:prstGeom>
            <a:gradFill rotWithShape="1">
              <a:gsLst>
                <a:gs pos="0">
                  <a:srgbClr val="EAEAEA"/>
                </a:gs>
                <a:gs pos="100000">
                  <a:srgbClr val="B2B2B2"/>
                </a:gs>
              </a:gsLst>
              <a:lin ang="2700000" scaled="1"/>
            </a:gradFill>
            <a:ln w="9525" algn="ctr">
              <a:noFill/>
              <a:miter lim="800000"/>
              <a:headEnd/>
              <a:tailEnd/>
            </a:ln>
          </p:spPr>
          <p:txBody>
            <a:bodyPr wrap="none" lIns="108000" tIns="35120" rIns="70239" bIns="35120" anchor="ctr"/>
            <a:lstStyle/>
            <a:p>
              <a:pPr marL="238125" indent="-238125"/>
              <a:r>
                <a:rPr lang="fr-FR" sz="1400" dirty="0" smtClean="0">
                  <a:solidFill>
                    <a:srgbClr val="000000"/>
                  </a:solidFill>
                  <a:cs typeface="Arial"/>
                </a:rPr>
                <a:t>Besoin</a:t>
              </a:r>
            </a:p>
          </p:txBody>
        </p:sp>
        <p:sp>
          <p:nvSpPr>
            <p:cNvPr id="38" name="Rectangle 15"/>
            <p:cNvSpPr>
              <a:spLocks noChangeArrowheads="1"/>
            </p:cNvSpPr>
            <p:nvPr/>
          </p:nvSpPr>
          <p:spPr bwMode="auto">
            <a:xfrm>
              <a:off x="323529" y="2492673"/>
              <a:ext cx="432048" cy="504000"/>
            </a:xfrm>
            <a:prstGeom prst="rect">
              <a:avLst/>
            </a:prstGeom>
            <a:solidFill>
              <a:schemeClr val="accent1"/>
            </a:solidFill>
            <a:ln w="9525" algn="ctr">
              <a:noFill/>
              <a:miter lim="800000"/>
              <a:headEnd/>
              <a:tailEnd/>
            </a:ln>
          </p:spPr>
          <p:txBody>
            <a:bodyPr wrap="none" lIns="36000" tIns="35120" rIns="36000" bIns="35120" anchor="ctr"/>
            <a:lstStyle/>
            <a:p>
              <a:pPr marL="238125" indent="-238125">
                <a:tabLst>
                  <a:tab pos="446088" algn="l"/>
                </a:tabLst>
              </a:pPr>
              <a:r>
                <a:rPr lang="en-US" sz="1400" dirty="0" smtClean="0">
                  <a:solidFill>
                    <a:srgbClr val="000000"/>
                  </a:solidFill>
                  <a:cs typeface="Arial"/>
                </a:rPr>
                <a:t>3.1</a:t>
              </a:r>
              <a:endParaRPr lang="en-US" sz="1400" dirty="0">
                <a:solidFill>
                  <a:srgbClr val="000000"/>
                </a:solidFill>
                <a:cs typeface="Arial"/>
              </a:endParaRPr>
            </a:p>
          </p:txBody>
        </p:sp>
      </p:grpSp>
      <p:grpSp>
        <p:nvGrpSpPr>
          <p:cNvPr id="39" name="Gruppieren 31"/>
          <p:cNvGrpSpPr/>
          <p:nvPr/>
        </p:nvGrpSpPr>
        <p:grpSpPr>
          <a:xfrm>
            <a:off x="755576" y="4509120"/>
            <a:ext cx="8064895" cy="360040"/>
            <a:chOff x="323529" y="2492673"/>
            <a:chExt cx="8496047" cy="504000"/>
          </a:xfrm>
        </p:grpSpPr>
        <p:sp>
          <p:nvSpPr>
            <p:cNvPr id="40" name="Rectangle 15"/>
            <p:cNvSpPr>
              <a:spLocks noChangeArrowheads="1"/>
            </p:cNvSpPr>
            <p:nvPr/>
          </p:nvSpPr>
          <p:spPr bwMode="auto">
            <a:xfrm>
              <a:off x="755576" y="2492673"/>
              <a:ext cx="8064000" cy="504000"/>
            </a:xfrm>
            <a:prstGeom prst="rect">
              <a:avLst/>
            </a:prstGeom>
            <a:gradFill rotWithShape="1">
              <a:gsLst>
                <a:gs pos="0">
                  <a:srgbClr val="EAEAEA"/>
                </a:gs>
                <a:gs pos="100000">
                  <a:srgbClr val="B2B2B2"/>
                </a:gs>
              </a:gsLst>
              <a:lin ang="2700000" scaled="1"/>
            </a:gradFill>
            <a:ln w="9525" algn="ctr">
              <a:noFill/>
              <a:miter lim="800000"/>
              <a:headEnd/>
              <a:tailEnd/>
            </a:ln>
          </p:spPr>
          <p:txBody>
            <a:bodyPr wrap="none" lIns="108000" tIns="35120" rIns="70239" bIns="35120" anchor="ctr"/>
            <a:lstStyle/>
            <a:p>
              <a:pPr marL="238125" indent="-238125"/>
              <a:r>
                <a:rPr lang="fr-FR" sz="1400" dirty="0" smtClean="0">
                  <a:solidFill>
                    <a:srgbClr val="000000"/>
                  </a:solidFill>
                  <a:cs typeface="Arial"/>
                </a:rPr>
                <a:t>Environnement de développement</a:t>
              </a:r>
            </a:p>
          </p:txBody>
        </p:sp>
        <p:sp>
          <p:nvSpPr>
            <p:cNvPr id="41" name="Rectangle 15"/>
            <p:cNvSpPr>
              <a:spLocks noChangeArrowheads="1"/>
            </p:cNvSpPr>
            <p:nvPr/>
          </p:nvSpPr>
          <p:spPr bwMode="auto">
            <a:xfrm>
              <a:off x="323529" y="2492673"/>
              <a:ext cx="432048" cy="504000"/>
            </a:xfrm>
            <a:prstGeom prst="rect">
              <a:avLst/>
            </a:prstGeom>
            <a:solidFill>
              <a:schemeClr val="accent1"/>
            </a:solidFill>
            <a:ln w="9525" algn="ctr">
              <a:noFill/>
              <a:miter lim="800000"/>
              <a:headEnd/>
              <a:tailEnd/>
            </a:ln>
          </p:spPr>
          <p:txBody>
            <a:bodyPr wrap="none" lIns="36000" tIns="35120" rIns="36000" bIns="35120" anchor="ctr"/>
            <a:lstStyle/>
            <a:p>
              <a:pPr marL="238125" indent="-238125">
                <a:tabLst>
                  <a:tab pos="446088" algn="l"/>
                </a:tabLst>
              </a:pPr>
              <a:r>
                <a:rPr lang="en-US" sz="1400" dirty="0" smtClean="0">
                  <a:solidFill>
                    <a:srgbClr val="000000"/>
                  </a:solidFill>
                  <a:cs typeface="Arial"/>
                </a:rPr>
                <a:t>3.2</a:t>
              </a:r>
              <a:endParaRPr lang="en-US" sz="1400" dirty="0">
                <a:solidFill>
                  <a:srgbClr val="000000"/>
                </a:solidFill>
                <a:cs typeface="Arial"/>
              </a:endParaRPr>
            </a:p>
          </p:txBody>
        </p:sp>
      </p:grpSp>
      <p:grpSp>
        <p:nvGrpSpPr>
          <p:cNvPr id="48" name="Gruppieren 31"/>
          <p:cNvGrpSpPr/>
          <p:nvPr/>
        </p:nvGrpSpPr>
        <p:grpSpPr>
          <a:xfrm>
            <a:off x="755576" y="4941168"/>
            <a:ext cx="8064895" cy="360040"/>
            <a:chOff x="323529" y="2492673"/>
            <a:chExt cx="8496047" cy="504000"/>
          </a:xfrm>
        </p:grpSpPr>
        <p:sp>
          <p:nvSpPr>
            <p:cNvPr id="49" name="Rectangle 15"/>
            <p:cNvSpPr>
              <a:spLocks noChangeArrowheads="1"/>
            </p:cNvSpPr>
            <p:nvPr/>
          </p:nvSpPr>
          <p:spPr bwMode="auto">
            <a:xfrm>
              <a:off x="755576" y="2492673"/>
              <a:ext cx="8064000" cy="504000"/>
            </a:xfrm>
            <a:prstGeom prst="rect">
              <a:avLst/>
            </a:prstGeom>
            <a:gradFill rotWithShape="1">
              <a:gsLst>
                <a:gs pos="0">
                  <a:srgbClr val="EAEAEA"/>
                </a:gs>
                <a:gs pos="100000">
                  <a:srgbClr val="B2B2B2"/>
                </a:gs>
              </a:gsLst>
              <a:lin ang="2700000" scaled="1"/>
            </a:gradFill>
            <a:ln w="9525" algn="ctr">
              <a:noFill/>
              <a:miter lim="800000"/>
              <a:headEnd/>
              <a:tailEnd/>
            </a:ln>
          </p:spPr>
          <p:txBody>
            <a:bodyPr wrap="none" lIns="108000" tIns="35120" rIns="70239" bIns="35120" anchor="ctr"/>
            <a:lstStyle/>
            <a:p>
              <a:pPr marL="238125" indent="-238125"/>
              <a:r>
                <a:rPr lang="fr-FR" sz="1400" dirty="0" smtClean="0">
                  <a:solidFill>
                    <a:srgbClr val="000000"/>
                  </a:solidFill>
                  <a:cs typeface="Arial"/>
                </a:rPr>
                <a:t>ReportGenerator</a:t>
              </a:r>
            </a:p>
          </p:txBody>
        </p:sp>
        <p:sp>
          <p:nvSpPr>
            <p:cNvPr id="50" name="Rectangle 15"/>
            <p:cNvSpPr>
              <a:spLocks noChangeArrowheads="1"/>
            </p:cNvSpPr>
            <p:nvPr/>
          </p:nvSpPr>
          <p:spPr bwMode="auto">
            <a:xfrm>
              <a:off x="323529" y="2492673"/>
              <a:ext cx="432048" cy="504000"/>
            </a:xfrm>
            <a:prstGeom prst="rect">
              <a:avLst/>
            </a:prstGeom>
            <a:solidFill>
              <a:schemeClr val="accent1"/>
            </a:solidFill>
            <a:ln w="9525" algn="ctr">
              <a:noFill/>
              <a:miter lim="800000"/>
              <a:headEnd/>
              <a:tailEnd/>
            </a:ln>
          </p:spPr>
          <p:txBody>
            <a:bodyPr wrap="none" lIns="36000" tIns="35120" rIns="36000" bIns="35120" anchor="ctr"/>
            <a:lstStyle/>
            <a:p>
              <a:pPr marL="238125" indent="-238125">
                <a:tabLst>
                  <a:tab pos="446088" algn="l"/>
                </a:tabLst>
              </a:pPr>
              <a:r>
                <a:rPr lang="en-US" sz="1400" dirty="0" smtClean="0">
                  <a:solidFill>
                    <a:srgbClr val="000000"/>
                  </a:solidFill>
                  <a:cs typeface="Arial"/>
                </a:rPr>
                <a:t>3.3</a:t>
              </a:r>
              <a:endParaRPr lang="en-US" sz="1400" dirty="0">
                <a:solidFill>
                  <a:srgbClr val="000000"/>
                </a:solidFill>
                <a:cs typeface="Arial"/>
              </a:endParaRPr>
            </a:p>
          </p:txBody>
        </p:sp>
      </p:grpSp>
      <p:grpSp>
        <p:nvGrpSpPr>
          <p:cNvPr id="54" name="Gruppieren 31"/>
          <p:cNvGrpSpPr/>
          <p:nvPr/>
        </p:nvGrpSpPr>
        <p:grpSpPr>
          <a:xfrm>
            <a:off x="755576" y="5373216"/>
            <a:ext cx="8064895" cy="360040"/>
            <a:chOff x="323529" y="2492673"/>
            <a:chExt cx="8496047" cy="504000"/>
          </a:xfrm>
        </p:grpSpPr>
        <p:sp>
          <p:nvSpPr>
            <p:cNvPr id="55" name="Rectangle 15"/>
            <p:cNvSpPr>
              <a:spLocks noChangeArrowheads="1"/>
            </p:cNvSpPr>
            <p:nvPr/>
          </p:nvSpPr>
          <p:spPr bwMode="auto">
            <a:xfrm>
              <a:off x="755576" y="2492673"/>
              <a:ext cx="8064000" cy="504000"/>
            </a:xfrm>
            <a:prstGeom prst="rect">
              <a:avLst/>
            </a:prstGeom>
            <a:gradFill rotWithShape="1">
              <a:gsLst>
                <a:gs pos="0">
                  <a:srgbClr val="EAEAEA"/>
                </a:gs>
                <a:gs pos="100000">
                  <a:srgbClr val="B2B2B2"/>
                </a:gs>
              </a:gsLst>
              <a:lin ang="2700000" scaled="1"/>
            </a:gradFill>
            <a:ln w="9525" algn="ctr">
              <a:noFill/>
              <a:miter lim="800000"/>
              <a:headEnd/>
              <a:tailEnd/>
            </a:ln>
          </p:spPr>
          <p:txBody>
            <a:bodyPr wrap="none" lIns="108000" tIns="35120" rIns="70239" bIns="35120" anchor="ctr"/>
            <a:lstStyle/>
            <a:p>
              <a:pPr marL="238125" indent="-238125"/>
              <a:r>
                <a:rPr lang="fr-FR" sz="1400" dirty="0" smtClean="0">
                  <a:solidFill>
                    <a:srgbClr val="000000"/>
                  </a:solidFill>
                  <a:cs typeface="Arial"/>
                </a:rPr>
                <a:t>AchileSwitchTool</a:t>
              </a:r>
            </a:p>
          </p:txBody>
        </p:sp>
        <p:sp>
          <p:nvSpPr>
            <p:cNvPr id="56" name="Rectangle 15"/>
            <p:cNvSpPr>
              <a:spLocks noChangeArrowheads="1"/>
            </p:cNvSpPr>
            <p:nvPr/>
          </p:nvSpPr>
          <p:spPr bwMode="auto">
            <a:xfrm>
              <a:off x="323529" y="2492673"/>
              <a:ext cx="432048" cy="504000"/>
            </a:xfrm>
            <a:prstGeom prst="rect">
              <a:avLst/>
            </a:prstGeom>
            <a:solidFill>
              <a:schemeClr val="accent1"/>
            </a:solidFill>
            <a:ln w="9525" algn="ctr">
              <a:noFill/>
              <a:miter lim="800000"/>
              <a:headEnd/>
              <a:tailEnd/>
            </a:ln>
          </p:spPr>
          <p:txBody>
            <a:bodyPr wrap="none" lIns="36000" tIns="35120" rIns="36000" bIns="35120" anchor="ctr"/>
            <a:lstStyle/>
            <a:p>
              <a:pPr marL="238125" indent="-238125">
                <a:tabLst>
                  <a:tab pos="446088" algn="l"/>
                </a:tabLst>
              </a:pPr>
              <a:r>
                <a:rPr lang="en-US" sz="1400" dirty="0" smtClean="0">
                  <a:solidFill>
                    <a:srgbClr val="000000"/>
                  </a:solidFill>
                  <a:cs typeface="Arial"/>
                </a:rPr>
                <a:t>3.4</a:t>
              </a:r>
              <a:endParaRPr lang="en-US" sz="1400" dirty="0">
                <a:solidFill>
                  <a:srgbClr val="000000"/>
                </a:solidFill>
                <a:cs typeface="Arial"/>
              </a:endParaRPr>
            </a:p>
          </p:txBody>
        </p:sp>
      </p:grpSp>
    </p:spTree>
  </p:cSld>
  <p:clrMapOvr>
    <a:masterClrMapping/>
  </p:clrMapOvr>
  <p:transition advTm="19562"/>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Grafik 10" descr="Overall-RGB_Small.jpg"/>
          <p:cNvPicPr>
            <a:picLocks noChangeAspect="1"/>
          </p:cNvPicPr>
          <p:nvPr/>
        </p:nvPicPr>
        <p:blipFill>
          <a:blip r:embed="rId3"/>
          <a:srcRect t="26563"/>
          <a:stretch>
            <a:fillRect/>
          </a:stretch>
        </p:blipFill>
        <p:spPr>
          <a:xfrm>
            <a:off x="0" y="0"/>
            <a:ext cx="9144000" cy="3789363"/>
          </a:xfrm>
          <a:prstGeom prst="rect">
            <a:avLst/>
          </a:prstGeom>
        </p:spPr>
      </p:pic>
      <p:sp>
        <p:nvSpPr>
          <p:cNvPr id="16" name="Rechteck 15"/>
          <p:cNvSpPr/>
          <p:nvPr/>
        </p:nvSpPr>
        <p:spPr>
          <a:xfrm>
            <a:off x="-36512" y="5876925"/>
            <a:ext cx="9180512" cy="981075"/>
          </a:xfrm>
          <a:prstGeom prst="rect">
            <a:avLst/>
          </a:prstGeom>
          <a:solidFill>
            <a:schemeClr val="tx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 name="Picture 2" descr="I:\ContiTech\Bildarchiv\CT_Logos_Claims_Fonts\0_CT_logo_vorlagen\01_logos_continental\continental_ppt.png"/>
          <p:cNvPicPr>
            <a:picLocks noChangeAspect="1" noChangeArrowheads="1"/>
          </p:cNvPicPr>
          <p:nvPr/>
        </p:nvPicPr>
        <p:blipFill>
          <a:blip r:embed="rId4"/>
          <a:stretch>
            <a:fillRect/>
          </a:stretch>
        </p:blipFill>
        <p:spPr bwMode="auto">
          <a:xfrm>
            <a:off x="6631459" y="6202441"/>
            <a:ext cx="2196642" cy="377201"/>
          </a:xfrm>
          <a:prstGeom prst="rect">
            <a:avLst/>
          </a:prstGeom>
          <a:noFill/>
        </p:spPr>
      </p:pic>
      <p:sp>
        <p:nvSpPr>
          <p:cNvPr id="17" name="Titel 16"/>
          <p:cNvSpPr>
            <a:spLocks noGrp="1"/>
          </p:cNvSpPr>
          <p:nvPr>
            <p:ph type="ctrTitle"/>
          </p:nvPr>
        </p:nvSpPr>
        <p:spPr>
          <a:xfrm>
            <a:off x="323528" y="4221088"/>
            <a:ext cx="8512175" cy="863773"/>
          </a:xfrm>
        </p:spPr>
        <p:txBody>
          <a:bodyPr>
            <a:normAutofit fontScale="90000"/>
          </a:bodyPr>
          <a:lstStyle/>
          <a:p>
            <a:r>
              <a:rPr lang="fr-FR" sz="3100" dirty="0" smtClean="0"/>
              <a:t/>
            </a:r>
            <a:br>
              <a:rPr lang="fr-FR" sz="3100" dirty="0" smtClean="0"/>
            </a:br>
            <a:r>
              <a:rPr lang="fr-FR" sz="3100" dirty="0" smtClean="0"/>
              <a:t/>
            </a:r>
            <a:br>
              <a:rPr lang="fr-FR" sz="3100" dirty="0" smtClean="0"/>
            </a:br>
            <a:r>
              <a:rPr lang="fr-FR" sz="3100" dirty="0" smtClean="0"/>
              <a:t/>
            </a:r>
            <a:br>
              <a:rPr lang="fr-FR" sz="3100" dirty="0" smtClean="0"/>
            </a:br>
            <a:r>
              <a:rPr lang="fr-FR" sz="3100" dirty="0" smtClean="0"/>
              <a:t/>
            </a:r>
            <a:br>
              <a:rPr lang="fr-FR" sz="3100" dirty="0" smtClean="0"/>
            </a:br>
            <a:r>
              <a:rPr lang="fr-FR" sz="3100" dirty="0" smtClean="0"/>
              <a:t/>
            </a:r>
            <a:br>
              <a:rPr lang="fr-FR" sz="3100" dirty="0" smtClean="0"/>
            </a:br>
            <a:r>
              <a:rPr lang="fr-FR" sz="3100" dirty="0" smtClean="0"/>
              <a:t/>
            </a:r>
            <a:br>
              <a:rPr lang="fr-FR" sz="3100" dirty="0" smtClean="0"/>
            </a:br>
            <a:r>
              <a:rPr lang="en-US" sz="3200" dirty="0" smtClean="0">
                <a:solidFill>
                  <a:srgbClr val="000000"/>
                </a:solidFill>
                <a:latin typeface="Arial"/>
                <a:cs typeface="Arial"/>
              </a:rPr>
              <a:t> 1. Continental Corporation </a:t>
            </a:r>
            <a:r>
              <a:rPr lang="fr-FR" sz="2000" dirty="0" smtClean="0">
                <a:solidFill>
                  <a:srgbClr val="000000"/>
                </a:solidFill>
              </a:rPr>
              <a:t/>
            </a:r>
            <a:br>
              <a:rPr lang="fr-FR" sz="2000" dirty="0" smtClean="0">
                <a:solidFill>
                  <a:srgbClr val="000000"/>
                </a:solidFill>
              </a:rPr>
            </a:br>
            <a:r>
              <a:rPr lang="en-US" sz="2000" dirty="0" smtClean="0">
                <a:solidFill>
                  <a:srgbClr val="000000"/>
                </a:solidFill>
              </a:rPr>
              <a:t/>
            </a:r>
            <a:br>
              <a:rPr lang="en-US" sz="2000" dirty="0" smtClean="0">
                <a:solidFill>
                  <a:srgbClr val="000000"/>
                </a:solidFill>
              </a:rPr>
            </a:br>
            <a:endParaRPr lang="en-US" sz="2000" dirty="0"/>
          </a:p>
        </p:txBody>
      </p:sp>
      <p:sp>
        <p:nvSpPr>
          <p:cNvPr id="18" name="Untertitel 17"/>
          <p:cNvSpPr>
            <a:spLocks noGrp="1"/>
          </p:cNvSpPr>
          <p:nvPr>
            <p:ph type="subTitle" idx="1"/>
          </p:nvPr>
        </p:nvSpPr>
        <p:spPr>
          <a:xfrm>
            <a:off x="323850" y="4869160"/>
            <a:ext cx="8512175" cy="1007765"/>
          </a:xfrm>
        </p:spPr>
        <p:txBody>
          <a:bodyPr>
            <a:normAutofit/>
          </a:bodyPr>
          <a:lstStyle/>
          <a:p>
            <a:endParaRPr lang="fr-FR" sz="2000" dirty="0" smtClean="0">
              <a:solidFill>
                <a:srgbClr val="000000"/>
              </a:solidFill>
            </a:endParaRPr>
          </a:p>
        </p:txBody>
      </p:sp>
    </p:spTree>
  </p:cSld>
  <p:clrMapOvr>
    <a:masterClrMapping/>
  </p:clrMapOvr>
  <p:transition advTm="25797">
    <p:wipe dir="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Tabelle 19"/>
          <p:cNvGraphicFramePr>
            <a:graphicFrameLocks noGrp="1"/>
          </p:cNvGraphicFramePr>
          <p:nvPr/>
        </p:nvGraphicFramePr>
        <p:xfrm>
          <a:off x="252586" y="2044222"/>
          <a:ext cx="5543550" cy="2736303"/>
        </p:xfrm>
        <a:graphic>
          <a:graphicData uri="http://schemas.openxmlformats.org/drawingml/2006/table">
            <a:tbl>
              <a:tblPr/>
              <a:tblGrid>
                <a:gridCol w="5543550"/>
              </a:tblGrid>
              <a:tr h="473016">
                <a:tc>
                  <a:txBody>
                    <a:bodyPr/>
                    <a:lstStyle/>
                    <a:p>
                      <a:pPr marL="182880" marR="0" indent="-182880" algn="l" defTabSz="996696">
                        <a:lnSpc>
                          <a:spcPct val="110000"/>
                        </a:lnSpc>
                        <a:spcBef>
                          <a:spcPts val="504"/>
                        </a:spcBef>
                        <a:spcAft>
                          <a:spcPts val="0"/>
                        </a:spcAft>
                        <a:buClr>
                          <a:srgbClr val="FF9900"/>
                        </a:buClr>
                        <a:buSzPct val="100000"/>
                        <a:buFontTx/>
                        <a:buBlip>
                          <a:blip r:embed="rId3"/>
                        </a:buBlip>
                      </a:pPr>
                      <a:r>
                        <a:rPr lang="fr-FR" sz="1400" b="0" i="0" u="none" strike="noStrike" cap="none" baseline="0" noProof="0" dirty="0" smtClean="0">
                          <a:solidFill>
                            <a:srgbClr val="000000"/>
                          </a:solidFill>
                          <a:effectLst/>
                          <a:latin typeface="Arial"/>
                          <a:ea typeface="+mn-ea"/>
                          <a:cs typeface="+mn-cs"/>
                        </a:rPr>
                        <a:t>Depuis 1871 avec son siège à Hanovre, Allemagne</a:t>
                      </a:r>
                      <a:endParaRPr lang="fr-FR" sz="1400" b="0" i="0" u="none" strike="noStrike" cap="none" baseline="0" noProof="0" dirty="0">
                        <a:solidFill>
                          <a:srgbClr val="000000"/>
                        </a:solidFill>
                        <a:effectLst/>
                        <a:latin typeface="Arial"/>
                        <a:ea typeface="+mn-ea"/>
                        <a:cs typeface="+mn-cs"/>
                      </a:endParaRPr>
                    </a:p>
                  </a:txBody>
                  <a:tcPr anchor="ctr" horzOverflow="overflow">
                    <a:lnL cap="flat">
                      <a:noFill/>
                    </a:lnL>
                    <a:lnR cap="flat">
                      <a:noFill/>
                    </a:lnR>
                    <a:lnT cap="flat">
                      <a:noFill/>
                    </a:lnT>
                    <a:lnB w="9525" cap="flat" cmpd="sng" algn="ctr">
                      <a:solidFill>
                        <a:schemeClr val="accent5"/>
                      </a:solidFill>
                      <a:prstDash val="solid"/>
                      <a:round/>
                      <a:headEnd type="none" w="med" len="med"/>
                      <a:tailEnd type="none" w="med" len="med"/>
                    </a:lnB>
                    <a:lnTlToBr>
                      <a:noFill/>
                    </a:lnTlToBr>
                    <a:lnBlToTr>
                      <a:noFill/>
                    </a:lnBlToTr>
                    <a:noFill/>
                  </a:tcPr>
                </a:tc>
              </a:tr>
              <a:tr h="451060">
                <a:tc>
                  <a:txBody>
                    <a:bodyPr/>
                    <a:lstStyle/>
                    <a:p>
                      <a:pPr marL="182880" marR="0" indent="-182880" algn="l" defTabSz="996696">
                        <a:lnSpc>
                          <a:spcPct val="110000"/>
                        </a:lnSpc>
                        <a:spcBef>
                          <a:spcPts val="504"/>
                        </a:spcBef>
                        <a:spcAft>
                          <a:spcPts val="0"/>
                        </a:spcAft>
                        <a:buClr>
                          <a:srgbClr val="FF9900"/>
                        </a:buClr>
                        <a:buSzPct val="100000"/>
                        <a:buFontTx/>
                        <a:buBlip>
                          <a:blip r:embed="rId3"/>
                        </a:buBlip>
                      </a:pPr>
                      <a:r>
                        <a:rPr lang="fr-FR" sz="1400" b="0" i="0" u="none" strike="noStrike" cap="none" baseline="0" noProof="0" dirty="0" smtClean="0">
                          <a:solidFill>
                            <a:srgbClr val="000000"/>
                          </a:solidFill>
                          <a:effectLst/>
                          <a:latin typeface="Arial"/>
                          <a:ea typeface="+mn-ea"/>
                          <a:cs typeface="+mn-cs"/>
                        </a:rPr>
                        <a:t>Ventes </a:t>
                      </a:r>
                      <a:r>
                        <a:rPr lang="fr-FR" sz="1400" b="0" i="0" u="none" strike="noStrike" cap="none" baseline="0" noProof="0" dirty="0" smtClean="0">
                          <a:solidFill>
                            <a:srgbClr val="000000"/>
                          </a:solidFill>
                          <a:effectLst/>
                          <a:latin typeface="+mn-lt"/>
                          <a:ea typeface="+mn-ea"/>
                          <a:cs typeface="+mn-cs"/>
                        </a:rPr>
                        <a:t>pour 26.0 Milliards d’euros</a:t>
                      </a:r>
                      <a:endParaRPr lang="fr-FR" sz="1400" b="0" i="0" u="none" strike="noStrike" cap="none" baseline="0" noProof="0" dirty="0">
                        <a:solidFill>
                          <a:srgbClr val="000000"/>
                        </a:solidFill>
                        <a:effectLst/>
                        <a:latin typeface="Arial"/>
                        <a:ea typeface="+mn-ea"/>
                        <a:cs typeface="+mn-cs"/>
                      </a:endParaRPr>
                    </a:p>
                  </a:txBody>
                  <a:tcPr anchor="ctr" horzOverflow="overflow">
                    <a:lnL cap="flat">
                      <a:noFill/>
                    </a:lnL>
                    <a:lnR cap="flat">
                      <a:noFill/>
                    </a:lnR>
                    <a:lnT w="9525" cap="flat" cmpd="sng" algn="ctr">
                      <a:solidFill>
                        <a:schemeClr val="accent5"/>
                      </a:solidFill>
                      <a:prstDash val="solid"/>
                      <a:round/>
                      <a:headEnd type="none" w="med" len="med"/>
                      <a:tailEnd type="none" w="med" len="med"/>
                    </a:lnT>
                    <a:lnB w="9525" cap="flat" cmpd="sng" algn="ctr">
                      <a:solidFill>
                        <a:schemeClr val="accent5"/>
                      </a:solidFill>
                      <a:prstDash val="solid"/>
                      <a:round/>
                      <a:headEnd type="none" w="med" len="med"/>
                      <a:tailEnd type="none" w="med" len="med"/>
                    </a:lnB>
                    <a:lnTlToBr>
                      <a:noFill/>
                    </a:lnTlToBr>
                    <a:lnBlToTr>
                      <a:noFill/>
                    </a:lnBlToTr>
                    <a:noFill/>
                  </a:tcPr>
                </a:tc>
              </a:tr>
              <a:tr h="455053">
                <a:tc>
                  <a:txBody>
                    <a:bodyPr/>
                    <a:lstStyle/>
                    <a:p>
                      <a:pPr marL="182880" marR="0" indent="-182880" algn="l" defTabSz="996696">
                        <a:lnSpc>
                          <a:spcPct val="110000"/>
                        </a:lnSpc>
                        <a:spcBef>
                          <a:spcPts val="504"/>
                        </a:spcBef>
                        <a:spcAft>
                          <a:spcPts val="0"/>
                        </a:spcAft>
                        <a:buClr>
                          <a:srgbClr val="FF9900"/>
                        </a:buClr>
                        <a:buSzPct val="100000"/>
                        <a:buFontTx/>
                        <a:buBlip>
                          <a:blip r:embed="rId3"/>
                        </a:buBlip>
                      </a:pPr>
                      <a:r>
                        <a:rPr lang="fr-FR" sz="1400" b="0" i="0" u="none" strike="noStrike" cap="none" baseline="0" noProof="0" smtClean="0">
                          <a:solidFill>
                            <a:srgbClr val="000000"/>
                          </a:solidFill>
                          <a:effectLst/>
                          <a:latin typeface="Arial"/>
                          <a:ea typeface="+mn-ea"/>
                          <a:cs typeface="+mn-cs"/>
                        </a:rPr>
                        <a:t>148,228 employés dans le monde</a:t>
                      </a:r>
                      <a:endParaRPr lang="fr-FR" sz="1400" b="0" i="0" u="none" strike="noStrike" cap="none" baseline="0" noProof="0">
                        <a:solidFill>
                          <a:srgbClr val="000000"/>
                        </a:solidFill>
                        <a:effectLst/>
                        <a:latin typeface="Arial"/>
                        <a:ea typeface="+mn-ea"/>
                        <a:cs typeface="+mn-cs"/>
                      </a:endParaRPr>
                    </a:p>
                  </a:txBody>
                  <a:tcPr anchor="ctr" horzOverflow="overflow">
                    <a:lnL cap="flat">
                      <a:noFill/>
                    </a:lnL>
                    <a:lnR cap="flat">
                      <a:noFill/>
                    </a:lnR>
                    <a:lnT w="9525" cap="flat" cmpd="sng" algn="ctr">
                      <a:solidFill>
                        <a:schemeClr val="accent5"/>
                      </a:solidFill>
                      <a:prstDash val="solid"/>
                      <a:round/>
                      <a:headEnd type="none" w="med" len="med"/>
                      <a:tailEnd type="none" w="med" len="med"/>
                    </a:lnT>
                    <a:lnB w="9525" cap="flat" cmpd="sng" algn="ctr">
                      <a:solidFill>
                        <a:schemeClr val="accent5"/>
                      </a:solidFill>
                      <a:prstDash val="solid"/>
                      <a:round/>
                      <a:headEnd type="none" w="med" len="med"/>
                      <a:tailEnd type="none" w="med" len="med"/>
                    </a:lnB>
                    <a:lnTlToBr>
                      <a:noFill/>
                    </a:lnTlToBr>
                    <a:lnBlToTr>
                      <a:noFill/>
                    </a:lnBlToTr>
                    <a:noFill/>
                  </a:tcPr>
                </a:tc>
              </a:tr>
              <a:tr h="453057">
                <a:tc>
                  <a:txBody>
                    <a:bodyPr/>
                    <a:lstStyle/>
                    <a:p>
                      <a:pPr marL="182880" marR="0" indent="-182880" algn="l" defTabSz="996696">
                        <a:lnSpc>
                          <a:spcPct val="110000"/>
                        </a:lnSpc>
                        <a:spcBef>
                          <a:spcPts val="504"/>
                        </a:spcBef>
                        <a:spcAft>
                          <a:spcPts val="0"/>
                        </a:spcAft>
                        <a:buClr>
                          <a:srgbClr val="FF9900"/>
                        </a:buClr>
                        <a:buSzPct val="100000"/>
                        <a:buFontTx/>
                        <a:buBlip>
                          <a:blip r:embed="rId3"/>
                        </a:buBlip>
                      </a:pPr>
                      <a:r>
                        <a:rPr lang="fr-FR" sz="1400" b="0" i="0" u="none" strike="noStrike" cap="none" baseline="0" noProof="0" dirty="0" smtClean="0">
                          <a:solidFill>
                            <a:srgbClr val="000000"/>
                          </a:solidFill>
                          <a:effectLst/>
                          <a:latin typeface="Arial"/>
                          <a:ea typeface="+mn-ea"/>
                          <a:cs typeface="+mn-cs"/>
                        </a:rPr>
                        <a:t>193 sites dans 37 pays</a:t>
                      </a:r>
                      <a:endParaRPr lang="fr-FR" sz="1400" b="0" i="0" u="none" strike="noStrike" cap="none" baseline="0" noProof="0" dirty="0">
                        <a:solidFill>
                          <a:srgbClr val="000000"/>
                        </a:solidFill>
                        <a:effectLst/>
                        <a:latin typeface="Arial"/>
                        <a:ea typeface="+mn-ea"/>
                        <a:cs typeface="+mn-cs"/>
                      </a:endParaRPr>
                    </a:p>
                  </a:txBody>
                  <a:tcPr anchor="ctr" horzOverflow="overflow">
                    <a:lnL cap="flat">
                      <a:noFill/>
                    </a:lnL>
                    <a:lnR cap="flat">
                      <a:noFill/>
                    </a:lnR>
                    <a:lnT w="9525" cap="flat" cmpd="sng" algn="ctr">
                      <a:solidFill>
                        <a:schemeClr val="accent5"/>
                      </a:solidFill>
                      <a:prstDash val="solid"/>
                      <a:round/>
                      <a:headEnd type="none" w="med" len="med"/>
                      <a:tailEnd type="none" w="med" len="med"/>
                    </a:lnT>
                    <a:lnB w="9525" cap="flat" cmpd="sng" algn="ctr">
                      <a:solidFill>
                        <a:schemeClr val="accent5"/>
                      </a:solidFill>
                      <a:prstDash val="solid"/>
                      <a:round/>
                      <a:headEnd type="none" w="med" len="med"/>
                      <a:tailEnd type="none" w="med" len="med"/>
                    </a:lnB>
                    <a:lnTlToBr>
                      <a:noFill/>
                    </a:lnTlToBr>
                    <a:lnBlToTr>
                      <a:noFill/>
                    </a:lnBlToTr>
                    <a:noFill/>
                  </a:tcPr>
                </a:tc>
              </a:tr>
              <a:tr h="451060">
                <a:tc>
                  <a:txBody>
                    <a:bodyPr/>
                    <a:lstStyle/>
                    <a:p>
                      <a:pPr marL="182880" marR="0" indent="-182880" algn="l" defTabSz="996696">
                        <a:lnSpc>
                          <a:spcPct val="110000"/>
                        </a:lnSpc>
                        <a:spcBef>
                          <a:spcPts val="504"/>
                        </a:spcBef>
                        <a:spcAft>
                          <a:spcPts val="0"/>
                        </a:spcAft>
                        <a:buClr>
                          <a:srgbClr val="FF9900"/>
                        </a:buClr>
                        <a:buSzPct val="100000"/>
                        <a:buFontTx/>
                        <a:buBlip>
                          <a:blip r:embed="rId3"/>
                        </a:buBlip>
                      </a:pPr>
                      <a:r>
                        <a:rPr lang="fr-FR" sz="1400" b="0" i="0" u="none" strike="noStrike" cap="none" baseline="0" noProof="0" dirty="0" smtClean="0">
                          <a:solidFill>
                            <a:srgbClr val="000000"/>
                          </a:solidFill>
                          <a:effectLst/>
                          <a:latin typeface="Arial"/>
                          <a:ea typeface="+mn-ea"/>
                          <a:cs typeface="+mn-cs"/>
                        </a:rPr>
                        <a:t>Leader du marché dans plusieurs domaines</a:t>
                      </a:r>
                      <a:endParaRPr lang="fr-FR" sz="1400" b="0" i="0" u="none" strike="noStrike" cap="none" baseline="0" noProof="0" dirty="0">
                        <a:solidFill>
                          <a:srgbClr val="000000"/>
                        </a:solidFill>
                        <a:latin typeface="Arial"/>
                        <a:ea typeface="+mn-ea"/>
                        <a:cs typeface="+mn-cs"/>
                      </a:endParaRPr>
                    </a:p>
                  </a:txBody>
                  <a:tcPr anchor="ctr" horzOverflow="overflow">
                    <a:lnL cap="flat">
                      <a:noFill/>
                    </a:lnL>
                    <a:lnR cap="flat">
                      <a:noFill/>
                    </a:lnR>
                    <a:lnT w="9525" cap="flat" cmpd="sng" algn="ctr">
                      <a:solidFill>
                        <a:schemeClr val="accent5"/>
                      </a:solidFill>
                      <a:prstDash val="solid"/>
                      <a:round/>
                      <a:headEnd type="none" w="med" len="med"/>
                      <a:tailEnd type="none" w="med" len="med"/>
                    </a:lnT>
                    <a:lnB w="9525" cap="flat" cmpd="sng" algn="ctr">
                      <a:solidFill>
                        <a:schemeClr val="accent5"/>
                      </a:solidFill>
                      <a:prstDash val="solid"/>
                      <a:round/>
                      <a:headEnd type="none" w="med" len="med"/>
                      <a:tailEnd type="none" w="med" len="med"/>
                    </a:lnB>
                    <a:lnTlToBr>
                      <a:noFill/>
                    </a:lnTlToBr>
                    <a:lnBlToTr>
                      <a:noFill/>
                    </a:lnBlToTr>
                    <a:noFill/>
                  </a:tcPr>
                </a:tc>
              </a:tr>
              <a:tr h="453057">
                <a:tc>
                  <a:txBody>
                    <a:bodyPr/>
                    <a:lstStyle/>
                    <a:p>
                      <a:pPr marL="182880" marR="0" indent="-182880" algn="l" defTabSz="996696">
                        <a:lnSpc>
                          <a:spcPct val="110000"/>
                        </a:lnSpc>
                        <a:spcBef>
                          <a:spcPts val="504"/>
                        </a:spcBef>
                        <a:spcAft>
                          <a:spcPts val="0"/>
                        </a:spcAft>
                        <a:buClr>
                          <a:srgbClr val="FF9900"/>
                        </a:buClr>
                        <a:buSzPct val="100000"/>
                        <a:buFontTx/>
                        <a:buBlip>
                          <a:blip r:embed="rId3"/>
                        </a:buBlip>
                      </a:pPr>
                      <a:r>
                        <a:rPr lang="fr-FR" sz="1400" b="0" i="0" u="none" strike="noStrike" cap="none" baseline="0" noProof="0" dirty="0" smtClean="0">
                          <a:solidFill>
                            <a:srgbClr val="000000"/>
                          </a:solidFill>
                          <a:effectLst/>
                          <a:latin typeface="Arial"/>
                          <a:ea typeface="+mn-ea"/>
                          <a:cs typeface="+mn-cs"/>
                        </a:rPr>
                        <a:t>Un des 5 meilleurs équipementiers automobiles</a:t>
                      </a:r>
                      <a:endParaRPr lang="fr-FR" sz="1400" b="0" i="0" u="none" strike="noStrike" cap="none" baseline="0" noProof="0" dirty="0">
                        <a:solidFill>
                          <a:srgbClr val="000000"/>
                        </a:solidFill>
                        <a:effectLst/>
                        <a:latin typeface="Arial"/>
                        <a:ea typeface="+mn-ea"/>
                        <a:cs typeface="+mn-cs"/>
                      </a:endParaRPr>
                    </a:p>
                  </a:txBody>
                  <a:tcPr anchor="ctr" horzOverflow="overflow">
                    <a:lnL cap="flat">
                      <a:noFill/>
                    </a:lnL>
                    <a:lnR cap="flat">
                      <a:noFill/>
                    </a:lnR>
                    <a:lnT w="9525" cap="flat" cmpd="sng" algn="ctr">
                      <a:solidFill>
                        <a:schemeClr val="accent5"/>
                      </a:solidFill>
                      <a:prstDash val="solid"/>
                      <a:round/>
                      <a:headEnd type="none" w="med" len="med"/>
                      <a:tailEnd type="none" w="med" len="med"/>
                    </a:lnT>
                    <a:lnB cap="flat">
                      <a:noFill/>
                    </a:lnB>
                    <a:lnTlToBr>
                      <a:noFill/>
                    </a:lnTlToBr>
                    <a:lnBlToTr>
                      <a:noFill/>
                    </a:lnBlToTr>
                    <a:noFill/>
                  </a:tcPr>
                </a:tc>
              </a:tr>
            </a:tbl>
          </a:graphicData>
        </a:graphic>
      </p:graphicFrame>
      <p:sp>
        <p:nvSpPr>
          <p:cNvPr id="21" name="Ellipse 20"/>
          <p:cNvSpPr/>
          <p:nvPr/>
        </p:nvSpPr>
        <p:spPr>
          <a:xfrm>
            <a:off x="4366528" y="1092973"/>
            <a:ext cx="4510266" cy="4680520"/>
          </a:xfrm>
          <a:prstGeom prst="ellipse">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600" dirty="0" smtClean="0"/>
          </a:p>
        </p:txBody>
      </p:sp>
      <p:graphicFrame>
        <p:nvGraphicFramePr>
          <p:cNvPr id="25" name="Object 2"/>
          <p:cNvGraphicFramePr>
            <a:graphicFrameLocks noChangeAspect="1"/>
          </p:cNvGraphicFramePr>
          <p:nvPr/>
        </p:nvGraphicFramePr>
        <p:xfrm>
          <a:off x="3843520" y="833636"/>
          <a:ext cx="5591537" cy="5243530"/>
        </p:xfrm>
        <a:graphic>
          <a:graphicData uri="http://schemas.openxmlformats.org/drawingml/2006/chart">
            <c:chart xmlns:c="http://schemas.openxmlformats.org/drawingml/2006/chart" xmlns:r="http://schemas.openxmlformats.org/officeDocument/2006/relationships" r:id="rId4"/>
          </a:graphicData>
        </a:graphic>
      </p:graphicFrame>
      <p:sp>
        <p:nvSpPr>
          <p:cNvPr id="933904" name="Rectangle 13"/>
          <p:cNvSpPr>
            <a:spLocks noGrp="1" noChangeArrowheads="1"/>
          </p:cNvSpPr>
          <p:nvPr>
            <p:ph type="title"/>
          </p:nvPr>
        </p:nvSpPr>
        <p:spPr/>
        <p:txBody>
          <a:bodyPr>
            <a:noAutofit/>
          </a:bodyPr>
          <a:lstStyle/>
          <a:p>
            <a:r>
              <a:rPr lang="en-US" altLang="de-DE" dirty="0" smtClean="0"/>
              <a:t/>
            </a:r>
            <a:br>
              <a:rPr lang="en-US" altLang="de-DE" dirty="0" smtClean="0"/>
            </a:br>
            <a:r>
              <a:rPr lang="en-US" dirty="0" smtClean="0">
                <a:solidFill>
                  <a:srgbClr val="000000"/>
                </a:solidFill>
                <a:latin typeface="Arial"/>
                <a:cs typeface="Arial"/>
              </a:rPr>
              <a:t>Continental Corporation</a:t>
            </a:r>
            <a:br>
              <a:rPr lang="en-US" dirty="0" smtClean="0">
                <a:solidFill>
                  <a:srgbClr val="000000"/>
                </a:solidFill>
                <a:latin typeface="Arial"/>
                <a:cs typeface="Arial"/>
              </a:rPr>
            </a:br>
            <a:r>
              <a:rPr lang="en-US" dirty="0" smtClean="0">
                <a:solidFill>
                  <a:srgbClr val="5F5F5F"/>
                </a:solidFill>
                <a:latin typeface="Arial"/>
                <a:cs typeface="Arial"/>
              </a:rPr>
              <a:t>1.1 - Situation en 2010</a:t>
            </a:r>
            <a:endParaRPr lang="en-US" dirty="0">
              <a:solidFill>
                <a:schemeClr val="accent5"/>
              </a:solidFill>
            </a:endParaRPr>
          </a:p>
        </p:txBody>
      </p:sp>
      <p:sp>
        <p:nvSpPr>
          <p:cNvPr id="933907" name="Text Box 19"/>
          <p:cNvSpPr txBox="1">
            <a:spLocks noChangeArrowheads="1"/>
          </p:cNvSpPr>
          <p:nvPr/>
        </p:nvSpPr>
        <p:spPr bwMode="auto">
          <a:xfrm>
            <a:off x="6012160" y="1700808"/>
            <a:ext cx="1428340" cy="307777"/>
          </a:xfrm>
          <a:prstGeom prst="rect">
            <a:avLst/>
          </a:prstGeom>
          <a:noFill/>
          <a:ln w="9525">
            <a:noFill/>
            <a:miter lim="800000"/>
            <a:headEnd/>
            <a:tailEnd/>
          </a:ln>
          <a:effectLst/>
        </p:spPr>
        <p:txBody>
          <a:bodyPr wrap="none">
            <a:spAutoFit/>
          </a:bodyPr>
          <a:lstStyle/>
          <a:p>
            <a:r>
              <a:rPr lang="fr-FR" sz="1400" dirty="0" smtClean="0">
                <a:solidFill>
                  <a:srgbClr val="FFFFFF"/>
                </a:solidFill>
              </a:rPr>
              <a:t>Vente de pneus</a:t>
            </a:r>
            <a:endParaRPr lang="fr-FR" sz="1400" dirty="0">
              <a:solidFill>
                <a:srgbClr val="FFFFFF"/>
              </a:solidFill>
            </a:endParaRPr>
          </a:p>
        </p:txBody>
      </p:sp>
      <p:sp>
        <p:nvSpPr>
          <p:cNvPr id="933913" name="Text Box 25"/>
          <p:cNvSpPr txBox="1">
            <a:spLocks noChangeArrowheads="1"/>
          </p:cNvSpPr>
          <p:nvPr/>
        </p:nvSpPr>
        <p:spPr bwMode="auto">
          <a:xfrm>
            <a:off x="6723840" y="4149080"/>
            <a:ext cx="1550424" cy="307777"/>
          </a:xfrm>
          <a:prstGeom prst="rect">
            <a:avLst/>
          </a:prstGeom>
          <a:noFill/>
          <a:ln w="9525">
            <a:noFill/>
            <a:miter lim="800000"/>
            <a:headEnd/>
            <a:tailEnd/>
          </a:ln>
          <a:effectLst/>
        </p:spPr>
        <p:txBody>
          <a:bodyPr wrap="none">
            <a:spAutoFit/>
          </a:bodyPr>
          <a:lstStyle/>
          <a:p>
            <a:r>
              <a:rPr lang="en-US" sz="1400" b="0" dirty="0" smtClean="0">
                <a:solidFill>
                  <a:schemeClr val="bg1"/>
                </a:solidFill>
              </a:rPr>
              <a:t>Chassis &amp; Safety</a:t>
            </a:r>
            <a:endParaRPr lang="en-US" sz="1400" b="0" dirty="0">
              <a:solidFill>
                <a:schemeClr val="bg1"/>
              </a:solidFill>
            </a:endParaRPr>
          </a:p>
        </p:txBody>
      </p:sp>
      <p:sp>
        <p:nvSpPr>
          <p:cNvPr id="933914" name="Text Box 26"/>
          <p:cNvSpPr txBox="1">
            <a:spLocks noChangeArrowheads="1"/>
          </p:cNvSpPr>
          <p:nvPr/>
        </p:nvSpPr>
        <p:spPr bwMode="auto">
          <a:xfrm>
            <a:off x="5355688" y="4499074"/>
            <a:ext cx="1040670" cy="307777"/>
          </a:xfrm>
          <a:prstGeom prst="rect">
            <a:avLst/>
          </a:prstGeom>
          <a:noFill/>
          <a:ln w="9525">
            <a:noFill/>
            <a:miter lim="800000"/>
            <a:headEnd/>
            <a:tailEnd/>
          </a:ln>
          <a:effectLst/>
        </p:spPr>
        <p:txBody>
          <a:bodyPr wrap="none">
            <a:spAutoFit/>
          </a:bodyPr>
          <a:lstStyle/>
          <a:p>
            <a:r>
              <a:rPr lang="en-US" sz="1400" b="0" dirty="0" smtClean="0"/>
              <a:t>Powertrain</a:t>
            </a:r>
            <a:endParaRPr lang="en-US" sz="1400" b="0" dirty="0"/>
          </a:p>
        </p:txBody>
      </p:sp>
      <p:sp>
        <p:nvSpPr>
          <p:cNvPr id="933922" name="Text Box 34"/>
          <p:cNvSpPr txBox="1">
            <a:spLocks noChangeArrowheads="1"/>
          </p:cNvSpPr>
          <p:nvPr/>
        </p:nvSpPr>
        <p:spPr bwMode="auto">
          <a:xfrm>
            <a:off x="4739882" y="2883416"/>
            <a:ext cx="740908" cy="307777"/>
          </a:xfrm>
          <a:prstGeom prst="rect">
            <a:avLst/>
          </a:prstGeom>
          <a:noFill/>
          <a:ln w="9525">
            <a:noFill/>
            <a:miter lim="800000"/>
            <a:headEnd/>
            <a:tailEnd/>
          </a:ln>
          <a:effectLst/>
        </p:spPr>
        <p:txBody>
          <a:bodyPr wrap="none">
            <a:spAutoFit/>
          </a:bodyPr>
          <a:lstStyle/>
          <a:p>
            <a:r>
              <a:rPr lang="en-US" sz="1400" b="0" dirty="0" smtClean="0"/>
              <a:t>Interior</a:t>
            </a:r>
            <a:endParaRPr lang="en-US" sz="1400" b="0" dirty="0"/>
          </a:p>
        </p:txBody>
      </p:sp>
      <p:sp>
        <p:nvSpPr>
          <p:cNvPr id="933932" name="Text Box 14"/>
          <p:cNvSpPr txBox="1">
            <a:spLocks noChangeArrowheads="1"/>
          </p:cNvSpPr>
          <p:nvPr/>
        </p:nvSpPr>
        <p:spPr bwMode="auto">
          <a:xfrm>
            <a:off x="4284663" y="5711446"/>
            <a:ext cx="4535487" cy="230816"/>
          </a:xfrm>
          <a:prstGeom prst="rect">
            <a:avLst/>
          </a:prstGeom>
          <a:noFill/>
          <a:ln w="9525">
            <a:noFill/>
            <a:miter lim="800000"/>
            <a:headEnd/>
            <a:tailEnd/>
          </a:ln>
        </p:spPr>
        <p:txBody>
          <a:bodyPr lIns="91424" tIns="45712" rIns="0" bIns="45712">
            <a:spAutoFit/>
          </a:bodyPr>
          <a:lstStyle/>
          <a:p>
            <a:pPr algn="r"/>
            <a:r>
              <a:rPr lang="en-US" sz="900" dirty="0" smtClean="0"/>
              <a:t>Status: December 31, 2010</a:t>
            </a:r>
            <a:endParaRPr lang="en-US" sz="900" dirty="0"/>
          </a:p>
        </p:txBody>
      </p:sp>
      <p:sp>
        <p:nvSpPr>
          <p:cNvPr id="26" name="Text Box 20"/>
          <p:cNvSpPr txBox="1">
            <a:spLocks noChangeArrowheads="1"/>
          </p:cNvSpPr>
          <p:nvPr/>
        </p:nvSpPr>
        <p:spPr bwMode="auto">
          <a:xfrm>
            <a:off x="7524328" y="3140968"/>
            <a:ext cx="980718" cy="307777"/>
          </a:xfrm>
          <a:prstGeom prst="rect">
            <a:avLst/>
          </a:prstGeom>
          <a:noFill/>
          <a:ln w="9525">
            <a:noFill/>
            <a:miter lim="800000"/>
            <a:headEnd/>
            <a:tailEnd/>
          </a:ln>
          <a:effectLst/>
        </p:spPr>
        <p:txBody>
          <a:bodyPr wrap="none">
            <a:spAutoFit/>
          </a:bodyPr>
          <a:lstStyle/>
          <a:p>
            <a:r>
              <a:rPr lang="en-US" sz="1400" b="0" dirty="0" smtClean="0">
                <a:solidFill>
                  <a:schemeClr val="bg1"/>
                </a:solidFill>
              </a:rPr>
              <a:t>ContiTech</a:t>
            </a:r>
            <a:endParaRPr lang="en-US" sz="1400" b="0" dirty="0">
              <a:solidFill>
                <a:schemeClr val="bg1"/>
              </a:solidFill>
            </a:endParaRPr>
          </a:p>
        </p:txBody>
      </p:sp>
      <p:sp>
        <p:nvSpPr>
          <p:cNvPr id="16" name="Datumsplatzhalter 15"/>
          <p:cNvSpPr>
            <a:spLocks noGrp="1"/>
          </p:cNvSpPr>
          <p:nvPr>
            <p:ph type="dt" sz="half" idx="10"/>
          </p:nvPr>
        </p:nvSpPr>
        <p:spPr/>
        <p:txBody>
          <a:bodyPr/>
          <a:lstStyle/>
          <a:p>
            <a:fld id="{18E49DD3-BE66-46EA-9A44-97804F439164}" type="datetime5">
              <a:rPr lang="de-DE" smtClean="0"/>
              <a:pPr/>
              <a:t>12-05-18</a:t>
            </a:fld>
            <a:endParaRPr lang="en-US"/>
          </a:p>
        </p:txBody>
      </p:sp>
      <p:sp>
        <p:nvSpPr>
          <p:cNvPr id="17" name="Foliennummernplatzhalter 16"/>
          <p:cNvSpPr>
            <a:spLocks noGrp="1"/>
          </p:cNvSpPr>
          <p:nvPr>
            <p:ph type="sldNum" sz="quarter" idx="11"/>
          </p:nvPr>
        </p:nvSpPr>
        <p:spPr/>
        <p:txBody>
          <a:bodyPr/>
          <a:lstStyle/>
          <a:p>
            <a:fld id="{ADA48181-2C78-49CB-8C52-912A07842C2E}" type="slidenum">
              <a:rPr lang="en-US" smtClean="0"/>
              <a:pPr/>
              <a:t>4</a:t>
            </a:fld>
            <a:endParaRPr lang="en-US"/>
          </a:p>
        </p:txBody>
      </p:sp>
      <p:sp>
        <p:nvSpPr>
          <p:cNvPr id="18" name="Fußzeilenplatzhalter 17"/>
          <p:cNvSpPr>
            <a:spLocks noGrp="1"/>
          </p:cNvSpPr>
          <p:nvPr>
            <p:ph type="ftr" sz="quarter" idx="12"/>
          </p:nvPr>
        </p:nvSpPr>
        <p:spPr/>
        <p:txBody>
          <a:bodyPr/>
          <a:lstStyle/>
          <a:p>
            <a:r>
              <a:rPr lang="en-US" smtClean="0"/>
              <a:t>© Continental AG</a:t>
            </a:r>
            <a:endParaRPr lang="en-US"/>
          </a:p>
        </p:txBody>
      </p:sp>
      <p:sp>
        <p:nvSpPr>
          <p:cNvPr id="19" name="Textfeld 18"/>
          <p:cNvSpPr txBox="1"/>
          <p:nvPr/>
        </p:nvSpPr>
        <p:spPr>
          <a:xfrm>
            <a:off x="5580112" y="980728"/>
            <a:ext cx="1904560" cy="338554"/>
          </a:xfrm>
          <a:prstGeom prst="rect">
            <a:avLst/>
          </a:prstGeom>
          <a:noFill/>
        </p:spPr>
        <p:txBody>
          <a:bodyPr wrap="none" rtlCol="0">
            <a:spAutoFit/>
          </a:bodyPr>
          <a:lstStyle/>
          <a:p>
            <a:r>
              <a:rPr lang="en-US" sz="1600" dirty="0" err="1" smtClean="0"/>
              <a:t>Vente</a:t>
            </a:r>
            <a:r>
              <a:rPr lang="en-US" sz="1600" dirty="0" smtClean="0"/>
              <a:t> par divisions</a:t>
            </a:r>
            <a:endParaRPr lang="en-US" sz="1600" dirty="0"/>
          </a:p>
        </p:txBody>
      </p:sp>
    </p:spTree>
  </p:cSld>
  <p:clrMapOvr>
    <a:masterClrMapping/>
  </p:clrMapOvr>
  <p:transition advTm="64250"/>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2" name="Rectangle 2"/>
          <p:cNvSpPr>
            <a:spLocks noGrp="1" noChangeArrowheads="1"/>
          </p:cNvSpPr>
          <p:nvPr>
            <p:ph type="title"/>
          </p:nvPr>
        </p:nvSpPr>
        <p:spPr/>
        <p:txBody>
          <a:bodyPr/>
          <a:lstStyle/>
          <a:p>
            <a:r>
              <a:rPr lang="en-US" dirty="0" smtClean="0">
                <a:solidFill>
                  <a:srgbClr val="000000"/>
                </a:solidFill>
                <a:latin typeface="Arial"/>
                <a:cs typeface="Arial"/>
              </a:rPr>
              <a:t>Continental Corporation</a:t>
            </a:r>
            <a:br>
              <a:rPr lang="en-US" dirty="0" smtClean="0">
                <a:solidFill>
                  <a:srgbClr val="000000"/>
                </a:solidFill>
                <a:latin typeface="Arial"/>
                <a:cs typeface="Arial"/>
              </a:rPr>
            </a:br>
            <a:r>
              <a:rPr lang="fr-FR" dirty="0" smtClean="0">
                <a:solidFill>
                  <a:srgbClr val="5F5F5F"/>
                </a:solidFill>
                <a:latin typeface="Arial"/>
                <a:cs typeface="Arial"/>
              </a:rPr>
              <a:t>1.2 - </a:t>
            </a:r>
            <a:r>
              <a:rPr lang="en-US" dirty="0" smtClean="0">
                <a:solidFill>
                  <a:srgbClr val="5F5F5F"/>
                </a:solidFill>
                <a:latin typeface="Arial"/>
                <a:cs typeface="Arial"/>
              </a:rPr>
              <a:t>Sites Continental</a:t>
            </a:r>
            <a:endParaRPr lang="en-US" dirty="0" smtClean="0">
              <a:solidFill>
                <a:schemeClr val="accent5"/>
              </a:solidFill>
            </a:endParaRPr>
          </a:p>
        </p:txBody>
      </p:sp>
      <p:sp>
        <p:nvSpPr>
          <p:cNvPr id="228" name="Datumsplatzhalter 227"/>
          <p:cNvSpPr>
            <a:spLocks noGrp="1"/>
          </p:cNvSpPr>
          <p:nvPr>
            <p:ph type="dt" sz="half" idx="10"/>
          </p:nvPr>
        </p:nvSpPr>
        <p:spPr/>
        <p:txBody>
          <a:bodyPr/>
          <a:lstStyle/>
          <a:p>
            <a:fld id="{50548186-E3FA-42D5-A933-02E39DC3E141}" type="datetime5">
              <a:rPr lang="de-DE" smtClean="0"/>
              <a:pPr/>
              <a:t>12-05-18</a:t>
            </a:fld>
            <a:endParaRPr lang="en-US"/>
          </a:p>
        </p:txBody>
      </p:sp>
      <p:sp>
        <p:nvSpPr>
          <p:cNvPr id="229" name="Foliennummernplatzhalter 228"/>
          <p:cNvSpPr>
            <a:spLocks noGrp="1"/>
          </p:cNvSpPr>
          <p:nvPr>
            <p:ph type="sldNum" sz="quarter" idx="11"/>
          </p:nvPr>
        </p:nvSpPr>
        <p:spPr/>
        <p:txBody>
          <a:bodyPr/>
          <a:lstStyle/>
          <a:p>
            <a:fld id="{ADA48181-2C78-49CB-8C52-912A07842C2E}" type="slidenum">
              <a:rPr lang="en-US" smtClean="0"/>
              <a:pPr/>
              <a:t>5</a:t>
            </a:fld>
            <a:endParaRPr lang="en-US"/>
          </a:p>
        </p:txBody>
      </p:sp>
      <p:sp>
        <p:nvSpPr>
          <p:cNvPr id="230" name="Fußzeilenplatzhalter 229"/>
          <p:cNvSpPr>
            <a:spLocks noGrp="1"/>
          </p:cNvSpPr>
          <p:nvPr>
            <p:ph type="ftr" sz="quarter" idx="12"/>
          </p:nvPr>
        </p:nvSpPr>
        <p:spPr/>
        <p:txBody>
          <a:bodyPr/>
          <a:lstStyle/>
          <a:p>
            <a:r>
              <a:rPr lang="en-US" smtClean="0"/>
              <a:t>© Continental AG</a:t>
            </a:r>
            <a:endParaRPr lang="en-US"/>
          </a:p>
        </p:txBody>
      </p:sp>
      <p:pic>
        <p:nvPicPr>
          <p:cNvPr id="10242" name="Picture 2" descr="http://www.conti-online.com/generator/www/com/de/continental/presseportal/img/void_uv.gif"/>
          <p:cNvPicPr>
            <a:picLocks noChangeAspect="1" noChangeArrowheads="1"/>
          </p:cNvPicPr>
          <p:nvPr/>
        </p:nvPicPr>
        <p:blipFill>
          <a:blip r:embed="rId3" cstate="print"/>
          <a:srcRect/>
          <a:stretch>
            <a:fillRect/>
          </a:stretch>
        </p:blipFill>
        <p:spPr bwMode="auto">
          <a:xfrm>
            <a:off x="0" y="0"/>
            <a:ext cx="95250" cy="95250"/>
          </a:xfrm>
          <a:prstGeom prst="rect">
            <a:avLst/>
          </a:prstGeom>
          <a:noFill/>
        </p:spPr>
      </p:pic>
      <p:pic>
        <p:nvPicPr>
          <p:cNvPr id="10243" name="Picture 3" descr="http://www.conti-online.com/generator/www/com/de/continental/presseportal/img/void_uv.gif"/>
          <p:cNvPicPr>
            <a:picLocks noChangeAspect="1" noChangeArrowheads="1"/>
          </p:cNvPicPr>
          <p:nvPr/>
        </p:nvPicPr>
        <p:blipFill>
          <a:blip r:embed="rId3" cstate="print"/>
          <a:srcRect/>
          <a:stretch>
            <a:fillRect/>
          </a:stretch>
        </p:blipFill>
        <p:spPr bwMode="auto">
          <a:xfrm>
            <a:off x="0" y="0"/>
            <a:ext cx="95250" cy="95250"/>
          </a:xfrm>
          <a:prstGeom prst="rect">
            <a:avLst/>
          </a:prstGeom>
          <a:noFill/>
        </p:spPr>
      </p:pic>
      <p:pic>
        <p:nvPicPr>
          <p:cNvPr id="10244" name="Picture 4" descr="http://www.conti-online.com/generator/www/com/de/continental/presseportal/img/void_uv.gif"/>
          <p:cNvPicPr>
            <a:picLocks noChangeAspect="1" noChangeArrowheads="1"/>
          </p:cNvPicPr>
          <p:nvPr/>
        </p:nvPicPr>
        <p:blipFill>
          <a:blip r:embed="rId3" cstate="print"/>
          <a:srcRect/>
          <a:stretch>
            <a:fillRect/>
          </a:stretch>
        </p:blipFill>
        <p:spPr bwMode="auto">
          <a:xfrm>
            <a:off x="0" y="0"/>
            <a:ext cx="95250" cy="95250"/>
          </a:xfrm>
          <a:prstGeom prst="rect">
            <a:avLst/>
          </a:prstGeom>
          <a:noFill/>
        </p:spPr>
      </p:pic>
      <p:pic>
        <p:nvPicPr>
          <p:cNvPr id="10245" name="Picture 5" descr="http://www.conti-online.com/generator/www/com/de/continental/presseportal/img/void_uv.gif"/>
          <p:cNvPicPr>
            <a:picLocks noChangeAspect="1" noChangeArrowheads="1"/>
          </p:cNvPicPr>
          <p:nvPr/>
        </p:nvPicPr>
        <p:blipFill>
          <a:blip r:embed="rId3" cstate="print"/>
          <a:srcRect/>
          <a:stretch>
            <a:fillRect/>
          </a:stretch>
        </p:blipFill>
        <p:spPr bwMode="auto">
          <a:xfrm>
            <a:off x="0" y="0"/>
            <a:ext cx="95250" cy="95250"/>
          </a:xfrm>
          <a:prstGeom prst="rect">
            <a:avLst/>
          </a:prstGeom>
          <a:noFill/>
        </p:spPr>
      </p:pic>
      <p:pic>
        <p:nvPicPr>
          <p:cNvPr id="10246" name="Picture 6" descr="http://www.conti-online.com/generator/www/com/de/continental/presseportal/img/void_uv.gif"/>
          <p:cNvPicPr>
            <a:picLocks noChangeAspect="1" noChangeArrowheads="1"/>
          </p:cNvPicPr>
          <p:nvPr/>
        </p:nvPicPr>
        <p:blipFill>
          <a:blip r:embed="rId3" cstate="print"/>
          <a:srcRect/>
          <a:stretch>
            <a:fillRect/>
          </a:stretch>
        </p:blipFill>
        <p:spPr bwMode="auto">
          <a:xfrm>
            <a:off x="0" y="0"/>
            <a:ext cx="95250" cy="95250"/>
          </a:xfrm>
          <a:prstGeom prst="rect">
            <a:avLst/>
          </a:prstGeom>
          <a:noFill/>
        </p:spPr>
      </p:pic>
      <p:pic>
        <p:nvPicPr>
          <p:cNvPr id="10247" name="Picture 7" descr="http://www.conti-online.com/generator/www/com/de/continental/presseportal/img/void_uv.gif"/>
          <p:cNvPicPr>
            <a:picLocks noChangeAspect="1" noChangeArrowheads="1"/>
          </p:cNvPicPr>
          <p:nvPr/>
        </p:nvPicPr>
        <p:blipFill>
          <a:blip r:embed="rId3" cstate="print"/>
          <a:srcRect/>
          <a:stretch>
            <a:fillRect/>
          </a:stretch>
        </p:blipFill>
        <p:spPr bwMode="auto">
          <a:xfrm>
            <a:off x="0" y="0"/>
            <a:ext cx="95250" cy="95250"/>
          </a:xfrm>
          <a:prstGeom prst="rect">
            <a:avLst/>
          </a:prstGeom>
          <a:noFill/>
        </p:spPr>
      </p:pic>
      <p:pic>
        <p:nvPicPr>
          <p:cNvPr id="10248" name="Picture 8" descr="http://www.conti-online.com/generator/www/com/de/continental/presseportal/img/void_uv.gif"/>
          <p:cNvPicPr>
            <a:picLocks noChangeAspect="1" noChangeArrowheads="1"/>
          </p:cNvPicPr>
          <p:nvPr/>
        </p:nvPicPr>
        <p:blipFill>
          <a:blip r:embed="rId3" cstate="print"/>
          <a:srcRect/>
          <a:stretch>
            <a:fillRect/>
          </a:stretch>
        </p:blipFill>
        <p:spPr bwMode="auto">
          <a:xfrm>
            <a:off x="0" y="0"/>
            <a:ext cx="95250" cy="95250"/>
          </a:xfrm>
          <a:prstGeom prst="rect">
            <a:avLst/>
          </a:prstGeom>
          <a:noFill/>
        </p:spPr>
      </p:pic>
      <p:grpSp>
        <p:nvGrpSpPr>
          <p:cNvPr id="3" name="Gruppieren 651"/>
          <p:cNvGrpSpPr/>
          <p:nvPr/>
        </p:nvGrpSpPr>
        <p:grpSpPr>
          <a:xfrm>
            <a:off x="768124" y="1831448"/>
            <a:ext cx="7438761" cy="3678478"/>
            <a:chOff x="797446" y="2207364"/>
            <a:chExt cx="7378994" cy="3678478"/>
          </a:xfrm>
          <a:solidFill>
            <a:schemeClr val="bg1">
              <a:lumMod val="75000"/>
            </a:schemeClr>
          </a:solidFill>
          <a:effectLst>
            <a:outerShdw blurRad="50800" dist="38100" dir="2700000" algn="tl" rotWithShape="0">
              <a:prstClr val="black">
                <a:alpha val="40000"/>
              </a:prstClr>
            </a:outerShdw>
          </a:effectLst>
        </p:grpSpPr>
        <p:grpSp>
          <p:nvGrpSpPr>
            <p:cNvPr id="4" name="Gruppieren 401"/>
            <p:cNvGrpSpPr/>
            <p:nvPr/>
          </p:nvGrpSpPr>
          <p:grpSpPr>
            <a:xfrm>
              <a:off x="797448" y="2207362"/>
              <a:ext cx="7378994" cy="3678477"/>
              <a:chOff x="103194" y="1500172"/>
              <a:chExt cx="8755080" cy="4359290"/>
            </a:xfrm>
            <a:grpFill/>
          </p:grpSpPr>
          <p:grpSp>
            <p:nvGrpSpPr>
              <p:cNvPr id="5" name="Group 2"/>
              <p:cNvGrpSpPr>
                <a:grpSpLocks/>
              </p:cNvGrpSpPr>
              <p:nvPr/>
            </p:nvGrpSpPr>
            <p:grpSpPr bwMode="auto">
              <a:xfrm>
                <a:off x="103194" y="1500172"/>
                <a:ext cx="8755080" cy="4359290"/>
                <a:chOff x="65" y="702"/>
                <a:chExt cx="5628" cy="2746"/>
              </a:xfrm>
              <a:grpFill/>
            </p:grpSpPr>
            <p:sp>
              <p:nvSpPr>
                <p:cNvPr id="281" name="Zimbabwe"/>
                <p:cNvSpPr>
                  <a:spLocks/>
                </p:cNvSpPr>
                <p:nvPr/>
              </p:nvSpPr>
              <p:spPr bwMode="gray">
                <a:xfrm>
                  <a:off x="3108" y="2632"/>
                  <a:ext cx="141" cy="141"/>
                </a:xfrm>
                <a:custGeom>
                  <a:avLst/>
                  <a:gdLst>
                    <a:gd name="T0" fmla="*/ 2147483647 w 552"/>
                    <a:gd name="T1" fmla="*/ 2147483647 h 552"/>
                    <a:gd name="T2" fmla="*/ 2147483647 w 552"/>
                    <a:gd name="T3" fmla="*/ 2147483647 h 552"/>
                    <a:gd name="T4" fmla="*/ 2147483647 w 552"/>
                    <a:gd name="T5" fmla="*/ 2147483647 h 552"/>
                    <a:gd name="T6" fmla="*/ 2147483647 w 552"/>
                    <a:gd name="T7" fmla="*/ 2147483647 h 552"/>
                    <a:gd name="T8" fmla="*/ 2147483647 w 552"/>
                    <a:gd name="T9" fmla="*/ 2147483647 h 552"/>
                    <a:gd name="T10" fmla="*/ 2147483647 w 552"/>
                    <a:gd name="T11" fmla="*/ 2147483647 h 552"/>
                    <a:gd name="T12" fmla="*/ 2147483647 w 552"/>
                    <a:gd name="T13" fmla="*/ 2147483647 h 552"/>
                    <a:gd name="T14" fmla="*/ 2147483647 w 552"/>
                    <a:gd name="T15" fmla="*/ 2147483647 h 552"/>
                    <a:gd name="T16" fmla="*/ 2147483647 w 552"/>
                    <a:gd name="T17" fmla="*/ 2147483647 h 552"/>
                    <a:gd name="T18" fmla="*/ 2147483647 w 552"/>
                    <a:gd name="T19" fmla="*/ 2147483647 h 552"/>
                    <a:gd name="T20" fmla="*/ 2147483647 w 552"/>
                    <a:gd name="T21" fmla="*/ 2147483647 h 552"/>
                    <a:gd name="T22" fmla="*/ 2147483647 w 552"/>
                    <a:gd name="T23" fmla="*/ 2147483647 h 552"/>
                    <a:gd name="T24" fmla="*/ 2147483647 w 552"/>
                    <a:gd name="T25" fmla="*/ 2147483647 h 552"/>
                    <a:gd name="T26" fmla="*/ 2147483647 w 552"/>
                    <a:gd name="T27" fmla="*/ 2147483647 h 552"/>
                    <a:gd name="T28" fmla="*/ 2147483647 w 552"/>
                    <a:gd name="T29" fmla="*/ 2147483647 h 552"/>
                    <a:gd name="T30" fmla="*/ 2147483647 w 552"/>
                    <a:gd name="T31" fmla="*/ 2147483647 h 552"/>
                    <a:gd name="T32" fmla="*/ 2147483647 w 552"/>
                    <a:gd name="T33" fmla="*/ 2147483647 h 552"/>
                    <a:gd name="T34" fmla="*/ 2147483647 w 552"/>
                    <a:gd name="T35" fmla="*/ 2147483647 h 552"/>
                    <a:gd name="T36" fmla="*/ 2147483647 w 552"/>
                    <a:gd name="T37" fmla="*/ 2147483647 h 552"/>
                    <a:gd name="T38" fmla="*/ 2147483647 w 552"/>
                    <a:gd name="T39" fmla="*/ 2147483647 h 552"/>
                    <a:gd name="T40" fmla="*/ 2147483647 w 552"/>
                    <a:gd name="T41" fmla="*/ 2147483647 h 552"/>
                    <a:gd name="T42" fmla="*/ 2147483647 w 552"/>
                    <a:gd name="T43" fmla="*/ 2147483647 h 552"/>
                    <a:gd name="T44" fmla="*/ 2147483647 w 552"/>
                    <a:gd name="T45" fmla="*/ 2147483647 h 552"/>
                    <a:gd name="T46" fmla="*/ 2147483647 w 552"/>
                    <a:gd name="T47" fmla="*/ 2147483647 h 552"/>
                    <a:gd name="T48" fmla="*/ 2147483647 w 552"/>
                    <a:gd name="T49" fmla="*/ 2147483647 h 552"/>
                    <a:gd name="T50" fmla="*/ 2147483647 w 552"/>
                    <a:gd name="T51" fmla="*/ 2147483647 h 552"/>
                    <a:gd name="T52" fmla="*/ 2147483647 w 552"/>
                    <a:gd name="T53" fmla="*/ 2147483647 h 552"/>
                    <a:gd name="T54" fmla="*/ 2147483647 w 552"/>
                    <a:gd name="T55" fmla="*/ 2147483647 h 552"/>
                    <a:gd name="T56" fmla="*/ 2147483647 w 552"/>
                    <a:gd name="T57" fmla="*/ 2147483647 h 552"/>
                    <a:gd name="T58" fmla="*/ 2147483647 w 552"/>
                    <a:gd name="T59" fmla="*/ 2147483647 h 552"/>
                    <a:gd name="T60" fmla="*/ 2147483647 w 552"/>
                    <a:gd name="T61" fmla="*/ 2147483647 h 552"/>
                    <a:gd name="T62" fmla="*/ 2147483647 w 552"/>
                    <a:gd name="T63" fmla="*/ 2147483647 h 552"/>
                    <a:gd name="T64" fmla="*/ 2147483647 w 552"/>
                    <a:gd name="T65" fmla="*/ 2147483647 h 552"/>
                    <a:gd name="T66" fmla="*/ 2147483647 w 552"/>
                    <a:gd name="T67" fmla="*/ 2147483647 h 552"/>
                    <a:gd name="T68" fmla="*/ 2147483647 w 552"/>
                    <a:gd name="T69" fmla="*/ 2147483647 h 552"/>
                    <a:gd name="T70" fmla="*/ 2147483647 w 552"/>
                    <a:gd name="T71" fmla="*/ 2147483647 h 552"/>
                    <a:gd name="T72" fmla="*/ 2147483647 w 552"/>
                    <a:gd name="T73" fmla="*/ 2147483647 h 552"/>
                    <a:gd name="T74" fmla="*/ 2147483647 w 552"/>
                    <a:gd name="T75" fmla="*/ 0 h 552"/>
                    <a:gd name="T76" fmla="*/ 2147483647 w 552"/>
                    <a:gd name="T77" fmla="*/ 2147483647 h 552"/>
                    <a:gd name="T78" fmla="*/ 2147483647 w 552"/>
                    <a:gd name="T79" fmla="*/ 2147483647 h 552"/>
                    <a:gd name="T80" fmla="*/ 2147483647 w 552"/>
                    <a:gd name="T81" fmla="*/ 2147483647 h 552"/>
                    <a:gd name="T82" fmla="*/ 2147483647 w 552"/>
                    <a:gd name="T83" fmla="*/ 2147483647 h 552"/>
                    <a:gd name="T84" fmla="*/ 2147483647 w 552"/>
                    <a:gd name="T85" fmla="*/ 2147483647 h 552"/>
                    <a:gd name="T86" fmla="*/ 2147483647 w 552"/>
                    <a:gd name="T87" fmla="*/ 2147483647 h 552"/>
                    <a:gd name="T88" fmla="*/ 2147483647 w 552"/>
                    <a:gd name="T89" fmla="*/ 2147483647 h 552"/>
                    <a:gd name="T90" fmla="*/ 2147483647 w 552"/>
                    <a:gd name="T91" fmla="*/ 2147483647 h 552"/>
                    <a:gd name="T92" fmla="*/ 2147483647 w 552"/>
                    <a:gd name="T93" fmla="*/ 2147483647 h 552"/>
                    <a:gd name="T94" fmla="*/ 2147483647 w 552"/>
                    <a:gd name="T95" fmla="*/ 2147483647 h 552"/>
                    <a:gd name="T96" fmla="*/ 2147483647 w 552"/>
                    <a:gd name="T97" fmla="*/ 2147483647 h 552"/>
                    <a:gd name="T98" fmla="*/ 2147483647 w 552"/>
                    <a:gd name="T99" fmla="*/ 2147483647 h 552"/>
                    <a:gd name="T100" fmla="*/ 2147483647 w 552"/>
                    <a:gd name="T101" fmla="*/ 2147483647 h 552"/>
                    <a:gd name="T102" fmla="*/ 2147483647 w 552"/>
                    <a:gd name="T103" fmla="*/ 2147483647 h 55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52"/>
                    <a:gd name="T157" fmla="*/ 0 h 552"/>
                    <a:gd name="T158" fmla="*/ 552 w 552"/>
                    <a:gd name="T159" fmla="*/ 552 h 55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52" h="552">
                      <a:moveTo>
                        <a:pt x="18" y="204"/>
                      </a:moveTo>
                      <a:lnTo>
                        <a:pt x="18" y="234"/>
                      </a:lnTo>
                      <a:lnTo>
                        <a:pt x="30" y="234"/>
                      </a:lnTo>
                      <a:lnTo>
                        <a:pt x="36" y="240"/>
                      </a:lnTo>
                      <a:lnTo>
                        <a:pt x="48" y="264"/>
                      </a:lnTo>
                      <a:lnTo>
                        <a:pt x="54" y="270"/>
                      </a:lnTo>
                      <a:lnTo>
                        <a:pt x="54" y="294"/>
                      </a:lnTo>
                      <a:lnTo>
                        <a:pt x="72" y="330"/>
                      </a:lnTo>
                      <a:lnTo>
                        <a:pt x="84" y="336"/>
                      </a:lnTo>
                      <a:lnTo>
                        <a:pt x="102" y="354"/>
                      </a:lnTo>
                      <a:lnTo>
                        <a:pt x="132" y="354"/>
                      </a:lnTo>
                      <a:lnTo>
                        <a:pt x="138" y="360"/>
                      </a:lnTo>
                      <a:lnTo>
                        <a:pt x="138" y="390"/>
                      </a:lnTo>
                      <a:lnTo>
                        <a:pt x="168" y="390"/>
                      </a:lnTo>
                      <a:lnTo>
                        <a:pt x="174" y="414"/>
                      </a:lnTo>
                      <a:lnTo>
                        <a:pt x="168" y="420"/>
                      </a:lnTo>
                      <a:lnTo>
                        <a:pt x="168" y="450"/>
                      </a:lnTo>
                      <a:lnTo>
                        <a:pt x="186" y="450"/>
                      </a:lnTo>
                      <a:lnTo>
                        <a:pt x="186" y="480"/>
                      </a:lnTo>
                      <a:lnTo>
                        <a:pt x="198" y="480"/>
                      </a:lnTo>
                      <a:lnTo>
                        <a:pt x="216" y="486"/>
                      </a:lnTo>
                      <a:lnTo>
                        <a:pt x="228" y="486"/>
                      </a:lnTo>
                      <a:lnTo>
                        <a:pt x="246" y="492"/>
                      </a:lnTo>
                      <a:lnTo>
                        <a:pt x="264" y="510"/>
                      </a:lnTo>
                      <a:lnTo>
                        <a:pt x="270" y="522"/>
                      </a:lnTo>
                      <a:lnTo>
                        <a:pt x="270" y="528"/>
                      </a:lnTo>
                      <a:lnTo>
                        <a:pt x="252" y="528"/>
                      </a:lnTo>
                      <a:lnTo>
                        <a:pt x="312" y="528"/>
                      </a:lnTo>
                      <a:lnTo>
                        <a:pt x="324" y="534"/>
                      </a:lnTo>
                      <a:lnTo>
                        <a:pt x="330" y="534"/>
                      </a:lnTo>
                      <a:lnTo>
                        <a:pt x="342" y="540"/>
                      </a:lnTo>
                      <a:lnTo>
                        <a:pt x="402" y="540"/>
                      </a:lnTo>
                      <a:lnTo>
                        <a:pt x="420" y="552"/>
                      </a:lnTo>
                      <a:lnTo>
                        <a:pt x="486" y="468"/>
                      </a:lnTo>
                      <a:lnTo>
                        <a:pt x="504" y="462"/>
                      </a:lnTo>
                      <a:lnTo>
                        <a:pt x="492" y="444"/>
                      </a:lnTo>
                      <a:lnTo>
                        <a:pt x="504" y="432"/>
                      </a:lnTo>
                      <a:lnTo>
                        <a:pt x="504" y="402"/>
                      </a:lnTo>
                      <a:lnTo>
                        <a:pt x="516" y="396"/>
                      </a:lnTo>
                      <a:lnTo>
                        <a:pt x="528" y="384"/>
                      </a:lnTo>
                      <a:lnTo>
                        <a:pt x="528" y="372"/>
                      </a:lnTo>
                      <a:lnTo>
                        <a:pt x="540" y="360"/>
                      </a:lnTo>
                      <a:lnTo>
                        <a:pt x="546" y="348"/>
                      </a:lnTo>
                      <a:lnTo>
                        <a:pt x="546" y="342"/>
                      </a:lnTo>
                      <a:lnTo>
                        <a:pt x="522" y="318"/>
                      </a:lnTo>
                      <a:lnTo>
                        <a:pt x="522" y="306"/>
                      </a:lnTo>
                      <a:lnTo>
                        <a:pt x="540" y="288"/>
                      </a:lnTo>
                      <a:lnTo>
                        <a:pt x="522" y="264"/>
                      </a:lnTo>
                      <a:lnTo>
                        <a:pt x="540" y="252"/>
                      </a:lnTo>
                      <a:lnTo>
                        <a:pt x="540" y="240"/>
                      </a:lnTo>
                      <a:lnTo>
                        <a:pt x="546" y="240"/>
                      </a:lnTo>
                      <a:lnTo>
                        <a:pt x="546" y="234"/>
                      </a:lnTo>
                      <a:lnTo>
                        <a:pt x="552" y="228"/>
                      </a:lnTo>
                      <a:lnTo>
                        <a:pt x="552" y="216"/>
                      </a:lnTo>
                      <a:lnTo>
                        <a:pt x="540" y="192"/>
                      </a:lnTo>
                      <a:lnTo>
                        <a:pt x="540" y="180"/>
                      </a:lnTo>
                      <a:lnTo>
                        <a:pt x="546" y="174"/>
                      </a:lnTo>
                      <a:lnTo>
                        <a:pt x="546" y="168"/>
                      </a:lnTo>
                      <a:lnTo>
                        <a:pt x="552" y="162"/>
                      </a:lnTo>
                      <a:lnTo>
                        <a:pt x="540" y="150"/>
                      </a:lnTo>
                      <a:lnTo>
                        <a:pt x="552" y="138"/>
                      </a:lnTo>
                      <a:lnTo>
                        <a:pt x="540" y="120"/>
                      </a:lnTo>
                      <a:lnTo>
                        <a:pt x="546" y="114"/>
                      </a:lnTo>
                      <a:lnTo>
                        <a:pt x="552" y="102"/>
                      </a:lnTo>
                      <a:lnTo>
                        <a:pt x="552" y="96"/>
                      </a:lnTo>
                      <a:lnTo>
                        <a:pt x="540" y="84"/>
                      </a:lnTo>
                      <a:lnTo>
                        <a:pt x="528" y="84"/>
                      </a:lnTo>
                      <a:lnTo>
                        <a:pt x="510" y="66"/>
                      </a:lnTo>
                      <a:lnTo>
                        <a:pt x="498" y="66"/>
                      </a:lnTo>
                      <a:lnTo>
                        <a:pt x="486" y="72"/>
                      </a:lnTo>
                      <a:lnTo>
                        <a:pt x="480" y="72"/>
                      </a:lnTo>
                      <a:lnTo>
                        <a:pt x="462" y="48"/>
                      </a:lnTo>
                      <a:lnTo>
                        <a:pt x="444" y="48"/>
                      </a:lnTo>
                      <a:lnTo>
                        <a:pt x="432" y="30"/>
                      </a:lnTo>
                      <a:lnTo>
                        <a:pt x="372" y="30"/>
                      </a:lnTo>
                      <a:lnTo>
                        <a:pt x="366" y="0"/>
                      </a:lnTo>
                      <a:lnTo>
                        <a:pt x="330" y="0"/>
                      </a:lnTo>
                      <a:lnTo>
                        <a:pt x="294" y="12"/>
                      </a:lnTo>
                      <a:lnTo>
                        <a:pt x="282" y="24"/>
                      </a:lnTo>
                      <a:lnTo>
                        <a:pt x="258" y="36"/>
                      </a:lnTo>
                      <a:lnTo>
                        <a:pt x="258" y="72"/>
                      </a:lnTo>
                      <a:lnTo>
                        <a:pt x="252" y="78"/>
                      </a:lnTo>
                      <a:lnTo>
                        <a:pt x="240" y="78"/>
                      </a:lnTo>
                      <a:lnTo>
                        <a:pt x="228" y="84"/>
                      </a:lnTo>
                      <a:lnTo>
                        <a:pt x="210" y="90"/>
                      </a:lnTo>
                      <a:lnTo>
                        <a:pt x="198" y="96"/>
                      </a:lnTo>
                      <a:lnTo>
                        <a:pt x="192" y="102"/>
                      </a:lnTo>
                      <a:lnTo>
                        <a:pt x="180" y="126"/>
                      </a:lnTo>
                      <a:lnTo>
                        <a:pt x="174" y="132"/>
                      </a:lnTo>
                      <a:lnTo>
                        <a:pt x="174" y="138"/>
                      </a:lnTo>
                      <a:lnTo>
                        <a:pt x="168" y="144"/>
                      </a:lnTo>
                      <a:lnTo>
                        <a:pt x="162" y="156"/>
                      </a:lnTo>
                      <a:lnTo>
                        <a:pt x="132" y="186"/>
                      </a:lnTo>
                      <a:lnTo>
                        <a:pt x="108" y="198"/>
                      </a:lnTo>
                      <a:lnTo>
                        <a:pt x="90" y="198"/>
                      </a:lnTo>
                      <a:lnTo>
                        <a:pt x="90" y="192"/>
                      </a:lnTo>
                      <a:lnTo>
                        <a:pt x="78" y="180"/>
                      </a:lnTo>
                      <a:lnTo>
                        <a:pt x="66" y="180"/>
                      </a:lnTo>
                      <a:lnTo>
                        <a:pt x="66" y="192"/>
                      </a:lnTo>
                      <a:lnTo>
                        <a:pt x="54" y="192"/>
                      </a:lnTo>
                      <a:lnTo>
                        <a:pt x="42" y="180"/>
                      </a:lnTo>
                      <a:lnTo>
                        <a:pt x="42" y="174"/>
                      </a:lnTo>
                      <a:lnTo>
                        <a:pt x="0" y="174"/>
                      </a:lnTo>
                      <a:lnTo>
                        <a:pt x="6" y="192"/>
                      </a:lnTo>
                      <a:lnTo>
                        <a:pt x="18" y="204"/>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282" name="Zambia"/>
                <p:cNvSpPr>
                  <a:spLocks/>
                </p:cNvSpPr>
                <p:nvPr/>
              </p:nvSpPr>
              <p:spPr bwMode="gray">
                <a:xfrm>
                  <a:off x="3051" y="2478"/>
                  <a:ext cx="213" cy="204"/>
                </a:xfrm>
                <a:custGeom>
                  <a:avLst/>
                  <a:gdLst>
                    <a:gd name="T0" fmla="*/ 2147483647 w 834"/>
                    <a:gd name="T1" fmla="*/ 2147483647 h 798"/>
                    <a:gd name="T2" fmla="*/ 2147483647 w 834"/>
                    <a:gd name="T3" fmla="*/ 2147483647 h 798"/>
                    <a:gd name="T4" fmla="*/ 2147483647 w 834"/>
                    <a:gd name="T5" fmla="*/ 2147483647 h 798"/>
                    <a:gd name="T6" fmla="*/ 2147483647 w 834"/>
                    <a:gd name="T7" fmla="*/ 2147483647 h 798"/>
                    <a:gd name="T8" fmla="*/ 2147483647 w 834"/>
                    <a:gd name="T9" fmla="*/ 2147483647 h 798"/>
                    <a:gd name="T10" fmla="*/ 2147483647 w 834"/>
                    <a:gd name="T11" fmla="*/ 2147483647 h 798"/>
                    <a:gd name="T12" fmla="*/ 2147483647 w 834"/>
                    <a:gd name="T13" fmla="*/ 2147483647 h 798"/>
                    <a:gd name="T14" fmla="*/ 2147483647 w 834"/>
                    <a:gd name="T15" fmla="*/ 2147483647 h 798"/>
                    <a:gd name="T16" fmla="*/ 2147483647 w 834"/>
                    <a:gd name="T17" fmla="*/ 2147483647 h 798"/>
                    <a:gd name="T18" fmla="*/ 2147483647 w 834"/>
                    <a:gd name="T19" fmla="*/ 2147483647 h 798"/>
                    <a:gd name="T20" fmla="*/ 2147483647 w 834"/>
                    <a:gd name="T21" fmla="*/ 2147483647 h 798"/>
                    <a:gd name="T22" fmla="*/ 2147483647 w 834"/>
                    <a:gd name="T23" fmla="*/ 2147483647 h 798"/>
                    <a:gd name="T24" fmla="*/ 2147483647 w 834"/>
                    <a:gd name="T25" fmla="*/ 2147483647 h 798"/>
                    <a:gd name="T26" fmla="*/ 2147483647 w 834"/>
                    <a:gd name="T27" fmla="*/ 2147483647 h 798"/>
                    <a:gd name="T28" fmla="*/ 2147483647 w 834"/>
                    <a:gd name="T29" fmla="*/ 2147483647 h 798"/>
                    <a:gd name="T30" fmla="*/ 2147483647 w 834"/>
                    <a:gd name="T31" fmla="*/ 2147483647 h 798"/>
                    <a:gd name="T32" fmla="*/ 2147483647 w 834"/>
                    <a:gd name="T33" fmla="*/ 2147483647 h 798"/>
                    <a:gd name="T34" fmla="*/ 2147483647 w 834"/>
                    <a:gd name="T35" fmla="*/ 2147483647 h 798"/>
                    <a:gd name="T36" fmla="*/ 2147483647 w 834"/>
                    <a:gd name="T37" fmla="*/ 2147483647 h 798"/>
                    <a:gd name="T38" fmla="*/ 2147483647 w 834"/>
                    <a:gd name="T39" fmla="*/ 2147483647 h 798"/>
                    <a:gd name="T40" fmla="*/ 2147483647 w 834"/>
                    <a:gd name="T41" fmla="*/ 2147483647 h 798"/>
                    <a:gd name="T42" fmla="*/ 2147483647 w 834"/>
                    <a:gd name="T43" fmla="*/ 2147483647 h 798"/>
                    <a:gd name="T44" fmla="*/ 2147483647 w 834"/>
                    <a:gd name="T45" fmla="*/ 2147483647 h 798"/>
                    <a:gd name="T46" fmla="*/ 2147483647 w 834"/>
                    <a:gd name="T47" fmla="*/ 2147483647 h 798"/>
                    <a:gd name="T48" fmla="*/ 2147483647 w 834"/>
                    <a:gd name="T49" fmla="*/ 2147483647 h 798"/>
                    <a:gd name="T50" fmla="*/ 2147483647 w 834"/>
                    <a:gd name="T51" fmla="*/ 2147483647 h 798"/>
                    <a:gd name="T52" fmla="*/ 2147483647 w 834"/>
                    <a:gd name="T53" fmla="*/ 2147483647 h 798"/>
                    <a:gd name="T54" fmla="*/ 2147483647 w 834"/>
                    <a:gd name="T55" fmla="*/ 2147483647 h 798"/>
                    <a:gd name="T56" fmla="*/ 2147483647 w 834"/>
                    <a:gd name="T57" fmla="*/ 2147483647 h 798"/>
                    <a:gd name="T58" fmla="*/ 2147483647 w 834"/>
                    <a:gd name="T59" fmla="*/ 2147483647 h 798"/>
                    <a:gd name="T60" fmla="*/ 2147483647 w 834"/>
                    <a:gd name="T61" fmla="*/ 2147483647 h 798"/>
                    <a:gd name="T62" fmla="*/ 2147483647 w 834"/>
                    <a:gd name="T63" fmla="*/ 2147483647 h 798"/>
                    <a:gd name="T64" fmla="*/ 2147483647 w 834"/>
                    <a:gd name="T65" fmla="*/ 2147483647 h 798"/>
                    <a:gd name="T66" fmla="*/ 2147483647 w 834"/>
                    <a:gd name="T67" fmla="*/ 2147483647 h 798"/>
                    <a:gd name="T68" fmla="*/ 2147483647 w 834"/>
                    <a:gd name="T69" fmla="*/ 2147483647 h 798"/>
                    <a:gd name="T70" fmla="*/ 2147483647 w 834"/>
                    <a:gd name="T71" fmla="*/ 2147483647 h 798"/>
                    <a:gd name="T72" fmla="*/ 2147483647 w 834"/>
                    <a:gd name="T73" fmla="*/ 2147483647 h 798"/>
                    <a:gd name="T74" fmla="*/ 2147483647 w 834"/>
                    <a:gd name="T75" fmla="*/ 2147483647 h 798"/>
                    <a:gd name="T76" fmla="*/ 2147483647 w 834"/>
                    <a:gd name="T77" fmla="*/ 2147483647 h 798"/>
                    <a:gd name="T78" fmla="*/ 2147483647 w 834"/>
                    <a:gd name="T79" fmla="*/ 2147483647 h 798"/>
                    <a:gd name="T80" fmla="*/ 2147483647 w 834"/>
                    <a:gd name="T81" fmla="*/ 2147483647 h 798"/>
                    <a:gd name="T82" fmla="*/ 2147483647 w 834"/>
                    <a:gd name="T83" fmla="*/ 2147483647 h 798"/>
                    <a:gd name="T84" fmla="*/ 2147483647 w 834"/>
                    <a:gd name="T85" fmla="*/ 2147483647 h 798"/>
                    <a:gd name="T86" fmla="*/ 2147483647 w 834"/>
                    <a:gd name="T87" fmla="*/ 2147483647 h 798"/>
                    <a:gd name="T88" fmla="*/ 2147483647 w 834"/>
                    <a:gd name="T89" fmla="*/ 2147483647 h 798"/>
                    <a:gd name="T90" fmla="*/ 2147483647 w 834"/>
                    <a:gd name="T91" fmla="*/ 2147483647 h 798"/>
                    <a:gd name="T92" fmla="*/ 2147483647 w 834"/>
                    <a:gd name="T93" fmla="*/ 2147483647 h 798"/>
                    <a:gd name="T94" fmla="*/ 2147483647 w 834"/>
                    <a:gd name="T95" fmla="*/ 2147483647 h 798"/>
                    <a:gd name="T96" fmla="*/ 2147483647 w 834"/>
                    <a:gd name="T97" fmla="*/ 2147483647 h 798"/>
                    <a:gd name="T98" fmla="*/ 2147483647 w 834"/>
                    <a:gd name="T99" fmla="*/ 2147483647 h 798"/>
                    <a:gd name="T100" fmla="*/ 2147483647 w 834"/>
                    <a:gd name="T101" fmla="*/ 2147483647 h 798"/>
                    <a:gd name="T102" fmla="*/ 2147483647 w 834"/>
                    <a:gd name="T103" fmla="*/ 2147483647 h 798"/>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834"/>
                    <a:gd name="T157" fmla="*/ 0 h 798"/>
                    <a:gd name="T158" fmla="*/ 834 w 834"/>
                    <a:gd name="T159" fmla="*/ 798 h 798"/>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834" h="798">
                      <a:moveTo>
                        <a:pt x="822" y="186"/>
                      </a:moveTo>
                      <a:lnTo>
                        <a:pt x="822" y="162"/>
                      </a:lnTo>
                      <a:lnTo>
                        <a:pt x="816" y="168"/>
                      </a:lnTo>
                      <a:lnTo>
                        <a:pt x="810" y="168"/>
                      </a:lnTo>
                      <a:lnTo>
                        <a:pt x="810" y="126"/>
                      </a:lnTo>
                      <a:lnTo>
                        <a:pt x="798" y="114"/>
                      </a:lnTo>
                      <a:lnTo>
                        <a:pt x="786" y="114"/>
                      </a:lnTo>
                      <a:lnTo>
                        <a:pt x="786" y="102"/>
                      </a:lnTo>
                      <a:lnTo>
                        <a:pt x="768" y="90"/>
                      </a:lnTo>
                      <a:lnTo>
                        <a:pt x="750" y="90"/>
                      </a:lnTo>
                      <a:lnTo>
                        <a:pt x="750" y="72"/>
                      </a:lnTo>
                      <a:lnTo>
                        <a:pt x="738" y="78"/>
                      </a:lnTo>
                      <a:lnTo>
                        <a:pt x="726" y="78"/>
                      </a:lnTo>
                      <a:lnTo>
                        <a:pt x="708" y="60"/>
                      </a:lnTo>
                      <a:lnTo>
                        <a:pt x="690" y="60"/>
                      </a:lnTo>
                      <a:lnTo>
                        <a:pt x="684" y="54"/>
                      </a:lnTo>
                      <a:lnTo>
                        <a:pt x="684" y="36"/>
                      </a:lnTo>
                      <a:lnTo>
                        <a:pt x="672" y="42"/>
                      </a:lnTo>
                      <a:lnTo>
                        <a:pt x="654" y="42"/>
                      </a:lnTo>
                      <a:lnTo>
                        <a:pt x="648" y="54"/>
                      </a:lnTo>
                      <a:lnTo>
                        <a:pt x="642" y="60"/>
                      </a:lnTo>
                      <a:lnTo>
                        <a:pt x="636" y="60"/>
                      </a:lnTo>
                      <a:lnTo>
                        <a:pt x="624" y="48"/>
                      </a:lnTo>
                      <a:lnTo>
                        <a:pt x="624" y="36"/>
                      </a:lnTo>
                      <a:lnTo>
                        <a:pt x="618" y="30"/>
                      </a:lnTo>
                      <a:lnTo>
                        <a:pt x="606" y="30"/>
                      </a:lnTo>
                      <a:lnTo>
                        <a:pt x="600" y="24"/>
                      </a:lnTo>
                      <a:lnTo>
                        <a:pt x="594" y="24"/>
                      </a:lnTo>
                      <a:lnTo>
                        <a:pt x="594" y="6"/>
                      </a:lnTo>
                      <a:lnTo>
                        <a:pt x="600" y="0"/>
                      </a:lnTo>
                      <a:lnTo>
                        <a:pt x="576" y="12"/>
                      </a:lnTo>
                      <a:lnTo>
                        <a:pt x="558" y="12"/>
                      </a:lnTo>
                      <a:lnTo>
                        <a:pt x="546" y="18"/>
                      </a:lnTo>
                      <a:lnTo>
                        <a:pt x="528" y="18"/>
                      </a:lnTo>
                      <a:lnTo>
                        <a:pt x="510" y="24"/>
                      </a:lnTo>
                      <a:lnTo>
                        <a:pt x="498" y="24"/>
                      </a:lnTo>
                      <a:lnTo>
                        <a:pt x="498" y="54"/>
                      </a:lnTo>
                      <a:lnTo>
                        <a:pt x="480" y="72"/>
                      </a:lnTo>
                      <a:lnTo>
                        <a:pt x="468" y="78"/>
                      </a:lnTo>
                      <a:lnTo>
                        <a:pt x="462" y="84"/>
                      </a:lnTo>
                      <a:lnTo>
                        <a:pt x="456" y="84"/>
                      </a:lnTo>
                      <a:lnTo>
                        <a:pt x="468" y="96"/>
                      </a:lnTo>
                      <a:lnTo>
                        <a:pt x="468" y="102"/>
                      </a:lnTo>
                      <a:lnTo>
                        <a:pt x="474" y="108"/>
                      </a:lnTo>
                      <a:lnTo>
                        <a:pt x="474" y="114"/>
                      </a:lnTo>
                      <a:lnTo>
                        <a:pt x="480" y="120"/>
                      </a:lnTo>
                      <a:lnTo>
                        <a:pt x="480" y="144"/>
                      </a:lnTo>
                      <a:lnTo>
                        <a:pt x="486" y="162"/>
                      </a:lnTo>
                      <a:lnTo>
                        <a:pt x="486" y="216"/>
                      </a:lnTo>
                      <a:lnTo>
                        <a:pt x="474" y="228"/>
                      </a:lnTo>
                      <a:lnTo>
                        <a:pt x="468" y="240"/>
                      </a:lnTo>
                      <a:lnTo>
                        <a:pt x="462" y="258"/>
                      </a:lnTo>
                      <a:lnTo>
                        <a:pt x="456" y="270"/>
                      </a:lnTo>
                      <a:lnTo>
                        <a:pt x="456" y="294"/>
                      </a:lnTo>
                      <a:lnTo>
                        <a:pt x="468" y="306"/>
                      </a:lnTo>
                      <a:lnTo>
                        <a:pt x="474" y="306"/>
                      </a:lnTo>
                      <a:lnTo>
                        <a:pt x="474" y="312"/>
                      </a:lnTo>
                      <a:lnTo>
                        <a:pt x="480" y="312"/>
                      </a:lnTo>
                      <a:lnTo>
                        <a:pt x="510" y="342"/>
                      </a:lnTo>
                      <a:lnTo>
                        <a:pt x="522" y="348"/>
                      </a:lnTo>
                      <a:lnTo>
                        <a:pt x="528" y="348"/>
                      </a:lnTo>
                      <a:lnTo>
                        <a:pt x="534" y="342"/>
                      </a:lnTo>
                      <a:lnTo>
                        <a:pt x="534" y="324"/>
                      </a:lnTo>
                      <a:lnTo>
                        <a:pt x="558" y="324"/>
                      </a:lnTo>
                      <a:lnTo>
                        <a:pt x="558" y="372"/>
                      </a:lnTo>
                      <a:lnTo>
                        <a:pt x="552" y="408"/>
                      </a:lnTo>
                      <a:lnTo>
                        <a:pt x="546" y="426"/>
                      </a:lnTo>
                      <a:lnTo>
                        <a:pt x="540" y="426"/>
                      </a:lnTo>
                      <a:lnTo>
                        <a:pt x="540" y="420"/>
                      </a:lnTo>
                      <a:lnTo>
                        <a:pt x="534" y="408"/>
                      </a:lnTo>
                      <a:lnTo>
                        <a:pt x="516" y="420"/>
                      </a:lnTo>
                      <a:lnTo>
                        <a:pt x="498" y="420"/>
                      </a:lnTo>
                      <a:lnTo>
                        <a:pt x="498" y="408"/>
                      </a:lnTo>
                      <a:lnTo>
                        <a:pt x="492" y="396"/>
                      </a:lnTo>
                      <a:lnTo>
                        <a:pt x="492" y="384"/>
                      </a:lnTo>
                      <a:lnTo>
                        <a:pt x="480" y="372"/>
                      </a:lnTo>
                      <a:lnTo>
                        <a:pt x="468" y="372"/>
                      </a:lnTo>
                      <a:lnTo>
                        <a:pt x="462" y="360"/>
                      </a:lnTo>
                      <a:lnTo>
                        <a:pt x="462" y="354"/>
                      </a:lnTo>
                      <a:lnTo>
                        <a:pt x="456" y="342"/>
                      </a:lnTo>
                      <a:lnTo>
                        <a:pt x="450" y="336"/>
                      </a:lnTo>
                      <a:lnTo>
                        <a:pt x="444" y="336"/>
                      </a:lnTo>
                      <a:lnTo>
                        <a:pt x="438" y="342"/>
                      </a:lnTo>
                      <a:lnTo>
                        <a:pt x="426" y="342"/>
                      </a:lnTo>
                      <a:lnTo>
                        <a:pt x="426" y="330"/>
                      </a:lnTo>
                      <a:lnTo>
                        <a:pt x="420" y="324"/>
                      </a:lnTo>
                      <a:lnTo>
                        <a:pt x="390" y="324"/>
                      </a:lnTo>
                      <a:lnTo>
                        <a:pt x="390" y="312"/>
                      </a:lnTo>
                      <a:lnTo>
                        <a:pt x="396" y="312"/>
                      </a:lnTo>
                      <a:lnTo>
                        <a:pt x="396" y="300"/>
                      </a:lnTo>
                      <a:lnTo>
                        <a:pt x="384" y="300"/>
                      </a:lnTo>
                      <a:lnTo>
                        <a:pt x="378" y="294"/>
                      </a:lnTo>
                      <a:lnTo>
                        <a:pt x="378" y="282"/>
                      </a:lnTo>
                      <a:lnTo>
                        <a:pt x="366" y="270"/>
                      </a:lnTo>
                      <a:lnTo>
                        <a:pt x="360" y="270"/>
                      </a:lnTo>
                      <a:lnTo>
                        <a:pt x="354" y="276"/>
                      </a:lnTo>
                      <a:lnTo>
                        <a:pt x="354" y="294"/>
                      </a:lnTo>
                      <a:lnTo>
                        <a:pt x="348" y="300"/>
                      </a:lnTo>
                      <a:lnTo>
                        <a:pt x="348" y="306"/>
                      </a:lnTo>
                      <a:lnTo>
                        <a:pt x="330" y="306"/>
                      </a:lnTo>
                      <a:lnTo>
                        <a:pt x="300" y="300"/>
                      </a:lnTo>
                      <a:lnTo>
                        <a:pt x="264" y="294"/>
                      </a:lnTo>
                      <a:lnTo>
                        <a:pt x="246" y="282"/>
                      </a:lnTo>
                      <a:lnTo>
                        <a:pt x="240" y="276"/>
                      </a:lnTo>
                      <a:lnTo>
                        <a:pt x="234" y="264"/>
                      </a:lnTo>
                      <a:lnTo>
                        <a:pt x="234" y="246"/>
                      </a:lnTo>
                      <a:lnTo>
                        <a:pt x="192" y="252"/>
                      </a:lnTo>
                      <a:lnTo>
                        <a:pt x="198" y="258"/>
                      </a:lnTo>
                      <a:lnTo>
                        <a:pt x="198" y="264"/>
                      </a:lnTo>
                      <a:lnTo>
                        <a:pt x="180" y="264"/>
                      </a:lnTo>
                      <a:lnTo>
                        <a:pt x="174" y="258"/>
                      </a:lnTo>
                      <a:lnTo>
                        <a:pt x="174" y="228"/>
                      </a:lnTo>
                      <a:lnTo>
                        <a:pt x="156" y="228"/>
                      </a:lnTo>
                      <a:lnTo>
                        <a:pt x="150" y="216"/>
                      </a:lnTo>
                      <a:lnTo>
                        <a:pt x="144" y="234"/>
                      </a:lnTo>
                      <a:lnTo>
                        <a:pt x="144" y="240"/>
                      </a:lnTo>
                      <a:lnTo>
                        <a:pt x="156" y="252"/>
                      </a:lnTo>
                      <a:lnTo>
                        <a:pt x="156" y="270"/>
                      </a:lnTo>
                      <a:lnTo>
                        <a:pt x="150" y="276"/>
                      </a:lnTo>
                      <a:lnTo>
                        <a:pt x="144" y="276"/>
                      </a:lnTo>
                      <a:lnTo>
                        <a:pt x="144" y="330"/>
                      </a:lnTo>
                      <a:lnTo>
                        <a:pt x="156" y="342"/>
                      </a:lnTo>
                      <a:lnTo>
                        <a:pt x="138" y="348"/>
                      </a:lnTo>
                      <a:lnTo>
                        <a:pt x="138" y="354"/>
                      </a:lnTo>
                      <a:lnTo>
                        <a:pt x="144" y="360"/>
                      </a:lnTo>
                      <a:lnTo>
                        <a:pt x="144" y="384"/>
                      </a:lnTo>
                      <a:lnTo>
                        <a:pt x="132" y="396"/>
                      </a:lnTo>
                      <a:lnTo>
                        <a:pt x="126" y="396"/>
                      </a:lnTo>
                      <a:lnTo>
                        <a:pt x="0" y="390"/>
                      </a:lnTo>
                      <a:lnTo>
                        <a:pt x="0" y="642"/>
                      </a:lnTo>
                      <a:lnTo>
                        <a:pt x="6" y="654"/>
                      </a:lnTo>
                      <a:lnTo>
                        <a:pt x="6" y="672"/>
                      </a:lnTo>
                      <a:lnTo>
                        <a:pt x="96" y="762"/>
                      </a:lnTo>
                      <a:lnTo>
                        <a:pt x="114" y="768"/>
                      </a:lnTo>
                      <a:lnTo>
                        <a:pt x="138" y="756"/>
                      </a:lnTo>
                      <a:lnTo>
                        <a:pt x="144" y="756"/>
                      </a:lnTo>
                      <a:lnTo>
                        <a:pt x="150" y="750"/>
                      </a:lnTo>
                      <a:lnTo>
                        <a:pt x="168" y="750"/>
                      </a:lnTo>
                      <a:lnTo>
                        <a:pt x="174" y="756"/>
                      </a:lnTo>
                      <a:lnTo>
                        <a:pt x="174" y="762"/>
                      </a:lnTo>
                      <a:lnTo>
                        <a:pt x="204" y="756"/>
                      </a:lnTo>
                      <a:lnTo>
                        <a:pt x="222" y="774"/>
                      </a:lnTo>
                      <a:lnTo>
                        <a:pt x="264" y="774"/>
                      </a:lnTo>
                      <a:lnTo>
                        <a:pt x="264" y="780"/>
                      </a:lnTo>
                      <a:lnTo>
                        <a:pt x="276" y="792"/>
                      </a:lnTo>
                      <a:lnTo>
                        <a:pt x="288" y="792"/>
                      </a:lnTo>
                      <a:lnTo>
                        <a:pt x="288" y="780"/>
                      </a:lnTo>
                      <a:lnTo>
                        <a:pt x="300" y="780"/>
                      </a:lnTo>
                      <a:lnTo>
                        <a:pt x="312" y="792"/>
                      </a:lnTo>
                      <a:lnTo>
                        <a:pt x="312" y="798"/>
                      </a:lnTo>
                      <a:lnTo>
                        <a:pt x="330" y="798"/>
                      </a:lnTo>
                      <a:lnTo>
                        <a:pt x="354" y="786"/>
                      </a:lnTo>
                      <a:lnTo>
                        <a:pt x="384" y="756"/>
                      </a:lnTo>
                      <a:lnTo>
                        <a:pt x="390" y="744"/>
                      </a:lnTo>
                      <a:lnTo>
                        <a:pt x="396" y="738"/>
                      </a:lnTo>
                      <a:lnTo>
                        <a:pt x="396" y="732"/>
                      </a:lnTo>
                      <a:lnTo>
                        <a:pt x="402" y="726"/>
                      </a:lnTo>
                      <a:lnTo>
                        <a:pt x="414" y="702"/>
                      </a:lnTo>
                      <a:lnTo>
                        <a:pt x="420" y="696"/>
                      </a:lnTo>
                      <a:lnTo>
                        <a:pt x="432" y="690"/>
                      </a:lnTo>
                      <a:lnTo>
                        <a:pt x="450" y="684"/>
                      </a:lnTo>
                      <a:lnTo>
                        <a:pt x="462" y="678"/>
                      </a:lnTo>
                      <a:lnTo>
                        <a:pt x="474" y="678"/>
                      </a:lnTo>
                      <a:lnTo>
                        <a:pt x="480" y="672"/>
                      </a:lnTo>
                      <a:lnTo>
                        <a:pt x="480" y="636"/>
                      </a:lnTo>
                      <a:lnTo>
                        <a:pt x="504" y="624"/>
                      </a:lnTo>
                      <a:lnTo>
                        <a:pt x="516" y="612"/>
                      </a:lnTo>
                      <a:lnTo>
                        <a:pt x="552" y="600"/>
                      </a:lnTo>
                      <a:lnTo>
                        <a:pt x="588" y="600"/>
                      </a:lnTo>
                      <a:lnTo>
                        <a:pt x="588" y="576"/>
                      </a:lnTo>
                      <a:lnTo>
                        <a:pt x="570" y="558"/>
                      </a:lnTo>
                      <a:lnTo>
                        <a:pt x="582" y="546"/>
                      </a:lnTo>
                      <a:lnTo>
                        <a:pt x="612" y="546"/>
                      </a:lnTo>
                      <a:lnTo>
                        <a:pt x="630" y="528"/>
                      </a:lnTo>
                      <a:lnTo>
                        <a:pt x="642" y="528"/>
                      </a:lnTo>
                      <a:lnTo>
                        <a:pt x="654" y="522"/>
                      </a:lnTo>
                      <a:lnTo>
                        <a:pt x="672" y="522"/>
                      </a:lnTo>
                      <a:lnTo>
                        <a:pt x="690" y="516"/>
                      </a:lnTo>
                      <a:lnTo>
                        <a:pt x="702" y="510"/>
                      </a:lnTo>
                      <a:lnTo>
                        <a:pt x="708" y="510"/>
                      </a:lnTo>
                      <a:lnTo>
                        <a:pt x="732" y="498"/>
                      </a:lnTo>
                      <a:lnTo>
                        <a:pt x="750" y="486"/>
                      </a:lnTo>
                      <a:lnTo>
                        <a:pt x="762" y="480"/>
                      </a:lnTo>
                      <a:lnTo>
                        <a:pt x="780" y="474"/>
                      </a:lnTo>
                      <a:lnTo>
                        <a:pt x="786" y="468"/>
                      </a:lnTo>
                      <a:lnTo>
                        <a:pt x="792" y="468"/>
                      </a:lnTo>
                      <a:lnTo>
                        <a:pt x="780" y="462"/>
                      </a:lnTo>
                      <a:lnTo>
                        <a:pt x="768" y="450"/>
                      </a:lnTo>
                      <a:lnTo>
                        <a:pt x="756" y="444"/>
                      </a:lnTo>
                      <a:lnTo>
                        <a:pt x="756" y="438"/>
                      </a:lnTo>
                      <a:lnTo>
                        <a:pt x="762" y="432"/>
                      </a:lnTo>
                      <a:lnTo>
                        <a:pt x="768" y="420"/>
                      </a:lnTo>
                      <a:lnTo>
                        <a:pt x="774" y="414"/>
                      </a:lnTo>
                      <a:lnTo>
                        <a:pt x="780" y="402"/>
                      </a:lnTo>
                      <a:lnTo>
                        <a:pt x="774" y="366"/>
                      </a:lnTo>
                      <a:lnTo>
                        <a:pt x="780" y="366"/>
                      </a:lnTo>
                      <a:lnTo>
                        <a:pt x="786" y="360"/>
                      </a:lnTo>
                      <a:lnTo>
                        <a:pt x="798" y="354"/>
                      </a:lnTo>
                      <a:lnTo>
                        <a:pt x="816" y="336"/>
                      </a:lnTo>
                      <a:lnTo>
                        <a:pt x="816" y="330"/>
                      </a:lnTo>
                      <a:lnTo>
                        <a:pt x="804" y="330"/>
                      </a:lnTo>
                      <a:lnTo>
                        <a:pt x="804" y="258"/>
                      </a:lnTo>
                      <a:lnTo>
                        <a:pt x="810" y="240"/>
                      </a:lnTo>
                      <a:lnTo>
                        <a:pt x="798" y="234"/>
                      </a:lnTo>
                      <a:lnTo>
                        <a:pt x="798" y="216"/>
                      </a:lnTo>
                      <a:lnTo>
                        <a:pt x="804" y="216"/>
                      </a:lnTo>
                      <a:lnTo>
                        <a:pt x="810" y="210"/>
                      </a:lnTo>
                      <a:lnTo>
                        <a:pt x="834" y="198"/>
                      </a:lnTo>
                      <a:lnTo>
                        <a:pt x="834" y="186"/>
                      </a:lnTo>
                      <a:lnTo>
                        <a:pt x="822" y="186"/>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283" name="Yemen"/>
                <p:cNvSpPr>
                  <a:spLocks/>
                </p:cNvSpPr>
                <p:nvPr/>
              </p:nvSpPr>
              <p:spPr bwMode="gray">
                <a:xfrm>
                  <a:off x="3422" y="1918"/>
                  <a:ext cx="187" cy="128"/>
                </a:xfrm>
                <a:custGeom>
                  <a:avLst/>
                  <a:gdLst>
                    <a:gd name="T0" fmla="*/ 2147483647 w 732"/>
                    <a:gd name="T1" fmla="*/ 2147483647 h 498"/>
                    <a:gd name="T2" fmla="*/ 2147483647 w 732"/>
                    <a:gd name="T3" fmla="*/ 2147483647 h 498"/>
                    <a:gd name="T4" fmla="*/ 2147483647 w 732"/>
                    <a:gd name="T5" fmla="*/ 2147483647 h 498"/>
                    <a:gd name="T6" fmla="*/ 2147483647 w 732"/>
                    <a:gd name="T7" fmla="*/ 2147483647 h 498"/>
                    <a:gd name="T8" fmla="*/ 2147483647 w 732"/>
                    <a:gd name="T9" fmla="*/ 2147483647 h 498"/>
                    <a:gd name="T10" fmla="*/ 2147483647 w 732"/>
                    <a:gd name="T11" fmla="*/ 2147483647 h 498"/>
                    <a:gd name="T12" fmla="*/ 2147483647 w 732"/>
                    <a:gd name="T13" fmla="*/ 2147483647 h 498"/>
                    <a:gd name="T14" fmla="*/ 2147483647 w 732"/>
                    <a:gd name="T15" fmla="*/ 2147483647 h 498"/>
                    <a:gd name="T16" fmla="*/ 2147483647 w 732"/>
                    <a:gd name="T17" fmla="*/ 2147483647 h 498"/>
                    <a:gd name="T18" fmla="*/ 2147483647 w 732"/>
                    <a:gd name="T19" fmla="*/ 2147483647 h 498"/>
                    <a:gd name="T20" fmla="*/ 2147483647 w 732"/>
                    <a:gd name="T21" fmla="*/ 2147483647 h 498"/>
                    <a:gd name="T22" fmla="*/ 2147483647 w 732"/>
                    <a:gd name="T23" fmla="*/ 2147483647 h 498"/>
                    <a:gd name="T24" fmla="*/ 2147483647 w 732"/>
                    <a:gd name="T25" fmla="*/ 2147483647 h 498"/>
                    <a:gd name="T26" fmla="*/ 2147483647 w 732"/>
                    <a:gd name="T27" fmla="*/ 2147483647 h 498"/>
                    <a:gd name="T28" fmla="*/ 2147483647 w 732"/>
                    <a:gd name="T29" fmla="*/ 2147483647 h 498"/>
                    <a:gd name="T30" fmla="*/ 0 w 732"/>
                    <a:gd name="T31" fmla="*/ 2147483647 h 498"/>
                    <a:gd name="T32" fmla="*/ 2147483647 w 732"/>
                    <a:gd name="T33" fmla="*/ 2147483647 h 498"/>
                    <a:gd name="T34" fmla="*/ 2147483647 w 732"/>
                    <a:gd name="T35" fmla="*/ 2147483647 h 498"/>
                    <a:gd name="T36" fmla="*/ 2147483647 w 732"/>
                    <a:gd name="T37" fmla="*/ 2147483647 h 498"/>
                    <a:gd name="T38" fmla="*/ 2147483647 w 732"/>
                    <a:gd name="T39" fmla="*/ 2147483647 h 498"/>
                    <a:gd name="T40" fmla="*/ 2147483647 w 732"/>
                    <a:gd name="T41" fmla="*/ 2147483647 h 498"/>
                    <a:gd name="T42" fmla="*/ 2147483647 w 732"/>
                    <a:gd name="T43" fmla="*/ 2147483647 h 498"/>
                    <a:gd name="T44" fmla="*/ 2147483647 w 732"/>
                    <a:gd name="T45" fmla="*/ 2147483647 h 498"/>
                    <a:gd name="T46" fmla="*/ 2147483647 w 732"/>
                    <a:gd name="T47" fmla="*/ 2147483647 h 498"/>
                    <a:gd name="T48" fmla="*/ 2147483647 w 732"/>
                    <a:gd name="T49" fmla="*/ 2147483647 h 498"/>
                    <a:gd name="T50" fmla="*/ 2147483647 w 732"/>
                    <a:gd name="T51" fmla="*/ 2147483647 h 498"/>
                    <a:gd name="T52" fmla="*/ 2147483647 w 732"/>
                    <a:gd name="T53" fmla="*/ 2147483647 h 498"/>
                    <a:gd name="T54" fmla="*/ 2147483647 w 732"/>
                    <a:gd name="T55" fmla="*/ 2147483647 h 498"/>
                    <a:gd name="T56" fmla="*/ 2147483647 w 732"/>
                    <a:gd name="T57" fmla="*/ 2147483647 h 498"/>
                    <a:gd name="T58" fmla="*/ 2147483647 w 732"/>
                    <a:gd name="T59" fmla="*/ 2147483647 h 498"/>
                    <a:gd name="T60" fmla="*/ 2147483647 w 732"/>
                    <a:gd name="T61" fmla="*/ 2147483647 h 498"/>
                    <a:gd name="T62" fmla="*/ 2147483647 w 732"/>
                    <a:gd name="T63" fmla="*/ 2147483647 h 498"/>
                    <a:gd name="T64" fmla="*/ 2147483647 w 732"/>
                    <a:gd name="T65" fmla="*/ 2147483647 h 498"/>
                    <a:gd name="T66" fmla="*/ 2147483647 w 732"/>
                    <a:gd name="T67" fmla="*/ 2147483647 h 498"/>
                    <a:gd name="T68" fmla="*/ 2147483647 w 732"/>
                    <a:gd name="T69" fmla="*/ 2147483647 h 498"/>
                    <a:gd name="T70" fmla="*/ 2147483647 w 732"/>
                    <a:gd name="T71" fmla="*/ 2147483647 h 498"/>
                    <a:gd name="T72" fmla="*/ 2147483647 w 732"/>
                    <a:gd name="T73" fmla="*/ 2147483647 h 498"/>
                    <a:gd name="T74" fmla="*/ 2147483647 w 732"/>
                    <a:gd name="T75" fmla="*/ 2147483647 h 498"/>
                    <a:gd name="T76" fmla="*/ 2147483647 w 732"/>
                    <a:gd name="T77" fmla="*/ 0 h 498"/>
                    <a:gd name="T78" fmla="*/ 2147483647 w 732"/>
                    <a:gd name="T79" fmla="*/ 2147483647 h 498"/>
                    <a:gd name="T80" fmla="*/ 2147483647 w 732"/>
                    <a:gd name="T81" fmla="*/ 2147483647 h 4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732"/>
                    <a:gd name="T124" fmla="*/ 0 h 498"/>
                    <a:gd name="T125" fmla="*/ 732 w 732"/>
                    <a:gd name="T126" fmla="*/ 498 h 49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732" h="498">
                      <a:moveTo>
                        <a:pt x="468" y="24"/>
                      </a:moveTo>
                      <a:lnTo>
                        <a:pt x="450" y="30"/>
                      </a:lnTo>
                      <a:lnTo>
                        <a:pt x="420" y="36"/>
                      </a:lnTo>
                      <a:lnTo>
                        <a:pt x="390" y="54"/>
                      </a:lnTo>
                      <a:lnTo>
                        <a:pt x="372" y="72"/>
                      </a:lnTo>
                      <a:lnTo>
                        <a:pt x="366" y="84"/>
                      </a:lnTo>
                      <a:lnTo>
                        <a:pt x="354" y="96"/>
                      </a:lnTo>
                      <a:lnTo>
                        <a:pt x="348" y="108"/>
                      </a:lnTo>
                      <a:lnTo>
                        <a:pt x="342" y="114"/>
                      </a:lnTo>
                      <a:lnTo>
                        <a:pt x="336" y="126"/>
                      </a:lnTo>
                      <a:lnTo>
                        <a:pt x="336" y="144"/>
                      </a:lnTo>
                      <a:lnTo>
                        <a:pt x="330" y="150"/>
                      </a:lnTo>
                      <a:lnTo>
                        <a:pt x="324" y="162"/>
                      </a:lnTo>
                      <a:lnTo>
                        <a:pt x="312" y="162"/>
                      </a:lnTo>
                      <a:lnTo>
                        <a:pt x="300" y="156"/>
                      </a:lnTo>
                      <a:lnTo>
                        <a:pt x="294" y="144"/>
                      </a:lnTo>
                      <a:lnTo>
                        <a:pt x="288" y="138"/>
                      </a:lnTo>
                      <a:lnTo>
                        <a:pt x="210" y="138"/>
                      </a:lnTo>
                      <a:lnTo>
                        <a:pt x="204" y="132"/>
                      </a:lnTo>
                      <a:lnTo>
                        <a:pt x="192" y="126"/>
                      </a:lnTo>
                      <a:lnTo>
                        <a:pt x="102" y="126"/>
                      </a:lnTo>
                      <a:lnTo>
                        <a:pt x="96" y="132"/>
                      </a:lnTo>
                      <a:lnTo>
                        <a:pt x="72" y="138"/>
                      </a:lnTo>
                      <a:lnTo>
                        <a:pt x="54" y="120"/>
                      </a:lnTo>
                      <a:lnTo>
                        <a:pt x="48" y="120"/>
                      </a:lnTo>
                      <a:lnTo>
                        <a:pt x="42" y="126"/>
                      </a:lnTo>
                      <a:lnTo>
                        <a:pt x="36" y="138"/>
                      </a:lnTo>
                      <a:lnTo>
                        <a:pt x="36" y="186"/>
                      </a:lnTo>
                      <a:lnTo>
                        <a:pt x="30" y="192"/>
                      </a:lnTo>
                      <a:lnTo>
                        <a:pt x="24" y="204"/>
                      </a:lnTo>
                      <a:lnTo>
                        <a:pt x="12" y="216"/>
                      </a:lnTo>
                      <a:lnTo>
                        <a:pt x="0" y="252"/>
                      </a:lnTo>
                      <a:lnTo>
                        <a:pt x="0" y="258"/>
                      </a:lnTo>
                      <a:lnTo>
                        <a:pt x="18" y="276"/>
                      </a:lnTo>
                      <a:lnTo>
                        <a:pt x="24" y="288"/>
                      </a:lnTo>
                      <a:lnTo>
                        <a:pt x="36" y="294"/>
                      </a:lnTo>
                      <a:lnTo>
                        <a:pt x="24" y="408"/>
                      </a:lnTo>
                      <a:lnTo>
                        <a:pt x="54" y="444"/>
                      </a:lnTo>
                      <a:lnTo>
                        <a:pt x="54" y="456"/>
                      </a:lnTo>
                      <a:lnTo>
                        <a:pt x="60" y="468"/>
                      </a:lnTo>
                      <a:lnTo>
                        <a:pt x="78" y="486"/>
                      </a:lnTo>
                      <a:lnTo>
                        <a:pt x="90" y="492"/>
                      </a:lnTo>
                      <a:lnTo>
                        <a:pt x="114" y="498"/>
                      </a:lnTo>
                      <a:lnTo>
                        <a:pt x="132" y="498"/>
                      </a:lnTo>
                      <a:lnTo>
                        <a:pt x="150" y="492"/>
                      </a:lnTo>
                      <a:lnTo>
                        <a:pt x="162" y="486"/>
                      </a:lnTo>
                      <a:lnTo>
                        <a:pt x="168" y="480"/>
                      </a:lnTo>
                      <a:lnTo>
                        <a:pt x="186" y="444"/>
                      </a:lnTo>
                      <a:lnTo>
                        <a:pt x="198" y="432"/>
                      </a:lnTo>
                      <a:lnTo>
                        <a:pt x="210" y="432"/>
                      </a:lnTo>
                      <a:lnTo>
                        <a:pt x="228" y="438"/>
                      </a:lnTo>
                      <a:lnTo>
                        <a:pt x="270" y="438"/>
                      </a:lnTo>
                      <a:lnTo>
                        <a:pt x="324" y="432"/>
                      </a:lnTo>
                      <a:lnTo>
                        <a:pt x="366" y="426"/>
                      </a:lnTo>
                      <a:lnTo>
                        <a:pt x="390" y="414"/>
                      </a:lnTo>
                      <a:lnTo>
                        <a:pt x="402" y="402"/>
                      </a:lnTo>
                      <a:lnTo>
                        <a:pt x="414" y="384"/>
                      </a:lnTo>
                      <a:lnTo>
                        <a:pt x="426" y="372"/>
                      </a:lnTo>
                      <a:lnTo>
                        <a:pt x="450" y="360"/>
                      </a:lnTo>
                      <a:lnTo>
                        <a:pt x="462" y="348"/>
                      </a:lnTo>
                      <a:lnTo>
                        <a:pt x="474" y="342"/>
                      </a:lnTo>
                      <a:lnTo>
                        <a:pt x="486" y="330"/>
                      </a:lnTo>
                      <a:lnTo>
                        <a:pt x="504" y="324"/>
                      </a:lnTo>
                      <a:lnTo>
                        <a:pt x="528" y="312"/>
                      </a:lnTo>
                      <a:lnTo>
                        <a:pt x="546" y="306"/>
                      </a:lnTo>
                      <a:lnTo>
                        <a:pt x="558" y="294"/>
                      </a:lnTo>
                      <a:lnTo>
                        <a:pt x="594" y="276"/>
                      </a:lnTo>
                      <a:lnTo>
                        <a:pt x="666" y="276"/>
                      </a:lnTo>
                      <a:lnTo>
                        <a:pt x="666" y="270"/>
                      </a:lnTo>
                      <a:lnTo>
                        <a:pt x="672" y="264"/>
                      </a:lnTo>
                      <a:lnTo>
                        <a:pt x="684" y="240"/>
                      </a:lnTo>
                      <a:lnTo>
                        <a:pt x="690" y="222"/>
                      </a:lnTo>
                      <a:lnTo>
                        <a:pt x="702" y="210"/>
                      </a:lnTo>
                      <a:lnTo>
                        <a:pt x="708" y="198"/>
                      </a:lnTo>
                      <a:lnTo>
                        <a:pt x="720" y="192"/>
                      </a:lnTo>
                      <a:lnTo>
                        <a:pt x="720" y="186"/>
                      </a:lnTo>
                      <a:lnTo>
                        <a:pt x="732" y="186"/>
                      </a:lnTo>
                      <a:lnTo>
                        <a:pt x="648" y="0"/>
                      </a:lnTo>
                      <a:lnTo>
                        <a:pt x="630" y="0"/>
                      </a:lnTo>
                      <a:lnTo>
                        <a:pt x="588" y="6"/>
                      </a:lnTo>
                      <a:lnTo>
                        <a:pt x="540" y="18"/>
                      </a:lnTo>
                      <a:lnTo>
                        <a:pt x="492" y="24"/>
                      </a:lnTo>
                      <a:lnTo>
                        <a:pt x="468" y="24"/>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284" name="Western Sahara"/>
                <p:cNvSpPr>
                  <a:spLocks/>
                </p:cNvSpPr>
                <p:nvPr/>
              </p:nvSpPr>
              <p:spPr bwMode="gray">
                <a:xfrm>
                  <a:off x="2353" y="1740"/>
                  <a:ext cx="153" cy="131"/>
                </a:xfrm>
                <a:custGeom>
                  <a:avLst/>
                  <a:gdLst>
                    <a:gd name="T0" fmla="*/ 2147483647 w 600"/>
                    <a:gd name="T1" fmla="*/ 0 h 510"/>
                    <a:gd name="T2" fmla="*/ 2147483647 w 600"/>
                    <a:gd name="T3" fmla="*/ 0 h 510"/>
                    <a:gd name="T4" fmla="*/ 2147483647 w 600"/>
                    <a:gd name="T5" fmla="*/ 2147483647 h 510"/>
                    <a:gd name="T6" fmla="*/ 2147483647 w 600"/>
                    <a:gd name="T7" fmla="*/ 2147483647 h 510"/>
                    <a:gd name="T8" fmla="*/ 2147483647 w 600"/>
                    <a:gd name="T9" fmla="*/ 2147483647 h 510"/>
                    <a:gd name="T10" fmla="*/ 2147483647 w 600"/>
                    <a:gd name="T11" fmla="*/ 2147483647 h 510"/>
                    <a:gd name="T12" fmla="*/ 2147483647 w 600"/>
                    <a:gd name="T13" fmla="*/ 2147483647 h 510"/>
                    <a:gd name="T14" fmla="*/ 2147483647 w 600"/>
                    <a:gd name="T15" fmla="*/ 2147483647 h 510"/>
                    <a:gd name="T16" fmla="*/ 2147483647 w 600"/>
                    <a:gd name="T17" fmla="*/ 2147483647 h 510"/>
                    <a:gd name="T18" fmla="*/ 2147483647 w 600"/>
                    <a:gd name="T19" fmla="*/ 2147483647 h 510"/>
                    <a:gd name="T20" fmla="*/ 2147483647 w 600"/>
                    <a:gd name="T21" fmla="*/ 2147483647 h 510"/>
                    <a:gd name="T22" fmla="*/ 2147483647 w 600"/>
                    <a:gd name="T23" fmla="*/ 2147483647 h 510"/>
                    <a:gd name="T24" fmla="*/ 2147483647 w 600"/>
                    <a:gd name="T25" fmla="*/ 2147483647 h 510"/>
                    <a:gd name="T26" fmla="*/ 2147483647 w 600"/>
                    <a:gd name="T27" fmla="*/ 2147483647 h 510"/>
                    <a:gd name="T28" fmla="*/ 2147483647 w 600"/>
                    <a:gd name="T29" fmla="*/ 2147483647 h 510"/>
                    <a:gd name="T30" fmla="*/ 2147483647 w 600"/>
                    <a:gd name="T31" fmla="*/ 2147483647 h 510"/>
                    <a:gd name="T32" fmla="*/ 2147483647 w 600"/>
                    <a:gd name="T33" fmla="*/ 2147483647 h 510"/>
                    <a:gd name="T34" fmla="*/ 2147483647 w 600"/>
                    <a:gd name="T35" fmla="*/ 2147483647 h 510"/>
                    <a:gd name="T36" fmla="*/ 2147483647 w 600"/>
                    <a:gd name="T37" fmla="*/ 2147483647 h 510"/>
                    <a:gd name="T38" fmla="*/ 2147483647 w 600"/>
                    <a:gd name="T39" fmla="*/ 2147483647 h 510"/>
                    <a:gd name="T40" fmla="*/ 2147483647 w 600"/>
                    <a:gd name="T41" fmla="*/ 2147483647 h 510"/>
                    <a:gd name="T42" fmla="*/ 2147483647 w 600"/>
                    <a:gd name="T43" fmla="*/ 2147483647 h 510"/>
                    <a:gd name="T44" fmla="*/ 2147483647 w 600"/>
                    <a:gd name="T45" fmla="*/ 2147483647 h 510"/>
                    <a:gd name="T46" fmla="*/ 2147483647 w 600"/>
                    <a:gd name="T47" fmla="*/ 2147483647 h 510"/>
                    <a:gd name="T48" fmla="*/ 2147483647 w 600"/>
                    <a:gd name="T49" fmla="*/ 2147483647 h 510"/>
                    <a:gd name="T50" fmla="*/ 2147483647 w 600"/>
                    <a:gd name="T51" fmla="*/ 2147483647 h 510"/>
                    <a:gd name="T52" fmla="*/ 2147483647 w 600"/>
                    <a:gd name="T53" fmla="*/ 2147483647 h 510"/>
                    <a:gd name="T54" fmla="*/ 2147483647 w 600"/>
                    <a:gd name="T55" fmla="*/ 2147483647 h 510"/>
                    <a:gd name="T56" fmla="*/ 2147483647 w 600"/>
                    <a:gd name="T57" fmla="*/ 2147483647 h 510"/>
                    <a:gd name="T58" fmla="*/ 2147483647 w 600"/>
                    <a:gd name="T59" fmla="*/ 2147483647 h 510"/>
                    <a:gd name="T60" fmla="*/ 2147483647 w 600"/>
                    <a:gd name="T61" fmla="*/ 2147483647 h 510"/>
                    <a:gd name="T62" fmla="*/ 2147483647 w 600"/>
                    <a:gd name="T63" fmla="*/ 2147483647 h 510"/>
                    <a:gd name="T64" fmla="*/ 2147483647 w 600"/>
                    <a:gd name="T65" fmla="*/ 2147483647 h 510"/>
                    <a:gd name="T66" fmla="*/ 2147483647 w 600"/>
                    <a:gd name="T67" fmla="*/ 2147483647 h 510"/>
                    <a:gd name="T68" fmla="*/ 2147483647 w 600"/>
                    <a:gd name="T69" fmla="*/ 2147483647 h 510"/>
                    <a:gd name="T70" fmla="*/ 2147483647 w 600"/>
                    <a:gd name="T71" fmla="*/ 2147483647 h 510"/>
                    <a:gd name="T72" fmla="*/ 2147483647 w 600"/>
                    <a:gd name="T73" fmla="*/ 2147483647 h 510"/>
                    <a:gd name="T74" fmla="*/ 2147483647 w 600"/>
                    <a:gd name="T75" fmla="*/ 2147483647 h 510"/>
                    <a:gd name="T76" fmla="*/ 2147483647 w 600"/>
                    <a:gd name="T77" fmla="*/ 2147483647 h 510"/>
                    <a:gd name="T78" fmla="*/ 0 w 600"/>
                    <a:gd name="T79" fmla="*/ 2147483647 h 510"/>
                    <a:gd name="T80" fmla="*/ 0 w 600"/>
                    <a:gd name="T81" fmla="*/ 2147483647 h 510"/>
                    <a:gd name="T82" fmla="*/ 2147483647 w 600"/>
                    <a:gd name="T83" fmla="*/ 2147483647 h 510"/>
                    <a:gd name="T84" fmla="*/ 2147483647 w 600"/>
                    <a:gd name="T85" fmla="*/ 2147483647 h 510"/>
                    <a:gd name="T86" fmla="*/ 2147483647 w 600"/>
                    <a:gd name="T87" fmla="*/ 2147483647 h 510"/>
                    <a:gd name="T88" fmla="*/ 2147483647 w 600"/>
                    <a:gd name="T89" fmla="*/ 2147483647 h 510"/>
                    <a:gd name="T90" fmla="*/ 2147483647 w 600"/>
                    <a:gd name="T91" fmla="*/ 2147483647 h 510"/>
                    <a:gd name="T92" fmla="*/ 2147483647 w 600"/>
                    <a:gd name="T93" fmla="*/ 2147483647 h 510"/>
                    <a:gd name="T94" fmla="*/ 2147483647 w 600"/>
                    <a:gd name="T95" fmla="*/ 2147483647 h 510"/>
                    <a:gd name="T96" fmla="*/ 2147483647 w 600"/>
                    <a:gd name="T97" fmla="*/ 2147483647 h 510"/>
                    <a:gd name="T98" fmla="*/ 2147483647 w 600"/>
                    <a:gd name="T99" fmla="*/ 2147483647 h 510"/>
                    <a:gd name="T100" fmla="*/ 2147483647 w 600"/>
                    <a:gd name="T101" fmla="*/ 2147483647 h 510"/>
                    <a:gd name="T102" fmla="*/ 2147483647 w 600"/>
                    <a:gd name="T103" fmla="*/ 2147483647 h 510"/>
                    <a:gd name="T104" fmla="*/ 2147483647 w 600"/>
                    <a:gd name="T105" fmla="*/ 2147483647 h 510"/>
                    <a:gd name="T106" fmla="*/ 2147483647 w 600"/>
                    <a:gd name="T107" fmla="*/ 2147483647 h 510"/>
                    <a:gd name="T108" fmla="*/ 2147483647 w 600"/>
                    <a:gd name="T109" fmla="*/ 2147483647 h 510"/>
                    <a:gd name="T110" fmla="*/ 2147483647 w 600"/>
                    <a:gd name="T111" fmla="*/ 2147483647 h 510"/>
                    <a:gd name="T112" fmla="*/ 2147483647 w 600"/>
                    <a:gd name="T113" fmla="*/ 0 h 510"/>
                    <a:gd name="T114" fmla="*/ 2147483647 w 600"/>
                    <a:gd name="T115" fmla="*/ 0 h 51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00"/>
                    <a:gd name="T175" fmla="*/ 0 h 510"/>
                    <a:gd name="T176" fmla="*/ 600 w 600"/>
                    <a:gd name="T177" fmla="*/ 510 h 51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00" h="510">
                      <a:moveTo>
                        <a:pt x="546" y="0"/>
                      </a:moveTo>
                      <a:lnTo>
                        <a:pt x="288" y="0"/>
                      </a:lnTo>
                      <a:lnTo>
                        <a:pt x="282" y="6"/>
                      </a:lnTo>
                      <a:lnTo>
                        <a:pt x="270" y="30"/>
                      </a:lnTo>
                      <a:lnTo>
                        <a:pt x="270" y="42"/>
                      </a:lnTo>
                      <a:lnTo>
                        <a:pt x="264" y="54"/>
                      </a:lnTo>
                      <a:lnTo>
                        <a:pt x="264" y="66"/>
                      </a:lnTo>
                      <a:lnTo>
                        <a:pt x="234" y="96"/>
                      </a:lnTo>
                      <a:lnTo>
                        <a:pt x="198" y="96"/>
                      </a:lnTo>
                      <a:lnTo>
                        <a:pt x="186" y="108"/>
                      </a:lnTo>
                      <a:lnTo>
                        <a:pt x="186" y="144"/>
                      </a:lnTo>
                      <a:lnTo>
                        <a:pt x="156" y="174"/>
                      </a:lnTo>
                      <a:lnTo>
                        <a:pt x="156" y="186"/>
                      </a:lnTo>
                      <a:lnTo>
                        <a:pt x="168" y="210"/>
                      </a:lnTo>
                      <a:lnTo>
                        <a:pt x="168" y="222"/>
                      </a:lnTo>
                      <a:lnTo>
                        <a:pt x="156" y="246"/>
                      </a:lnTo>
                      <a:lnTo>
                        <a:pt x="144" y="252"/>
                      </a:lnTo>
                      <a:lnTo>
                        <a:pt x="138" y="252"/>
                      </a:lnTo>
                      <a:lnTo>
                        <a:pt x="132" y="258"/>
                      </a:lnTo>
                      <a:lnTo>
                        <a:pt x="126" y="270"/>
                      </a:lnTo>
                      <a:lnTo>
                        <a:pt x="114" y="282"/>
                      </a:lnTo>
                      <a:lnTo>
                        <a:pt x="102" y="288"/>
                      </a:lnTo>
                      <a:lnTo>
                        <a:pt x="96" y="294"/>
                      </a:lnTo>
                      <a:lnTo>
                        <a:pt x="84" y="300"/>
                      </a:lnTo>
                      <a:lnTo>
                        <a:pt x="78" y="306"/>
                      </a:lnTo>
                      <a:lnTo>
                        <a:pt x="78" y="318"/>
                      </a:lnTo>
                      <a:lnTo>
                        <a:pt x="90" y="324"/>
                      </a:lnTo>
                      <a:lnTo>
                        <a:pt x="78" y="330"/>
                      </a:lnTo>
                      <a:lnTo>
                        <a:pt x="60" y="366"/>
                      </a:lnTo>
                      <a:lnTo>
                        <a:pt x="60" y="384"/>
                      </a:lnTo>
                      <a:lnTo>
                        <a:pt x="48" y="384"/>
                      </a:lnTo>
                      <a:lnTo>
                        <a:pt x="48" y="390"/>
                      </a:lnTo>
                      <a:lnTo>
                        <a:pt x="54" y="396"/>
                      </a:lnTo>
                      <a:lnTo>
                        <a:pt x="54" y="408"/>
                      </a:lnTo>
                      <a:lnTo>
                        <a:pt x="48" y="420"/>
                      </a:lnTo>
                      <a:lnTo>
                        <a:pt x="36" y="426"/>
                      </a:lnTo>
                      <a:lnTo>
                        <a:pt x="24" y="426"/>
                      </a:lnTo>
                      <a:lnTo>
                        <a:pt x="18" y="432"/>
                      </a:lnTo>
                      <a:lnTo>
                        <a:pt x="6" y="456"/>
                      </a:lnTo>
                      <a:lnTo>
                        <a:pt x="0" y="462"/>
                      </a:lnTo>
                      <a:lnTo>
                        <a:pt x="0" y="510"/>
                      </a:lnTo>
                      <a:lnTo>
                        <a:pt x="276" y="510"/>
                      </a:lnTo>
                      <a:lnTo>
                        <a:pt x="282" y="408"/>
                      </a:lnTo>
                      <a:lnTo>
                        <a:pt x="276" y="396"/>
                      </a:lnTo>
                      <a:lnTo>
                        <a:pt x="276" y="378"/>
                      </a:lnTo>
                      <a:lnTo>
                        <a:pt x="282" y="366"/>
                      </a:lnTo>
                      <a:lnTo>
                        <a:pt x="306" y="354"/>
                      </a:lnTo>
                      <a:lnTo>
                        <a:pt x="336" y="354"/>
                      </a:lnTo>
                      <a:lnTo>
                        <a:pt x="348" y="348"/>
                      </a:lnTo>
                      <a:lnTo>
                        <a:pt x="354" y="342"/>
                      </a:lnTo>
                      <a:lnTo>
                        <a:pt x="354" y="150"/>
                      </a:lnTo>
                      <a:lnTo>
                        <a:pt x="366" y="144"/>
                      </a:lnTo>
                      <a:lnTo>
                        <a:pt x="366" y="132"/>
                      </a:lnTo>
                      <a:lnTo>
                        <a:pt x="588" y="126"/>
                      </a:lnTo>
                      <a:lnTo>
                        <a:pt x="588" y="90"/>
                      </a:lnTo>
                      <a:lnTo>
                        <a:pt x="594" y="84"/>
                      </a:lnTo>
                      <a:lnTo>
                        <a:pt x="600" y="0"/>
                      </a:lnTo>
                      <a:lnTo>
                        <a:pt x="546" y="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285" name="West Bank"/>
                <p:cNvSpPr>
                  <a:spLocks/>
                </p:cNvSpPr>
                <p:nvPr/>
              </p:nvSpPr>
              <p:spPr bwMode="gray">
                <a:xfrm>
                  <a:off x="3269" y="1641"/>
                  <a:ext cx="11" cy="24"/>
                </a:xfrm>
                <a:custGeom>
                  <a:avLst/>
                  <a:gdLst>
                    <a:gd name="T0" fmla="*/ 2147483647 w 42"/>
                    <a:gd name="T1" fmla="*/ 2147483647 h 96"/>
                    <a:gd name="T2" fmla="*/ 2147483647 w 42"/>
                    <a:gd name="T3" fmla="*/ 2147483647 h 96"/>
                    <a:gd name="T4" fmla="*/ 2147483647 w 42"/>
                    <a:gd name="T5" fmla="*/ 2147483647 h 96"/>
                    <a:gd name="T6" fmla="*/ 2147483647 w 42"/>
                    <a:gd name="T7" fmla="*/ 0 h 96"/>
                    <a:gd name="T8" fmla="*/ 2147483647 w 42"/>
                    <a:gd name="T9" fmla="*/ 0 h 96"/>
                    <a:gd name="T10" fmla="*/ 0 w 42"/>
                    <a:gd name="T11" fmla="*/ 2147483647 h 96"/>
                    <a:gd name="T12" fmla="*/ 0 w 42"/>
                    <a:gd name="T13" fmla="*/ 2147483647 h 96"/>
                    <a:gd name="T14" fmla="*/ 2147483647 w 42"/>
                    <a:gd name="T15" fmla="*/ 2147483647 h 96"/>
                    <a:gd name="T16" fmla="*/ 2147483647 w 42"/>
                    <a:gd name="T17" fmla="*/ 2147483647 h 96"/>
                    <a:gd name="T18" fmla="*/ 2147483647 w 42"/>
                    <a:gd name="T19" fmla="*/ 2147483647 h 96"/>
                    <a:gd name="T20" fmla="*/ 2147483647 w 42"/>
                    <a:gd name="T21" fmla="*/ 2147483647 h 96"/>
                    <a:gd name="T22" fmla="*/ 2147483647 w 42"/>
                    <a:gd name="T23" fmla="*/ 2147483647 h 9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2"/>
                    <a:gd name="T37" fmla="*/ 0 h 96"/>
                    <a:gd name="T38" fmla="*/ 42 w 42"/>
                    <a:gd name="T39" fmla="*/ 96 h 9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2" h="96">
                      <a:moveTo>
                        <a:pt x="24" y="78"/>
                      </a:moveTo>
                      <a:lnTo>
                        <a:pt x="30" y="84"/>
                      </a:lnTo>
                      <a:lnTo>
                        <a:pt x="42" y="72"/>
                      </a:lnTo>
                      <a:lnTo>
                        <a:pt x="36" y="0"/>
                      </a:lnTo>
                      <a:lnTo>
                        <a:pt x="18" y="0"/>
                      </a:lnTo>
                      <a:lnTo>
                        <a:pt x="0" y="18"/>
                      </a:lnTo>
                      <a:lnTo>
                        <a:pt x="0" y="90"/>
                      </a:lnTo>
                      <a:lnTo>
                        <a:pt x="6" y="96"/>
                      </a:lnTo>
                      <a:lnTo>
                        <a:pt x="12" y="90"/>
                      </a:lnTo>
                      <a:lnTo>
                        <a:pt x="18" y="90"/>
                      </a:lnTo>
                      <a:lnTo>
                        <a:pt x="18" y="84"/>
                      </a:lnTo>
                      <a:lnTo>
                        <a:pt x="24" y="78"/>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286" name="Uzbekistan"/>
                <p:cNvSpPr>
                  <a:spLocks/>
                </p:cNvSpPr>
                <p:nvPr/>
              </p:nvSpPr>
              <p:spPr bwMode="gray">
                <a:xfrm>
                  <a:off x="3586" y="1374"/>
                  <a:ext cx="303" cy="170"/>
                </a:xfrm>
                <a:custGeom>
                  <a:avLst/>
                  <a:gdLst>
                    <a:gd name="T0" fmla="*/ 2147483647 w 1182"/>
                    <a:gd name="T1" fmla="*/ 2147483647 h 666"/>
                    <a:gd name="T2" fmla="*/ 2147483647 w 1182"/>
                    <a:gd name="T3" fmla="*/ 2147483647 h 666"/>
                    <a:gd name="T4" fmla="*/ 2147483647 w 1182"/>
                    <a:gd name="T5" fmla="*/ 2147483647 h 666"/>
                    <a:gd name="T6" fmla="*/ 2147483647 w 1182"/>
                    <a:gd name="T7" fmla="*/ 2147483647 h 666"/>
                    <a:gd name="T8" fmla="*/ 2147483647 w 1182"/>
                    <a:gd name="T9" fmla="*/ 2147483647 h 666"/>
                    <a:gd name="T10" fmla="*/ 2147483647 w 1182"/>
                    <a:gd name="T11" fmla="*/ 2147483647 h 666"/>
                    <a:gd name="T12" fmla="*/ 2147483647 w 1182"/>
                    <a:gd name="T13" fmla="*/ 2147483647 h 666"/>
                    <a:gd name="T14" fmla="*/ 2147483647 w 1182"/>
                    <a:gd name="T15" fmla="*/ 2147483647 h 666"/>
                    <a:gd name="T16" fmla="*/ 2147483647 w 1182"/>
                    <a:gd name="T17" fmla="*/ 2147483647 h 666"/>
                    <a:gd name="T18" fmla="*/ 2147483647 w 1182"/>
                    <a:gd name="T19" fmla="*/ 2147483647 h 666"/>
                    <a:gd name="T20" fmla="*/ 2147483647 w 1182"/>
                    <a:gd name="T21" fmla="*/ 2147483647 h 666"/>
                    <a:gd name="T22" fmla="*/ 2147483647 w 1182"/>
                    <a:gd name="T23" fmla="*/ 2147483647 h 666"/>
                    <a:gd name="T24" fmla="*/ 2147483647 w 1182"/>
                    <a:gd name="T25" fmla="*/ 2147483647 h 666"/>
                    <a:gd name="T26" fmla="*/ 2147483647 w 1182"/>
                    <a:gd name="T27" fmla="*/ 2147483647 h 666"/>
                    <a:gd name="T28" fmla="*/ 2147483647 w 1182"/>
                    <a:gd name="T29" fmla="*/ 2147483647 h 666"/>
                    <a:gd name="T30" fmla="*/ 2147483647 w 1182"/>
                    <a:gd name="T31" fmla="*/ 2147483647 h 666"/>
                    <a:gd name="T32" fmla="*/ 2147483647 w 1182"/>
                    <a:gd name="T33" fmla="*/ 2147483647 h 666"/>
                    <a:gd name="T34" fmla="*/ 2147483647 w 1182"/>
                    <a:gd name="T35" fmla="*/ 2147483647 h 666"/>
                    <a:gd name="T36" fmla="*/ 2147483647 w 1182"/>
                    <a:gd name="T37" fmla="*/ 2147483647 h 666"/>
                    <a:gd name="T38" fmla="*/ 2147483647 w 1182"/>
                    <a:gd name="T39" fmla="*/ 2147483647 h 666"/>
                    <a:gd name="T40" fmla="*/ 2147483647 w 1182"/>
                    <a:gd name="T41" fmla="*/ 2147483647 h 666"/>
                    <a:gd name="T42" fmla="*/ 2147483647 w 1182"/>
                    <a:gd name="T43" fmla="*/ 2147483647 h 666"/>
                    <a:gd name="T44" fmla="*/ 2147483647 w 1182"/>
                    <a:gd name="T45" fmla="*/ 2147483647 h 666"/>
                    <a:gd name="T46" fmla="*/ 2147483647 w 1182"/>
                    <a:gd name="T47" fmla="*/ 2147483647 h 666"/>
                    <a:gd name="T48" fmla="*/ 2147483647 w 1182"/>
                    <a:gd name="T49" fmla="*/ 2147483647 h 666"/>
                    <a:gd name="T50" fmla="*/ 2147483647 w 1182"/>
                    <a:gd name="T51" fmla="*/ 2147483647 h 666"/>
                    <a:gd name="T52" fmla="*/ 2147483647 w 1182"/>
                    <a:gd name="T53" fmla="*/ 2147483647 h 666"/>
                    <a:gd name="T54" fmla="*/ 2147483647 w 1182"/>
                    <a:gd name="T55" fmla="*/ 2147483647 h 666"/>
                    <a:gd name="T56" fmla="*/ 2147483647 w 1182"/>
                    <a:gd name="T57" fmla="*/ 2147483647 h 666"/>
                    <a:gd name="T58" fmla="*/ 2147483647 w 1182"/>
                    <a:gd name="T59" fmla="*/ 2147483647 h 666"/>
                    <a:gd name="T60" fmla="*/ 2147483647 w 1182"/>
                    <a:gd name="T61" fmla="*/ 2147483647 h 666"/>
                    <a:gd name="T62" fmla="*/ 2147483647 w 1182"/>
                    <a:gd name="T63" fmla="*/ 2147483647 h 666"/>
                    <a:gd name="T64" fmla="*/ 2147483647 w 1182"/>
                    <a:gd name="T65" fmla="*/ 2147483647 h 666"/>
                    <a:gd name="T66" fmla="*/ 2147483647 w 1182"/>
                    <a:gd name="T67" fmla="*/ 2147483647 h 666"/>
                    <a:gd name="T68" fmla="*/ 2147483647 w 1182"/>
                    <a:gd name="T69" fmla="*/ 2147483647 h 666"/>
                    <a:gd name="T70" fmla="*/ 2147483647 w 1182"/>
                    <a:gd name="T71" fmla="*/ 2147483647 h 666"/>
                    <a:gd name="T72" fmla="*/ 2147483647 w 1182"/>
                    <a:gd name="T73" fmla="*/ 2147483647 h 666"/>
                    <a:gd name="T74" fmla="*/ 2147483647 w 1182"/>
                    <a:gd name="T75" fmla="*/ 2147483647 h 666"/>
                    <a:gd name="T76" fmla="*/ 2147483647 w 1182"/>
                    <a:gd name="T77" fmla="*/ 2147483647 h 666"/>
                    <a:gd name="T78" fmla="*/ 2147483647 w 1182"/>
                    <a:gd name="T79" fmla="*/ 2147483647 h 666"/>
                    <a:gd name="T80" fmla="*/ 2147483647 w 1182"/>
                    <a:gd name="T81" fmla="*/ 2147483647 h 666"/>
                    <a:gd name="T82" fmla="*/ 2147483647 w 1182"/>
                    <a:gd name="T83" fmla="*/ 2147483647 h 666"/>
                    <a:gd name="T84" fmla="*/ 2147483647 w 1182"/>
                    <a:gd name="T85" fmla="*/ 2147483647 h 666"/>
                    <a:gd name="T86" fmla="*/ 2147483647 w 1182"/>
                    <a:gd name="T87" fmla="*/ 2147483647 h 666"/>
                    <a:gd name="T88" fmla="*/ 2147483647 w 1182"/>
                    <a:gd name="T89" fmla="*/ 2147483647 h 666"/>
                    <a:gd name="T90" fmla="*/ 2147483647 w 1182"/>
                    <a:gd name="T91" fmla="*/ 2147483647 h 666"/>
                    <a:gd name="T92" fmla="*/ 2147483647 w 1182"/>
                    <a:gd name="T93" fmla="*/ 2147483647 h 666"/>
                    <a:gd name="T94" fmla="*/ 2147483647 w 1182"/>
                    <a:gd name="T95" fmla="*/ 2147483647 h 666"/>
                    <a:gd name="T96" fmla="*/ 2147483647 w 1182"/>
                    <a:gd name="T97" fmla="*/ 2147483647 h 666"/>
                    <a:gd name="T98" fmla="*/ 2147483647 w 1182"/>
                    <a:gd name="T99" fmla="*/ 2147483647 h 666"/>
                    <a:gd name="T100" fmla="*/ 2147483647 w 1182"/>
                    <a:gd name="T101" fmla="*/ 2147483647 h 666"/>
                    <a:gd name="T102" fmla="*/ 2147483647 w 1182"/>
                    <a:gd name="T103" fmla="*/ 2147483647 h 666"/>
                    <a:gd name="T104" fmla="*/ 2147483647 w 1182"/>
                    <a:gd name="T105" fmla="*/ 2147483647 h 666"/>
                    <a:gd name="T106" fmla="*/ 2147483647 w 1182"/>
                    <a:gd name="T107" fmla="*/ 2147483647 h 666"/>
                    <a:gd name="T108" fmla="*/ 2147483647 w 1182"/>
                    <a:gd name="T109" fmla="*/ 2147483647 h 666"/>
                    <a:gd name="T110" fmla="*/ 2147483647 w 1182"/>
                    <a:gd name="T111" fmla="*/ 2147483647 h 666"/>
                    <a:gd name="T112" fmla="*/ 2147483647 w 1182"/>
                    <a:gd name="T113" fmla="*/ 2147483647 h 666"/>
                    <a:gd name="T114" fmla="*/ 2147483647 w 1182"/>
                    <a:gd name="T115" fmla="*/ 2147483647 h 66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182"/>
                    <a:gd name="T175" fmla="*/ 0 h 666"/>
                    <a:gd name="T176" fmla="*/ 1182 w 1182"/>
                    <a:gd name="T177" fmla="*/ 666 h 66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182" h="666">
                      <a:moveTo>
                        <a:pt x="1152" y="372"/>
                      </a:moveTo>
                      <a:lnTo>
                        <a:pt x="1146" y="360"/>
                      </a:lnTo>
                      <a:lnTo>
                        <a:pt x="1122" y="360"/>
                      </a:lnTo>
                      <a:lnTo>
                        <a:pt x="1116" y="342"/>
                      </a:lnTo>
                      <a:lnTo>
                        <a:pt x="1098" y="342"/>
                      </a:lnTo>
                      <a:lnTo>
                        <a:pt x="1080" y="318"/>
                      </a:lnTo>
                      <a:lnTo>
                        <a:pt x="1080" y="330"/>
                      </a:lnTo>
                      <a:lnTo>
                        <a:pt x="1068" y="330"/>
                      </a:lnTo>
                      <a:lnTo>
                        <a:pt x="1068" y="342"/>
                      </a:lnTo>
                      <a:lnTo>
                        <a:pt x="1032" y="342"/>
                      </a:lnTo>
                      <a:lnTo>
                        <a:pt x="1020" y="330"/>
                      </a:lnTo>
                      <a:lnTo>
                        <a:pt x="990" y="318"/>
                      </a:lnTo>
                      <a:lnTo>
                        <a:pt x="1038" y="270"/>
                      </a:lnTo>
                      <a:lnTo>
                        <a:pt x="1038" y="264"/>
                      </a:lnTo>
                      <a:lnTo>
                        <a:pt x="1032" y="264"/>
                      </a:lnTo>
                      <a:lnTo>
                        <a:pt x="1032" y="258"/>
                      </a:lnTo>
                      <a:lnTo>
                        <a:pt x="1002" y="276"/>
                      </a:lnTo>
                      <a:lnTo>
                        <a:pt x="978" y="276"/>
                      </a:lnTo>
                      <a:lnTo>
                        <a:pt x="966" y="300"/>
                      </a:lnTo>
                      <a:lnTo>
                        <a:pt x="960" y="300"/>
                      </a:lnTo>
                      <a:lnTo>
                        <a:pt x="954" y="306"/>
                      </a:lnTo>
                      <a:lnTo>
                        <a:pt x="942" y="306"/>
                      </a:lnTo>
                      <a:lnTo>
                        <a:pt x="930" y="312"/>
                      </a:lnTo>
                      <a:lnTo>
                        <a:pt x="918" y="324"/>
                      </a:lnTo>
                      <a:lnTo>
                        <a:pt x="918" y="342"/>
                      </a:lnTo>
                      <a:lnTo>
                        <a:pt x="912" y="342"/>
                      </a:lnTo>
                      <a:lnTo>
                        <a:pt x="906" y="348"/>
                      </a:lnTo>
                      <a:lnTo>
                        <a:pt x="894" y="354"/>
                      </a:lnTo>
                      <a:lnTo>
                        <a:pt x="882" y="366"/>
                      </a:lnTo>
                      <a:lnTo>
                        <a:pt x="882" y="378"/>
                      </a:lnTo>
                      <a:lnTo>
                        <a:pt x="888" y="384"/>
                      </a:lnTo>
                      <a:lnTo>
                        <a:pt x="888" y="396"/>
                      </a:lnTo>
                      <a:lnTo>
                        <a:pt x="882" y="390"/>
                      </a:lnTo>
                      <a:lnTo>
                        <a:pt x="870" y="390"/>
                      </a:lnTo>
                      <a:lnTo>
                        <a:pt x="858" y="384"/>
                      </a:lnTo>
                      <a:lnTo>
                        <a:pt x="852" y="384"/>
                      </a:lnTo>
                      <a:lnTo>
                        <a:pt x="852" y="372"/>
                      </a:lnTo>
                      <a:lnTo>
                        <a:pt x="858" y="366"/>
                      </a:lnTo>
                      <a:lnTo>
                        <a:pt x="858" y="348"/>
                      </a:lnTo>
                      <a:lnTo>
                        <a:pt x="840" y="342"/>
                      </a:lnTo>
                      <a:lnTo>
                        <a:pt x="762" y="342"/>
                      </a:lnTo>
                      <a:lnTo>
                        <a:pt x="732" y="282"/>
                      </a:lnTo>
                      <a:lnTo>
                        <a:pt x="726" y="276"/>
                      </a:lnTo>
                      <a:lnTo>
                        <a:pt x="714" y="276"/>
                      </a:lnTo>
                      <a:lnTo>
                        <a:pt x="708" y="282"/>
                      </a:lnTo>
                      <a:lnTo>
                        <a:pt x="702" y="282"/>
                      </a:lnTo>
                      <a:lnTo>
                        <a:pt x="696" y="276"/>
                      </a:lnTo>
                      <a:lnTo>
                        <a:pt x="696" y="234"/>
                      </a:lnTo>
                      <a:lnTo>
                        <a:pt x="690" y="216"/>
                      </a:lnTo>
                      <a:lnTo>
                        <a:pt x="690" y="204"/>
                      </a:lnTo>
                      <a:lnTo>
                        <a:pt x="660" y="204"/>
                      </a:lnTo>
                      <a:lnTo>
                        <a:pt x="654" y="192"/>
                      </a:lnTo>
                      <a:lnTo>
                        <a:pt x="642" y="186"/>
                      </a:lnTo>
                      <a:lnTo>
                        <a:pt x="636" y="168"/>
                      </a:lnTo>
                      <a:lnTo>
                        <a:pt x="618" y="150"/>
                      </a:lnTo>
                      <a:lnTo>
                        <a:pt x="612" y="138"/>
                      </a:lnTo>
                      <a:lnTo>
                        <a:pt x="600" y="138"/>
                      </a:lnTo>
                      <a:lnTo>
                        <a:pt x="576" y="150"/>
                      </a:lnTo>
                      <a:lnTo>
                        <a:pt x="570" y="156"/>
                      </a:lnTo>
                      <a:lnTo>
                        <a:pt x="552" y="156"/>
                      </a:lnTo>
                      <a:lnTo>
                        <a:pt x="534" y="150"/>
                      </a:lnTo>
                      <a:lnTo>
                        <a:pt x="474" y="150"/>
                      </a:lnTo>
                      <a:lnTo>
                        <a:pt x="456" y="156"/>
                      </a:lnTo>
                      <a:lnTo>
                        <a:pt x="420" y="156"/>
                      </a:lnTo>
                      <a:lnTo>
                        <a:pt x="414" y="162"/>
                      </a:lnTo>
                      <a:lnTo>
                        <a:pt x="408" y="162"/>
                      </a:lnTo>
                      <a:lnTo>
                        <a:pt x="330" y="90"/>
                      </a:lnTo>
                      <a:lnTo>
                        <a:pt x="264" y="54"/>
                      </a:lnTo>
                      <a:lnTo>
                        <a:pt x="270" y="66"/>
                      </a:lnTo>
                      <a:lnTo>
                        <a:pt x="270" y="90"/>
                      </a:lnTo>
                      <a:lnTo>
                        <a:pt x="264" y="102"/>
                      </a:lnTo>
                      <a:lnTo>
                        <a:pt x="258" y="108"/>
                      </a:lnTo>
                      <a:lnTo>
                        <a:pt x="240" y="108"/>
                      </a:lnTo>
                      <a:lnTo>
                        <a:pt x="228" y="102"/>
                      </a:lnTo>
                      <a:lnTo>
                        <a:pt x="222" y="96"/>
                      </a:lnTo>
                      <a:lnTo>
                        <a:pt x="222" y="78"/>
                      </a:lnTo>
                      <a:lnTo>
                        <a:pt x="210" y="54"/>
                      </a:lnTo>
                      <a:lnTo>
                        <a:pt x="216" y="36"/>
                      </a:lnTo>
                      <a:lnTo>
                        <a:pt x="162" y="12"/>
                      </a:lnTo>
                      <a:lnTo>
                        <a:pt x="156" y="30"/>
                      </a:lnTo>
                      <a:lnTo>
                        <a:pt x="168" y="36"/>
                      </a:lnTo>
                      <a:lnTo>
                        <a:pt x="174" y="48"/>
                      </a:lnTo>
                      <a:lnTo>
                        <a:pt x="174" y="72"/>
                      </a:lnTo>
                      <a:lnTo>
                        <a:pt x="168" y="78"/>
                      </a:lnTo>
                      <a:lnTo>
                        <a:pt x="156" y="84"/>
                      </a:lnTo>
                      <a:lnTo>
                        <a:pt x="150" y="84"/>
                      </a:lnTo>
                      <a:lnTo>
                        <a:pt x="144" y="78"/>
                      </a:lnTo>
                      <a:lnTo>
                        <a:pt x="144" y="60"/>
                      </a:lnTo>
                      <a:lnTo>
                        <a:pt x="132" y="48"/>
                      </a:lnTo>
                      <a:lnTo>
                        <a:pt x="132" y="42"/>
                      </a:lnTo>
                      <a:lnTo>
                        <a:pt x="144" y="30"/>
                      </a:lnTo>
                      <a:lnTo>
                        <a:pt x="150" y="6"/>
                      </a:lnTo>
                      <a:lnTo>
                        <a:pt x="144" y="0"/>
                      </a:lnTo>
                      <a:lnTo>
                        <a:pt x="0" y="42"/>
                      </a:lnTo>
                      <a:lnTo>
                        <a:pt x="48" y="324"/>
                      </a:lnTo>
                      <a:lnTo>
                        <a:pt x="60" y="324"/>
                      </a:lnTo>
                      <a:lnTo>
                        <a:pt x="72" y="336"/>
                      </a:lnTo>
                      <a:lnTo>
                        <a:pt x="138" y="336"/>
                      </a:lnTo>
                      <a:lnTo>
                        <a:pt x="132" y="324"/>
                      </a:lnTo>
                      <a:lnTo>
                        <a:pt x="120" y="318"/>
                      </a:lnTo>
                      <a:lnTo>
                        <a:pt x="114" y="300"/>
                      </a:lnTo>
                      <a:lnTo>
                        <a:pt x="114" y="288"/>
                      </a:lnTo>
                      <a:lnTo>
                        <a:pt x="132" y="270"/>
                      </a:lnTo>
                      <a:lnTo>
                        <a:pt x="144" y="264"/>
                      </a:lnTo>
                      <a:lnTo>
                        <a:pt x="156" y="264"/>
                      </a:lnTo>
                      <a:lnTo>
                        <a:pt x="162" y="258"/>
                      </a:lnTo>
                      <a:lnTo>
                        <a:pt x="168" y="258"/>
                      </a:lnTo>
                      <a:lnTo>
                        <a:pt x="168" y="246"/>
                      </a:lnTo>
                      <a:lnTo>
                        <a:pt x="174" y="240"/>
                      </a:lnTo>
                      <a:lnTo>
                        <a:pt x="180" y="240"/>
                      </a:lnTo>
                      <a:lnTo>
                        <a:pt x="186" y="246"/>
                      </a:lnTo>
                      <a:lnTo>
                        <a:pt x="198" y="246"/>
                      </a:lnTo>
                      <a:lnTo>
                        <a:pt x="204" y="252"/>
                      </a:lnTo>
                      <a:lnTo>
                        <a:pt x="174" y="222"/>
                      </a:lnTo>
                      <a:lnTo>
                        <a:pt x="204" y="228"/>
                      </a:lnTo>
                      <a:lnTo>
                        <a:pt x="210" y="216"/>
                      </a:lnTo>
                      <a:lnTo>
                        <a:pt x="228" y="240"/>
                      </a:lnTo>
                      <a:lnTo>
                        <a:pt x="252" y="240"/>
                      </a:lnTo>
                      <a:lnTo>
                        <a:pt x="252" y="252"/>
                      </a:lnTo>
                      <a:lnTo>
                        <a:pt x="264" y="258"/>
                      </a:lnTo>
                      <a:lnTo>
                        <a:pt x="300" y="258"/>
                      </a:lnTo>
                      <a:lnTo>
                        <a:pt x="306" y="264"/>
                      </a:lnTo>
                      <a:lnTo>
                        <a:pt x="312" y="276"/>
                      </a:lnTo>
                      <a:lnTo>
                        <a:pt x="312" y="288"/>
                      </a:lnTo>
                      <a:lnTo>
                        <a:pt x="324" y="294"/>
                      </a:lnTo>
                      <a:lnTo>
                        <a:pt x="312" y="306"/>
                      </a:lnTo>
                      <a:lnTo>
                        <a:pt x="312" y="318"/>
                      </a:lnTo>
                      <a:lnTo>
                        <a:pt x="330" y="336"/>
                      </a:lnTo>
                      <a:lnTo>
                        <a:pt x="360" y="336"/>
                      </a:lnTo>
                      <a:lnTo>
                        <a:pt x="414" y="342"/>
                      </a:lnTo>
                      <a:lnTo>
                        <a:pt x="414" y="336"/>
                      </a:lnTo>
                      <a:lnTo>
                        <a:pt x="450" y="354"/>
                      </a:lnTo>
                      <a:lnTo>
                        <a:pt x="468" y="384"/>
                      </a:lnTo>
                      <a:lnTo>
                        <a:pt x="486" y="402"/>
                      </a:lnTo>
                      <a:lnTo>
                        <a:pt x="486" y="408"/>
                      </a:lnTo>
                      <a:lnTo>
                        <a:pt x="492" y="414"/>
                      </a:lnTo>
                      <a:lnTo>
                        <a:pt x="510" y="450"/>
                      </a:lnTo>
                      <a:lnTo>
                        <a:pt x="522" y="462"/>
                      </a:lnTo>
                      <a:lnTo>
                        <a:pt x="534" y="468"/>
                      </a:lnTo>
                      <a:lnTo>
                        <a:pt x="552" y="468"/>
                      </a:lnTo>
                      <a:lnTo>
                        <a:pt x="564" y="474"/>
                      </a:lnTo>
                      <a:lnTo>
                        <a:pt x="570" y="474"/>
                      </a:lnTo>
                      <a:lnTo>
                        <a:pt x="582" y="486"/>
                      </a:lnTo>
                      <a:lnTo>
                        <a:pt x="588" y="498"/>
                      </a:lnTo>
                      <a:lnTo>
                        <a:pt x="594" y="504"/>
                      </a:lnTo>
                      <a:lnTo>
                        <a:pt x="624" y="522"/>
                      </a:lnTo>
                      <a:lnTo>
                        <a:pt x="648" y="522"/>
                      </a:lnTo>
                      <a:lnTo>
                        <a:pt x="666" y="534"/>
                      </a:lnTo>
                      <a:lnTo>
                        <a:pt x="690" y="546"/>
                      </a:lnTo>
                      <a:lnTo>
                        <a:pt x="696" y="552"/>
                      </a:lnTo>
                      <a:lnTo>
                        <a:pt x="708" y="558"/>
                      </a:lnTo>
                      <a:lnTo>
                        <a:pt x="720" y="570"/>
                      </a:lnTo>
                      <a:lnTo>
                        <a:pt x="732" y="570"/>
                      </a:lnTo>
                      <a:lnTo>
                        <a:pt x="744" y="582"/>
                      </a:lnTo>
                      <a:lnTo>
                        <a:pt x="750" y="582"/>
                      </a:lnTo>
                      <a:lnTo>
                        <a:pt x="774" y="576"/>
                      </a:lnTo>
                      <a:lnTo>
                        <a:pt x="822" y="606"/>
                      </a:lnTo>
                      <a:lnTo>
                        <a:pt x="816" y="612"/>
                      </a:lnTo>
                      <a:lnTo>
                        <a:pt x="816" y="630"/>
                      </a:lnTo>
                      <a:lnTo>
                        <a:pt x="828" y="642"/>
                      </a:lnTo>
                      <a:lnTo>
                        <a:pt x="828" y="654"/>
                      </a:lnTo>
                      <a:lnTo>
                        <a:pt x="840" y="654"/>
                      </a:lnTo>
                      <a:lnTo>
                        <a:pt x="852" y="642"/>
                      </a:lnTo>
                      <a:lnTo>
                        <a:pt x="870" y="666"/>
                      </a:lnTo>
                      <a:lnTo>
                        <a:pt x="882" y="660"/>
                      </a:lnTo>
                      <a:lnTo>
                        <a:pt x="894" y="660"/>
                      </a:lnTo>
                      <a:lnTo>
                        <a:pt x="900" y="666"/>
                      </a:lnTo>
                      <a:lnTo>
                        <a:pt x="906" y="666"/>
                      </a:lnTo>
                      <a:lnTo>
                        <a:pt x="900" y="666"/>
                      </a:lnTo>
                      <a:lnTo>
                        <a:pt x="900" y="642"/>
                      </a:lnTo>
                      <a:lnTo>
                        <a:pt x="906" y="636"/>
                      </a:lnTo>
                      <a:lnTo>
                        <a:pt x="912" y="624"/>
                      </a:lnTo>
                      <a:lnTo>
                        <a:pt x="924" y="618"/>
                      </a:lnTo>
                      <a:lnTo>
                        <a:pt x="930" y="606"/>
                      </a:lnTo>
                      <a:lnTo>
                        <a:pt x="930" y="588"/>
                      </a:lnTo>
                      <a:lnTo>
                        <a:pt x="918" y="576"/>
                      </a:lnTo>
                      <a:lnTo>
                        <a:pt x="906" y="570"/>
                      </a:lnTo>
                      <a:lnTo>
                        <a:pt x="900" y="564"/>
                      </a:lnTo>
                      <a:lnTo>
                        <a:pt x="900" y="546"/>
                      </a:lnTo>
                      <a:lnTo>
                        <a:pt x="906" y="540"/>
                      </a:lnTo>
                      <a:lnTo>
                        <a:pt x="906" y="534"/>
                      </a:lnTo>
                      <a:lnTo>
                        <a:pt x="894" y="522"/>
                      </a:lnTo>
                      <a:lnTo>
                        <a:pt x="882" y="522"/>
                      </a:lnTo>
                      <a:lnTo>
                        <a:pt x="876" y="516"/>
                      </a:lnTo>
                      <a:lnTo>
                        <a:pt x="870" y="516"/>
                      </a:lnTo>
                      <a:lnTo>
                        <a:pt x="858" y="504"/>
                      </a:lnTo>
                      <a:lnTo>
                        <a:pt x="840" y="504"/>
                      </a:lnTo>
                      <a:lnTo>
                        <a:pt x="840" y="486"/>
                      </a:lnTo>
                      <a:lnTo>
                        <a:pt x="846" y="480"/>
                      </a:lnTo>
                      <a:lnTo>
                        <a:pt x="894" y="480"/>
                      </a:lnTo>
                      <a:lnTo>
                        <a:pt x="918" y="468"/>
                      </a:lnTo>
                      <a:lnTo>
                        <a:pt x="918" y="456"/>
                      </a:lnTo>
                      <a:lnTo>
                        <a:pt x="912" y="456"/>
                      </a:lnTo>
                      <a:lnTo>
                        <a:pt x="930" y="444"/>
                      </a:lnTo>
                      <a:lnTo>
                        <a:pt x="906" y="420"/>
                      </a:lnTo>
                      <a:lnTo>
                        <a:pt x="948" y="420"/>
                      </a:lnTo>
                      <a:lnTo>
                        <a:pt x="948" y="414"/>
                      </a:lnTo>
                      <a:lnTo>
                        <a:pt x="936" y="402"/>
                      </a:lnTo>
                      <a:lnTo>
                        <a:pt x="936" y="390"/>
                      </a:lnTo>
                      <a:lnTo>
                        <a:pt x="942" y="384"/>
                      </a:lnTo>
                      <a:lnTo>
                        <a:pt x="942" y="372"/>
                      </a:lnTo>
                      <a:lnTo>
                        <a:pt x="954" y="372"/>
                      </a:lnTo>
                      <a:lnTo>
                        <a:pt x="972" y="390"/>
                      </a:lnTo>
                      <a:lnTo>
                        <a:pt x="978" y="390"/>
                      </a:lnTo>
                      <a:lnTo>
                        <a:pt x="984" y="378"/>
                      </a:lnTo>
                      <a:lnTo>
                        <a:pt x="996" y="372"/>
                      </a:lnTo>
                      <a:lnTo>
                        <a:pt x="1002" y="360"/>
                      </a:lnTo>
                      <a:lnTo>
                        <a:pt x="1020" y="360"/>
                      </a:lnTo>
                      <a:lnTo>
                        <a:pt x="1032" y="366"/>
                      </a:lnTo>
                      <a:lnTo>
                        <a:pt x="1038" y="372"/>
                      </a:lnTo>
                      <a:lnTo>
                        <a:pt x="1014" y="408"/>
                      </a:lnTo>
                      <a:lnTo>
                        <a:pt x="1026" y="408"/>
                      </a:lnTo>
                      <a:lnTo>
                        <a:pt x="1032" y="414"/>
                      </a:lnTo>
                      <a:lnTo>
                        <a:pt x="1044" y="414"/>
                      </a:lnTo>
                      <a:lnTo>
                        <a:pt x="1050" y="420"/>
                      </a:lnTo>
                      <a:lnTo>
                        <a:pt x="1056" y="420"/>
                      </a:lnTo>
                      <a:lnTo>
                        <a:pt x="1068" y="414"/>
                      </a:lnTo>
                      <a:lnTo>
                        <a:pt x="1086" y="414"/>
                      </a:lnTo>
                      <a:lnTo>
                        <a:pt x="1092" y="420"/>
                      </a:lnTo>
                      <a:lnTo>
                        <a:pt x="1098" y="420"/>
                      </a:lnTo>
                      <a:lnTo>
                        <a:pt x="1104" y="426"/>
                      </a:lnTo>
                      <a:lnTo>
                        <a:pt x="1110" y="426"/>
                      </a:lnTo>
                      <a:lnTo>
                        <a:pt x="1128" y="408"/>
                      </a:lnTo>
                      <a:lnTo>
                        <a:pt x="1146" y="402"/>
                      </a:lnTo>
                      <a:lnTo>
                        <a:pt x="1146" y="396"/>
                      </a:lnTo>
                      <a:lnTo>
                        <a:pt x="1158" y="396"/>
                      </a:lnTo>
                      <a:lnTo>
                        <a:pt x="1170" y="390"/>
                      </a:lnTo>
                      <a:lnTo>
                        <a:pt x="1182" y="378"/>
                      </a:lnTo>
                      <a:lnTo>
                        <a:pt x="1182" y="366"/>
                      </a:lnTo>
                      <a:lnTo>
                        <a:pt x="1170" y="366"/>
                      </a:lnTo>
                      <a:lnTo>
                        <a:pt x="1158" y="372"/>
                      </a:lnTo>
                      <a:lnTo>
                        <a:pt x="1152" y="372"/>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287" name="Vietnam"/>
                <p:cNvSpPr>
                  <a:spLocks/>
                </p:cNvSpPr>
                <p:nvPr/>
              </p:nvSpPr>
              <p:spPr bwMode="gray">
                <a:xfrm>
                  <a:off x="4478" y="1828"/>
                  <a:ext cx="155" cy="305"/>
                </a:xfrm>
                <a:custGeom>
                  <a:avLst/>
                  <a:gdLst>
                    <a:gd name="T0" fmla="*/ 2147483647 w 606"/>
                    <a:gd name="T1" fmla="*/ 2147483647 h 1194"/>
                    <a:gd name="T2" fmla="*/ 2147483647 w 606"/>
                    <a:gd name="T3" fmla="*/ 2147483647 h 1194"/>
                    <a:gd name="T4" fmla="*/ 2147483647 w 606"/>
                    <a:gd name="T5" fmla="*/ 2147483647 h 1194"/>
                    <a:gd name="T6" fmla="*/ 2147483647 w 606"/>
                    <a:gd name="T7" fmla="*/ 2147483647 h 1194"/>
                    <a:gd name="T8" fmla="*/ 2147483647 w 606"/>
                    <a:gd name="T9" fmla="*/ 2147483647 h 1194"/>
                    <a:gd name="T10" fmla="*/ 2147483647 w 606"/>
                    <a:gd name="T11" fmla="*/ 2147483647 h 1194"/>
                    <a:gd name="T12" fmla="*/ 2147483647 w 606"/>
                    <a:gd name="T13" fmla="*/ 2147483647 h 1194"/>
                    <a:gd name="T14" fmla="*/ 2147483647 w 606"/>
                    <a:gd name="T15" fmla="*/ 2147483647 h 1194"/>
                    <a:gd name="T16" fmla="*/ 2147483647 w 606"/>
                    <a:gd name="T17" fmla="*/ 2147483647 h 1194"/>
                    <a:gd name="T18" fmla="*/ 2147483647 w 606"/>
                    <a:gd name="T19" fmla="*/ 2147483647 h 1194"/>
                    <a:gd name="T20" fmla="*/ 2147483647 w 606"/>
                    <a:gd name="T21" fmla="*/ 2147483647 h 1194"/>
                    <a:gd name="T22" fmla="*/ 2147483647 w 606"/>
                    <a:gd name="T23" fmla="*/ 2147483647 h 1194"/>
                    <a:gd name="T24" fmla="*/ 2147483647 w 606"/>
                    <a:gd name="T25" fmla="*/ 2147483647 h 1194"/>
                    <a:gd name="T26" fmla="*/ 2147483647 w 606"/>
                    <a:gd name="T27" fmla="*/ 2147483647 h 1194"/>
                    <a:gd name="T28" fmla="*/ 2147483647 w 606"/>
                    <a:gd name="T29" fmla="*/ 2147483647 h 1194"/>
                    <a:gd name="T30" fmla="*/ 2147483647 w 606"/>
                    <a:gd name="T31" fmla="*/ 2147483647 h 1194"/>
                    <a:gd name="T32" fmla="*/ 2147483647 w 606"/>
                    <a:gd name="T33" fmla="*/ 2147483647 h 1194"/>
                    <a:gd name="T34" fmla="*/ 2147483647 w 606"/>
                    <a:gd name="T35" fmla="*/ 2147483647 h 1194"/>
                    <a:gd name="T36" fmla="*/ 2147483647 w 606"/>
                    <a:gd name="T37" fmla="*/ 2147483647 h 1194"/>
                    <a:gd name="T38" fmla="*/ 2147483647 w 606"/>
                    <a:gd name="T39" fmla="*/ 2147483647 h 1194"/>
                    <a:gd name="T40" fmla="*/ 2147483647 w 606"/>
                    <a:gd name="T41" fmla="*/ 2147483647 h 1194"/>
                    <a:gd name="T42" fmla="*/ 2147483647 w 606"/>
                    <a:gd name="T43" fmla="*/ 2147483647 h 1194"/>
                    <a:gd name="T44" fmla="*/ 2147483647 w 606"/>
                    <a:gd name="T45" fmla="*/ 2147483647 h 1194"/>
                    <a:gd name="T46" fmla="*/ 2147483647 w 606"/>
                    <a:gd name="T47" fmla="*/ 2147483647 h 1194"/>
                    <a:gd name="T48" fmla="*/ 2147483647 w 606"/>
                    <a:gd name="T49" fmla="*/ 2147483647 h 1194"/>
                    <a:gd name="T50" fmla="*/ 2147483647 w 606"/>
                    <a:gd name="T51" fmla="*/ 2147483647 h 1194"/>
                    <a:gd name="T52" fmla="*/ 2147483647 w 606"/>
                    <a:gd name="T53" fmla="*/ 2147483647 h 1194"/>
                    <a:gd name="T54" fmla="*/ 2147483647 w 606"/>
                    <a:gd name="T55" fmla="*/ 2147483647 h 1194"/>
                    <a:gd name="T56" fmla="*/ 2147483647 w 606"/>
                    <a:gd name="T57" fmla="*/ 2147483647 h 1194"/>
                    <a:gd name="T58" fmla="*/ 2147483647 w 606"/>
                    <a:gd name="T59" fmla="*/ 2147483647 h 1194"/>
                    <a:gd name="T60" fmla="*/ 2147483647 w 606"/>
                    <a:gd name="T61" fmla="*/ 2147483647 h 1194"/>
                    <a:gd name="T62" fmla="*/ 2147483647 w 606"/>
                    <a:gd name="T63" fmla="*/ 2147483647 h 1194"/>
                    <a:gd name="T64" fmla="*/ 2147483647 w 606"/>
                    <a:gd name="T65" fmla="*/ 2147483647 h 1194"/>
                    <a:gd name="T66" fmla="*/ 2147483647 w 606"/>
                    <a:gd name="T67" fmla="*/ 2147483647 h 1194"/>
                    <a:gd name="T68" fmla="*/ 2147483647 w 606"/>
                    <a:gd name="T69" fmla="*/ 2147483647 h 1194"/>
                    <a:gd name="T70" fmla="*/ 2147483647 w 606"/>
                    <a:gd name="T71" fmla="*/ 2147483647 h 1194"/>
                    <a:gd name="T72" fmla="*/ 2147483647 w 606"/>
                    <a:gd name="T73" fmla="*/ 2147483647 h 1194"/>
                    <a:gd name="T74" fmla="*/ 2147483647 w 606"/>
                    <a:gd name="T75" fmla="*/ 2147483647 h 1194"/>
                    <a:gd name="T76" fmla="*/ 2147483647 w 606"/>
                    <a:gd name="T77" fmla="*/ 2147483647 h 1194"/>
                    <a:gd name="T78" fmla="*/ 2147483647 w 606"/>
                    <a:gd name="T79" fmla="*/ 2147483647 h 1194"/>
                    <a:gd name="T80" fmla="*/ 2147483647 w 606"/>
                    <a:gd name="T81" fmla="*/ 2147483647 h 1194"/>
                    <a:gd name="T82" fmla="*/ 2147483647 w 606"/>
                    <a:gd name="T83" fmla="*/ 2147483647 h 1194"/>
                    <a:gd name="T84" fmla="*/ 2147483647 w 606"/>
                    <a:gd name="T85" fmla="*/ 2147483647 h 1194"/>
                    <a:gd name="T86" fmla="*/ 2147483647 w 606"/>
                    <a:gd name="T87" fmla="*/ 2147483647 h 1194"/>
                    <a:gd name="T88" fmla="*/ 2147483647 w 606"/>
                    <a:gd name="T89" fmla="*/ 2147483647 h 1194"/>
                    <a:gd name="T90" fmla="*/ 2147483647 w 606"/>
                    <a:gd name="T91" fmla="*/ 2147483647 h 1194"/>
                    <a:gd name="T92" fmla="*/ 2147483647 w 606"/>
                    <a:gd name="T93" fmla="*/ 2147483647 h 1194"/>
                    <a:gd name="T94" fmla="*/ 2147483647 w 606"/>
                    <a:gd name="T95" fmla="*/ 2147483647 h 1194"/>
                    <a:gd name="T96" fmla="*/ 2147483647 w 606"/>
                    <a:gd name="T97" fmla="*/ 2147483647 h 1194"/>
                    <a:gd name="T98" fmla="*/ 2147483647 w 606"/>
                    <a:gd name="T99" fmla="*/ 2147483647 h 1194"/>
                    <a:gd name="T100" fmla="*/ 2147483647 w 606"/>
                    <a:gd name="T101" fmla="*/ 2147483647 h 1194"/>
                    <a:gd name="T102" fmla="*/ 2147483647 w 606"/>
                    <a:gd name="T103" fmla="*/ 2147483647 h 1194"/>
                    <a:gd name="T104" fmla="*/ 2147483647 w 606"/>
                    <a:gd name="T105" fmla="*/ 2147483647 h 1194"/>
                    <a:gd name="T106" fmla="*/ 2147483647 w 606"/>
                    <a:gd name="T107" fmla="*/ 2147483647 h 1194"/>
                    <a:gd name="T108" fmla="*/ 2147483647 w 606"/>
                    <a:gd name="T109" fmla="*/ 2147483647 h 1194"/>
                    <a:gd name="T110" fmla="*/ 2147483647 w 606"/>
                    <a:gd name="T111" fmla="*/ 2147483647 h 1194"/>
                    <a:gd name="T112" fmla="*/ 2147483647 w 606"/>
                    <a:gd name="T113" fmla="*/ 2147483647 h 1194"/>
                    <a:gd name="T114" fmla="*/ 2147483647 w 606"/>
                    <a:gd name="T115" fmla="*/ 2147483647 h 1194"/>
                    <a:gd name="T116" fmla="*/ 2147483647 w 606"/>
                    <a:gd name="T117" fmla="*/ 2147483647 h 1194"/>
                    <a:gd name="T118" fmla="*/ 2147483647 w 606"/>
                    <a:gd name="T119" fmla="*/ 2147483647 h 1194"/>
                    <a:gd name="T120" fmla="*/ 2147483647 w 606"/>
                    <a:gd name="T121" fmla="*/ 2147483647 h 1194"/>
                    <a:gd name="T122" fmla="*/ 2147483647 w 606"/>
                    <a:gd name="T123" fmla="*/ 2147483647 h 119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06"/>
                    <a:gd name="T187" fmla="*/ 0 h 1194"/>
                    <a:gd name="T188" fmla="*/ 606 w 606"/>
                    <a:gd name="T189" fmla="*/ 1194 h 119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06" h="1194">
                      <a:moveTo>
                        <a:pt x="6" y="48"/>
                      </a:moveTo>
                      <a:lnTo>
                        <a:pt x="0" y="60"/>
                      </a:lnTo>
                      <a:lnTo>
                        <a:pt x="0" y="72"/>
                      </a:lnTo>
                      <a:lnTo>
                        <a:pt x="12" y="96"/>
                      </a:lnTo>
                      <a:lnTo>
                        <a:pt x="18" y="102"/>
                      </a:lnTo>
                      <a:lnTo>
                        <a:pt x="24" y="114"/>
                      </a:lnTo>
                      <a:lnTo>
                        <a:pt x="36" y="120"/>
                      </a:lnTo>
                      <a:lnTo>
                        <a:pt x="42" y="132"/>
                      </a:lnTo>
                      <a:lnTo>
                        <a:pt x="48" y="126"/>
                      </a:lnTo>
                      <a:lnTo>
                        <a:pt x="54" y="126"/>
                      </a:lnTo>
                      <a:lnTo>
                        <a:pt x="54" y="156"/>
                      </a:lnTo>
                      <a:lnTo>
                        <a:pt x="66" y="180"/>
                      </a:lnTo>
                      <a:lnTo>
                        <a:pt x="84" y="198"/>
                      </a:lnTo>
                      <a:lnTo>
                        <a:pt x="90" y="210"/>
                      </a:lnTo>
                      <a:lnTo>
                        <a:pt x="108" y="210"/>
                      </a:lnTo>
                      <a:lnTo>
                        <a:pt x="108" y="216"/>
                      </a:lnTo>
                      <a:lnTo>
                        <a:pt x="120" y="228"/>
                      </a:lnTo>
                      <a:lnTo>
                        <a:pt x="126" y="222"/>
                      </a:lnTo>
                      <a:lnTo>
                        <a:pt x="132" y="210"/>
                      </a:lnTo>
                      <a:lnTo>
                        <a:pt x="132" y="204"/>
                      </a:lnTo>
                      <a:lnTo>
                        <a:pt x="138" y="192"/>
                      </a:lnTo>
                      <a:lnTo>
                        <a:pt x="150" y="192"/>
                      </a:lnTo>
                      <a:lnTo>
                        <a:pt x="162" y="198"/>
                      </a:lnTo>
                      <a:lnTo>
                        <a:pt x="186" y="222"/>
                      </a:lnTo>
                      <a:lnTo>
                        <a:pt x="180" y="222"/>
                      </a:lnTo>
                      <a:lnTo>
                        <a:pt x="174" y="228"/>
                      </a:lnTo>
                      <a:lnTo>
                        <a:pt x="174" y="234"/>
                      </a:lnTo>
                      <a:lnTo>
                        <a:pt x="198" y="246"/>
                      </a:lnTo>
                      <a:lnTo>
                        <a:pt x="216" y="252"/>
                      </a:lnTo>
                      <a:lnTo>
                        <a:pt x="228" y="258"/>
                      </a:lnTo>
                      <a:lnTo>
                        <a:pt x="228" y="270"/>
                      </a:lnTo>
                      <a:lnTo>
                        <a:pt x="222" y="282"/>
                      </a:lnTo>
                      <a:lnTo>
                        <a:pt x="210" y="288"/>
                      </a:lnTo>
                      <a:lnTo>
                        <a:pt x="204" y="300"/>
                      </a:lnTo>
                      <a:lnTo>
                        <a:pt x="198" y="306"/>
                      </a:lnTo>
                      <a:lnTo>
                        <a:pt x="180" y="306"/>
                      </a:lnTo>
                      <a:lnTo>
                        <a:pt x="174" y="300"/>
                      </a:lnTo>
                      <a:lnTo>
                        <a:pt x="150" y="300"/>
                      </a:lnTo>
                      <a:lnTo>
                        <a:pt x="156" y="306"/>
                      </a:lnTo>
                      <a:lnTo>
                        <a:pt x="156" y="324"/>
                      </a:lnTo>
                      <a:lnTo>
                        <a:pt x="168" y="330"/>
                      </a:lnTo>
                      <a:lnTo>
                        <a:pt x="174" y="336"/>
                      </a:lnTo>
                      <a:lnTo>
                        <a:pt x="210" y="354"/>
                      </a:lnTo>
                      <a:lnTo>
                        <a:pt x="222" y="366"/>
                      </a:lnTo>
                      <a:lnTo>
                        <a:pt x="234" y="372"/>
                      </a:lnTo>
                      <a:lnTo>
                        <a:pt x="240" y="378"/>
                      </a:lnTo>
                      <a:lnTo>
                        <a:pt x="252" y="378"/>
                      </a:lnTo>
                      <a:lnTo>
                        <a:pt x="252" y="408"/>
                      </a:lnTo>
                      <a:lnTo>
                        <a:pt x="258" y="414"/>
                      </a:lnTo>
                      <a:lnTo>
                        <a:pt x="270" y="414"/>
                      </a:lnTo>
                      <a:lnTo>
                        <a:pt x="282" y="420"/>
                      </a:lnTo>
                      <a:lnTo>
                        <a:pt x="288" y="426"/>
                      </a:lnTo>
                      <a:lnTo>
                        <a:pt x="294" y="426"/>
                      </a:lnTo>
                      <a:lnTo>
                        <a:pt x="294" y="450"/>
                      </a:lnTo>
                      <a:lnTo>
                        <a:pt x="306" y="474"/>
                      </a:lnTo>
                      <a:lnTo>
                        <a:pt x="324" y="486"/>
                      </a:lnTo>
                      <a:lnTo>
                        <a:pt x="342" y="504"/>
                      </a:lnTo>
                      <a:lnTo>
                        <a:pt x="348" y="522"/>
                      </a:lnTo>
                      <a:lnTo>
                        <a:pt x="366" y="522"/>
                      </a:lnTo>
                      <a:lnTo>
                        <a:pt x="366" y="528"/>
                      </a:lnTo>
                      <a:lnTo>
                        <a:pt x="372" y="534"/>
                      </a:lnTo>
                      <a:lnTo>
                        <a:pt x="384" y="558"/>
                      </a:lnTo>
                      <a:lnTo>
                        <a:pt x="396" y="570"/>
                      </a:lnTo>
                      <a:lnTo>
                        <a:pt x="408" y="570"/>
                      </a:lnTo>
                      <a:lnTo>
                        <a:pt x="414" y="576"/>
                      </a:lnTo>
                      <a:lnTo>
                        <a:pt x="426" y="582"/>
                      </a:lnTo>
                      <a:lnTo>
                        <a:pt x="432" y="588"/>
                      </a:lnTo>
                      <a:lnTo>
                        <a:pt x="432" y="600"/>
                      </a:lnTo>
                      <a:lnTo>
                        <a:pt x="426" y="606"/>
                      </a:lnTo>
                      <a:lnTo>
                        <a:pt x="420" y="606"/>
                      </a:lnTo>
                      <a:lnTo>
                        <a:pt x="414" y="612"/>
                      </a:lnTo>
                      <a:lnTo>
                        <a:pt x="408" y="612"/>
                      </a:lnTo>
                      <a:lnTo>
                        <a:pt x="432" y="636"/>
                      </a:lnTo>
                      <a:lnTo>
                        <a:pt x="456" y="648"/>
                      </a:lnTo>
                      <a:lnTo>
                        <a:pt x="462" y="654"/>
                      </a:lnTo>
                      <a:lnTo>
                        <a:pt x="468" y="654"/>
                      </a:lnTo>
                      <a:lnTo>
                        <a:pt x="450" y="690"/>
                      </a:lnTo>
                      <a:lnTo>
                        <a:pt x="456" y="690"/>
                      </a:lnTo>
                      <a:lnTo>
                        <a:pt x="468" y="702"/>
                      </a:lnTo>
                      <a:lnTo>
                        <a:pt x="468" y="708"/>
                      </a:lnTo>
                      <a:lnTo>
                        <a:pt x="456" y="720"/>
                      </a:lnTo>
                      <a:lnTo>
                        <a:pt x="450" y="720"/>
                      </a:lnTo>
                      <a:lnTo>
                        <a:pt x="450" y="762"/>
                      </a:lnTo>
                      <a:lnTo>
                        <a:pt x="456" y="762"/>
                      </a:lnTo>
                      <a:lnTo>
                        <a:pt x="468" y="774"/>
                      </a:lnTo>
                      <a:lnTo>
                        <a:pt x="480" y="798"/>
                      </a:lnTo>
                      <a:lnTo>
                        <a:pt x="480" y="804"/>
                      </a:lnTo>
                      <a:lnTo>
                        <a:pt x="468" y="816"/>
                      </a:lnTo>
                      <a:lnTo>
                        <a:pt x="462" y="816"/>
                      </a:lnTo>
                      <a:lnTo>
                        <a:pt x="462" y="828"/>
                      </a:lnTo>
                      <a:lnTo>
                        <a:pt x="468" y="834"/>
                      </a:lnTo>
                      <a:lnTo>
                        <a:pt x="468" y="864"/>
                      </a:lnTo>
                      <a:lnTo>
                        <a:pt x="474" y="870"/>
                      </a:lnTo>
                      <a:lnTo>
                        <a:pt x="474" y="900"/>
                      </a:lnTo>
                      <a:lnTo>
                        <a:pt x="462" y="894"/>
                      </a:lnTo>
                      <a:lnTo>
                        <a:pt x="444" y="894"/>
                      </a:lnTo>
                      <a:lnTo>
                        <a:pt x="438" y="900"/>
                      </a:lnTo>
                      <a:lnTo>
                        <a:pt x="438" y="918"/>
                      </a:lnTo>
                      <a:lnTo>
                        <a:pt x="408" y="918"/>
                      </a:lnTo>
                      <a:lnTo>
                        <a:pt x="408" y="942"/>
                      </a:lnTo>
                      <a:lnTo>
                        <a:pt x="366" y="942"/>
                      </a:lnTo>
                      <a:lnTo>
                        <a:pt x="366" y="966"/>
                      </a:lnTo>
                      <a:lnTo>
                        <a:pt x="378" y="990"/>
                      </a:lnTo>
                      <a:lnTo>
                        <a:pt x="396" y="1008"/>
                      </a:lnTo>
                      <a:lnTo>
                        <a:pt x="396" y="1020"/>
                      </a:lnTo>
                      <a:lnTo>
                        <a:pt x="390" y="1014"/>
                      </a:lnTo>
                      <a:lnTo>
                        <a:pt x="378" y="1008"/>
                      </a:lnTo>
                      <a:lnTo>
                        <a:pt x="372" y="1002"/>
                      </a:lnTo>
                      <a:lnTo>
                        <a:pt x="360" y="996"/>
                      </a:lnTo>
                      <a:lnTo>
                        <a:pt x="348" y="996"/>
                      </a:lnTo>
                      <a:lnTo>
                        <a:pt x="342" y="1002"/>
                      </a:lnTo>
                      <a:lnTo>
                        <a:pt x="342" y="1008"/>
                      </a:lnTo>
                      <a:lnTo>
                        <a:pt x="306" y="1008"/>
                      </a:lnTo>
                      <a:lnTo>
                        <a:pt x="312" y="1014"/>
                      </a:lnTo>
                      <a:lnTo>
                        <a:pt x="318" y="1014"/>
                      </a:lnTo>
                      <a:lnTo>
                        <a:pt x="324" y="1020"/>
                      </a:lnTo>
                      <a:lnTo>
                        <a:pt x="324" y="1026"/>
                      </a:lnTo>
                      <a:lnTo>
                        <a:pt x="312" y="1032"/>
                      </a:lnTo>
                      <a:lnTo>
                        <a:pt x="294" y="1032"/>
                      </a:lnTo>
                      <a:lnTo>
                        <a:pt x="276" y="1038"/>
                      </a:lnTo>
                      <a:lnTo>
                        <a:pt x="270" y="1050"/>
                      </a:lnTo>
                      <a:lnTo>
                        <a:pt x="270" y="1056"/>
                      </a:lnTo>
                      <a:lnTo>
                        <a:pt x="288" y="1074"/>
                      </a:lnTo>
                      <a:lnTo>
                        <a:pt x="300" y="1080"/>
                      </a:lnTo>
                      <a:lnTo>
                        <a:pt x="306" y="1086"/>
                      </a:lnTo>
                      <a:lnTo>
                        <a:pt x="312" y="1086"/>
                      </a:lnTo>
                      <a:lnTo>
                        <a:pt x="294" y="1104"/>
                      </a:lnTo>
                      <a:lnTo>
                        <a:pt x="294" y="1110"/>
                      </a:lnTo>
                      <a:lnTo>
                        <a:pt x="300" y="1116"/>
                      </a:lnTo>
                      <a:lnTo>
                        <a:pt x="300" y="1128"/>
                      </a:lnTo>
                      <a:lnTo>
                        <a:pt x="306" y="1140"/>
                      </a:lnTo>
                      <a:lnTo>
                        <a:pt x="306" y="1152"/>
                      </a:lnTo>
                      <a:lnTo>
                        <a:pt x="312" y="1158"/>
                      </a:lnTo>
                      <a:lnTo>
                        <a:pt x="294" y="1176"/>
                      </a:lnTo>
                      <a:lnTo>
                        <a:pt x="294" y="1188"/>
                      </a:lnTo>
                      <a:lnTo>
                        <a:pt x="306" y="1194"/>
                      </a:lnTo>
                      <a:lnTo>
                        <a:pt x="318" y="1194"/>
                      </a:lnTo>
                      <a:lnTo>
                        <a:pt x="330" y="1188"/>
                      </a:lnTo>
                      <a:lnTo>
                        <a:pt x="354" y="1164"/>
                      </a:lnTo>
                      <a:lnTo>
                        <a:pt x="366" y="1158"/>
                      </a:lnTo>
                      <a:lnTo>
                        <a:pt x="378" y="1158"/>
                      </a:lnTo>
                      <a:lnTo>
                        <a:pt x="384" y="1134"/>
                      </a:lnTo>
                      <a:lnTo>
                        <a:pt x="384" y="1110"/>
                      </a:lnTo>
                      <a:lnTo>
                        <a:pt x="396" y="1110"/>
                      </a:lnTo>
                      <a:lnTo>
                        <a:pt x="402" y="1116"/>
                      </a:lnTo>
                      <a:lnTo>
                        <a:pt x="414" y="1116"/>
                      </a:lnTo>
                      <a:lnTo>
                        <a:pt x="426" y="1104"/>
                      </a:lnTo>
                      <a:lnTo>
                        <a:pt x="426" y="1092"/>
                      </a:lnTo>
                      <a:lnTo>
                        <a:pt x="420" y="1086"/>
                      </a:lnTo>
                      <a:lnTo>
                        <a:pt x="414" y="1074"/>
                      </a:lnTo>
                      <a:lnTo>
                        <a:pt x="408" y="1068"/>
                      </a:lnTo>
                      <a:lnTo>
                        <a:pt x="408" y="1062"/>
                      </a:lnTo>
                      <a:lnTo>
                        <a:pt x="414" y="1056"/>
                      </a:lnTo>
                      <a:lnTo>
                        <a:pt x="426" y="1056"/>
                      </a:lnTo>
                      <a:lnTo>
                        <a:pt x="438" y="1050"/>
                      </a:lnTo>
                      <a:lnTo>
                        <a:pt x="444" y="1044"/>
                      </a:lnTo>
                      <a:lnTo>
                        <a:pt x="450" y="1044"/>
                      </a:lnTo>
                      <a:lnTo>
                        <a:pt x="456" y="1050"/>
                      </a:lnTo>
                      <a:lnTo>
                        <a:pt x="468" y="1050"/>
                      </a:lnTo>
                      <a:lnTo>
                        <a:pt x="480" y="1044"/>
                      </a:lnTo>
                      <a:lnTo>
                        <a:pt x="498" y="1038"/>
                      </a:lnTo>
                      <a:lnTo>
                        <a:pt x="546" y="1014"/>
                      </a:lnTo>
                      <a:lnTo>
                        <a:pt x="582" y="978"/>
                      </a:lnTo>
                      <a:lnTo>
                        <a:pt x="588" y="960"/>
                      </a:lnTo>
                      <a:lnTo>
                        <a:pt x="594" y="936"/>
                      </a:lnTo>
                      <a:lnTo>
                        <a:pt x="606" y="876"/>
                      </a:lnTo>
                      <a:lnTo>
                        <a:pt x="606" y="846"/>
                      </a:lnTo>
                      <a:lnTo>
                        <a:pt x="600" y="834"/>
                      </a:lnTo>
                      <a:lnTo>
                        <a:pt x="576" y="810"/>
                      </a:lnTo>
                      <a:lnTo>
                        <a:pt x="594" y="804"/>
                      </a:lnTo>
                      <a:lnTo>
                        <a:pt x="594" y="774"/>
                      </a:lnTo>
                      <a:lnTo>
                        <a:pt x="588" y="756"/>
                      </a:lnTo>
                      <a:lnTo>
                        <a:pt x="588" y="744"/>
                      </a:lnTo>
                      <a:lnTo>
                        <a:pt x="570" y="708"/>
                      </a:lnTo>
                      <a:lnTo>
                        <a:pt x="564" y="690"/>
                      </a:lnTo>
                      <a:lnTo>
                        <a:pt x="558" y="684"/>
                      </a:lnTo>
                      <a:lnTo>
                        <a:pt x="552" y="672"/>
                      </a:lnTo>
                      <a:lnTo>
                        <a:pt x="558" y="666"/>
                      </a:lnTo>
                      <a:lnTo>
                        <a:pt x="558" y="642"/>
                      </a:lnTo>
                      <a:lnTo>
                        <a:pt x="522" y="606"/>
                      </a:lnTo>
                      <a:lnTo>
                        <a:pt x="486" y="576"/>
                      </a:lnTo>
                      <a:lnTo>
                        <a:pt x="456" y="552"/>
                      </a:lnTo>
                      <a:lnTo>
                        <a:pt x="432" y="534"/>
                      </a:lnTo>
                      <a:lnTo>
                        <a:pt x="420" y="528"/>
                      </a:lnTo>
                      <a:lnTo>
                        <a:pt x="402" y="516"/>
                      </a:lnTo>
                      <a:lnTo>
                        <a:pt x="390" y="510"/>
                      </a:lnTo>
                      <a:lnTo>
                        <a:pt x="384" y="504"/>
                      </a:lnTo>
                      <a:lnTo>
                        <a:pt x="384" y="468"/>
                      </a:lnTo>
                      <a:lnTo>
                        <a:pt x="336" y="420"/>
                      </a:lnTo>
                      <a:lnTo>
                        <a:pt x="306" y="384"/>
                      </a:lnTo>
                      <a:lnTo>
                        <a:pt x="288" y="354"/>
                      </a:lnTo>
                      <a:lnTo>
                        <a:pt x="282" y="336"/>
                      </a:lnTo>
                      <a:lnTo>
                        <a:pt x="282" y="318"/>
                      </a:lnTo>
                      <a:lnTo>
                        <a:pt x="276" y="306"/>
                      </a:lnTo>
                      <a:lnTo>
                        <a:pt x="276" y="282"/>
                      </a:lnTo>
                      <a:lnTo>
                        <a:pt x="282" y="276"/>
                      </a:lnTo>
                      <a:lnTo>
                        <a:pt x="294" y="252"/>
                      </a:lnTo>
                      <a:lnTo>
                        <a:pt x="294" y="240"/>
                      </a:lnTo>
                      <a:lnTo>
                        <a:pt x="300" y="240"/>
                      </a:lnTo>
                      <a:lnTo>
                        <a:pt x="312" y="228"/>
                      </a:lnTo>
                      <a:lnTo>
                        <a:pt x="324" y="222"/>
                      </a:lnTo>
                      <a:lnTo>
                        <a:pt x="336" y="210"/>
                      </a:lnTo>
                      <a:lnTo>
                        <a:pt x="336" y="204"/>
                      </a:lnTo>
                      <a:lnTo>
                        <a:pt x="342" y="198"/>
                      </a:lnTo>
                      <a:lnTo>
                        <a:pt x="372" y="198"/>
                      </a:lnTo>
                      <a:lnTo>
                        <a:pt x="384" y="186"/>
                      </a:lnTo>
                      <a:lnTo>
                        <a:pt x="390" y="174"/>
                      </a:lnTo>
                      <a:lnTo>
                        <a:pt x="390" y="156"/>
                      </a:lnTo>
                      <a:lnTo>
                        <a:pt x="396" y="144"/>
                      </a:lnTo>
                      <a:lnTo>
                        <a:pt x="390" y="144"/>
                      </a:lnTo>
                      <a:lnTo>
                        <a:pt x="384" y="138"/>
                      </a:lnTo>
                      <a:lnTo>
                        <a:pt x="354" y="138"/>
                      </a:lnTo>
                      <a:lnTo>
                        <a:pt x="342" y="132"/>
                      </a:lnTo>
                      <a:lnTo>
                        <a:pt x="336" y="120"/>
                      </a:lnTo>
                      <a:lnTo>
                        <a:pt x="330" y="114"/>
                      </a:lnTo>
                      <a:lnTo>
                        <a:pt x="312" y="114"/>
                      </a:lnTo>
                      <a:lnTo>
                        <a:pt x="312" y="96"/>
                      </a:lnTo>
                      <a:lnTo>
                        <a:pt x="300" y="90"/>
                      </a:lnTo>
                      <a:lnTo>
                        <a:pt x="294" y="72"/>
                      </a:lnTo>
                      <a:lnTo>
                        <a:pt x="312" y="54"/>
                      </a:lnTo>
                      <a:lnTo>
                        <a:pt x="312" y="48"/>
                      </a:lnTo>
                      <a:lnTo>
                        <a:pt x="306" y="42"/>
                      </a:lnTo>
                      <a:lnTo>
                        <a:pt x="276" y="42"/>
                      </a:lnTo>
                      <a:lnTo>
                        <a:pt x="264" y="30"/>
                      </a:lnTo>
                      <a:lnTo>
                        <a:pt x="234" y="36"/>
                      </a:lnTo>
                      <a:lnTo>
                        <a:pt x="204" y="0"/>
                      </a:lnTo>
                      <a:lnTo>
                        <a:pt x="198" y="0"/>
                      </a:lnTo>
                      <a:lnTo>
                        <a:pt x="192" y="6"/>
                      </a:lnTo>
                      <a:lnTo>
                        <a:pt x="180" y="12"/>
                      </a:lnTo>
                      <a:lnTo>
                        <a:pt x="174" y="18"/>
                      </a:lnTo>
                      <a:lnTo>
                        <a:pt x="174" y="30"/>
                      </a:lnTo>
                      <a:lnTo>
                        <a:pt x="168" y="42"/>
                      </a:lnTo>
                      <a:lnTo>
                        <a:pt x="168" y="48"/>
                      </a:lnTo>
                      <a:lnTo>
                        <a:pt x="150" y="48"/>
                      </a:lnTo>
                      <a:lnTo>
                        <a:pt x="144" y="54"/>
                      </a:lnTo>
                      <a:lnTo>
                        <a:pt x="138" y="48"/>
                      </a:lnTo>
                      <a:lnTo>
                        <a:pt x="120" y="48"/>
                      </a:lnTo>
                      <a:lnTo>
                        <a:pt x="132" y="60"/>
                      </a:lnTo>
                      <a:lnTo>
                        <a:pt x="132" y="72"/>
                      </a:lnTo>
                      <a:lnTo>
                        <a:pt x="114" y="72"/>
                      </a:lnTo>
                      <a:lnTo>
                        <a:pt x="108" y="66"/>
                      </a:lnTo>
                      <a:lnTo>
                        <a:pt x="96" y="48"/>
                      </a:lnTo>
                      <a:lnTo>
                        <a:pt x="90" y="48"/>
                      </a:lnTo>
                      <a:lnTo>
                        <a:pt x="90" y="66"/>
                      </a:lnTo>
                      <a:lnTo>
                        <a:pt x="72" y="48"/>
                      </a:lnTo>
                      <a:lnTo>
                        <a:pt x="66" y="54"/>
                      </a:lnTo>
                      <a:lnTo>
                        <a:pt x="60" y="66"/>
                      </a:lnTo>
                      <a:lnTo>
                        <a:pt x="54" y="72"/>
                      </a:lnTo>
                      <a:lnTo>
                        <a:pt x="42" y="72"/>
                      </a:lnTo>
                      <a:lnTo>
                        <a:pt x="18" y="48"/>
                      </a:lnTo>
                      <a:lnTo>
                        <a:pt x="6" y="48"/>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288" name="Venezuela"/>
                <p:cNvSpPr>
                  <a:spLocks noEditPoints="1"/>
                </p:cNvSpPr>
                <p:nvPr/>
              </p:nvSpPr>
              <p:spPr bwMode="gray">
                <a:xfrm>
                  <a:off x="1323" y="2059"/>
                  <a:ext cx="244" cy="238"/>
                </a:xfrm>
                <a:custGeom>
                  <a:avLst/>
                  <a:gdLst>
                    <a:gd name="T0" fmla="*/ 2147483647 w 954"/>
                    <a:gd name="T1" fmla="*/ 2147483647 h 930"/>
                    <a:gd name="T2" fmla="*/ 2147483647 w 954"/>
                    <a:gd name="T3" fmla="*/ 2147483647 h 930"/>
                    <a:gd name="T4" fmla="*/ 2147483647 w 954"/>
                    <a:gd name="T5" fmla="*/ 2147483647 h 930"/>
                    <a:gd name="T6" fmla="*/ 2147483647 w 954"/>
                    <a:gd name="T7" fmla="*/ 2147483647 h 930"/>
                    <a:gd name="T8" fmla="*/ 2147483647 w 954"/>
                    <a:gd name="T9" fmla="*/ 2147483647 h 930"/>
                    <a:gd name="T10" fmla="*/ 2147483647 w 954"/>
                    <a:gd name="T11" fmla="*/ 2147483647 h 930"/>
                    <a:gd name="T12" fmla="*/ 2147483647 w 954"/>
                    <a:gd name="T13" fmla="*/ 2147483647 h 930"/>
                    <a:gd name="T14" fmla="*/ 2147483647 w 954"/>
                    <a:gd name="T15" fmla="*/ 2147483647 h 930"/>
                    <a:gd name="T16" fmla="*/ 2147483647 w 954"/>
                    <a:gd name="T17" fmla="*/ 2147483647 h 930"/>
                    <a:gd name="T18" fmla="*/ 2147483647 w 954"/>
                    <a:gd name="T19" fmla="*/ 2147483647 h 930"/>
                    <a:gd name="T20" fmla="*/ 2147483647 w 954"/>
                    <a:gd name="T21" fmla="*/ 2147483647 h 930"/>
                    <a:gd name="T22" fmla="*/ 2147483647 w 954"/>
                    <a:gd name="T23" fmla="*/ 2147483647 h 930"/>
                    <a:gd name="T24" fmla="*/ 2147483647 w 954"/>
                    <a:gd name="T25" fmla="*/ 2147483647 h 930"/>
                    <a:gd name="T26" fmla="*/ 2147483647 w 954"/>
                    <a:gd name="T27" fmla="*/ 2147483647 h 930"/>
                    <a:gd name="T28" fmla="*/ 2147483647 w 954"/>
                    <a:gd name="T29" fmla="*/ 2147483647 h 930"/>
                    <a:gd name="T30" fmla="*/ 2147483647 w 954"/>
                    <a:gd name="T31" fmla="*/ 2147483647 h 930"/>
                    <a:gd name="T32" fmla="*/ 2147483647 w 954"/>
                    <a:gd name="T33" fmla="*/ 2147483647 h 930"/>
                    <a:gd name="T34" fmla="*/ 2147483647 w 954"/>
                    <a:gd name="T35" fmla="*/ 2147483647 h 930"/>
                    <a:gd name="T36" fmla="*/ 2147483647 w 954"/>
                    <a:gd name="T37" fmla="*/ 2147483647 h 930"/>
                    <a:gd name="T38" fmla="*/ 2147483647 w 954"/>
                    <a:gd name="T39" fmla="*/ 2147483647 h 930"/>
                    <a:gd name="T40" fmla="*/ 2147483647 w 954"/>
                    <a:gd name="T41" fmla="*/ 2147483647 h 930"/>
                    <a:gd name="T42" fmla="*/ 2147483647 w 954"/>
                    <a:gd name="T43" fmla="*/ 2147483647 h 930"/>
                    <a:gd name="T44" fmla="*/ 2147483647 w 954"/>
                    <a:gd name="T45" fmla="*/ 2147483647 h 930"/>
                    <a:gd name="T46" fmla="*/ 2147483647 w 954"/>
                    <a:gd name="T47" fmla="*/ 2147483647 h 930"/>
                    <a:gd name="T48" fmla="*/ 2147483647 w 954"/>
                    <a:gd name="T49" fmla="*/ 2147483647 h 930"/>
                    <a:gd name="T50" fmla="*/ 0 w 954"/>
                    <a:gd name="T51" fmla="*/ 2147483647 h 930"/>
                    <a:gd name="T52" fmla="*/ 2147483647 w 954"/>
                    <a:gd name="T53" fmla="*/ 2147483647 h 930"/>
                    <a:gd name="T54" fmla="*/ 2147483647 w 954"/>
                    <a:gd name="T55" fmla="*/ 2147483647 h 930"/>
                    <a:gd name="T56" fmla="*/ 2147483647 w 954"/>
                    <a:gd name="T57" fmla="*/ 2147483647 h 930"/>
                    <a:gd name="T58" fmla="*/ 2147483647 w 954"/>
                    <a:gd name="T59" fmla="*/ 2147483647 h 930"/>
                    <a:gd name="T60" fmla="*/ 2147483647 w 954"/>
                    <a:gd name="T61" fmla="*/ 2147483647 h 930"/>
                    <a:gd name="T62" fmla="*/ 2147483647 w 954"/>
                    <a:gd name="T63" fmla="*/ 2147483647 h 930"/>
                    <a:gd name="T64" fmla="*/ 2147483647 w 954"/>
                    <a:gd name="T65" fmla="*/ 2147483647 h 930"/>
                    <a:gd name="T66" fmla="*/ 2147483647 w 954"/>
                    <a:gd name="T67" fmla="*/ 2147483647 h 930"/>
                    <a:gd name="T68" fmla="*/ 2147483647 w 954"/>
                    <a:gd name="T69" fmla="*/ 2147483647 h 930"/>
                    <a:gd name="T70" fmla="*/ 2147483647 w 954"/>
                    <a:gd name="T71" fmla="*/ 2147483647 h 930"/>
                    <a:gd name="T72" fmla="*/ 2147483647 w 954"/>
                    <a:gd name="T73" fmla="*/ 2147483647 h 930"/>
                    <a:gd name="T74" fmla="*/ 2147483647 w 954"/>
                    <a:gd name="T75" fmla="*/ 2147483647 h 930"/>
                    <a:gd name="T76" fmla="*/ 2147483647 w 954"/>
                    <a:gd name="T77" fmla="*/ 2147483647 h 930"/>
                    <a:gd name="T78" fmla="*/ 2147483647 w 954"/>
                    <a:gd name="T79" fmla="*/ 2147483647 h 930"/>
                    <a:gd name="T80" fmla="*/ 2147483647 w 954"/>
                    <a:gd name="T81" fmla="*/ 2147483647 h 930"/>
                    <a:gd name="T82" fmla="*/ 2147483647 w 954"/>
                    <a:gd name="T83" fmla="*/ 2147483647 h 930"/>
                    <a:gd name="T84" fmla="*/ 2147483647 w 954"/>
                    <a:gd name="T85" fmla="*/ 2147483647 h 930"/>
                    <a:gd name="T86" fmla="*/ 2147483647 w 954"/>
                    <a:gd name="T87" fmla="*/ 2147483647 h 930"/>
                    <a:gd name="T88" fmla="*/ 2147483647 w 954"/>
                    <a:gd name="T89" fmla="*/ 2147483647 h 930"/>
                    <a:gd name="T90" fmla="*/ 2147483647 w 954"/>
                    <a:gd name="T91" fmla="*/ 2147483647 h 930"/>
                    <a:gd name="T92" fmla="*/ 2147483647 w 954"/>
                    <a:gd name="T93" fmla="*/ 2147483647 h 930"/>
                    <a:gd name="T94" fmla="*/ 2147483647 w 954"/>
                    <a:gd name="T95" fmla="*/ 2147483647 h 930"/>
                    <a:gd name="T96" fmla="*/ 2147483647 w 954"/>
                    <a:gd name="T97" fmla="*/ 2147483647 h 930"/>
                    <a:gd name="T98" fmla="*/ 2147483647 w 954"/>
                    <a:gd name="T99" fmla="*/ 2147483647 h 930"/>
                    <a:gd name="T100" fmla="*/ 2147483647 w 954"/>
                    <a:gd name="T101" fmla="*/ 2147483647 h 930"/>
                    <a:gd name="T102" fmla="*/ 2147483647 w 954"/>
                    <a:gd name="T103" fmla="*/ 2147483647 h 930"/>
                    <a:gd name="T104" fmla="*/ 2147483647 w 954"/>
                    <a:gd name="T105" fmla="*/ 2147483647 h 930"/>
                    <a:gd name="T106" fmla="*/ 2147483647 w 954"/>
                    <a:gd name="T107" fmla="*/ 2147483647 h 930"/>
                    <a:gd name="T108" fmla="*/ 2147483647 w 954"/>
                    <a:gd name="T109" fmla="*/ 2147483647 h 930"/>
                    <a:gd name="T110" fmla="*/ 2147483647 w 954"/>
                    <a:gd name="T111" fmla="*/ 2147483647 h 930"/>
                    <a:gd name="T112" fmla="*/ 2147483647 w 954"/>
                    <a:gd name="T113" fmla="*/ 2147483647 h 930"/>
                    <a:gd name="T114" fmla="*/ 2147483647 w 954"/>
                    <a:gd name="T115" fmla="*/ 2147483647 h 930"/>
                    <a:gd name="T116" fmla="*/ 2147483647 w 954"/>
                    <a:gd name="T117" fmla="*/ 2147483647 h 930"/>
                    <a:gd name="T118" fmla="*/ 2147483647 w 954"/>
                    <a:gd name="T119" fmla="*/ 2147483647 h 93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54"/>
                    <a:gd name="T181" fmla="*/ 0 h 930"/>
                    <a:gd name="T182" fmla="*/ 954 w 954"/>
                    <a:gd name="T183" fmla="*/ 930 h 93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54" h="930">
                      <a:moveTo>
                        <a:pt x="264" y="42"/>
                      </a:moveTo>
                      <a:lnTo>
                        <a:pt x="264" y="12"/>
                      </a:lnTo>
                      <a:lnTo>
                        <a:pt x="252" y="0"/>
                      </a:lnTo>
                      <a:lnTo>
                        <a:pt x="234" y="0"/>
                      </a:lnTo>
                      <a:lnTo>
                        <a:pt x="228" y="6"/>
                      </a:lnTo>
                      <a:lnTo>
                        <a:pt x="228" y="18"/>
                      </a:lnTo>
                      <a:lnTo>
                        <a:pt x="234" y="24"/>
                      </a:lnTo>
                      <a:lnTo>
                        <a:pt x="234" y="36"/>
                      </a:lnTo>
                      <a:lnTo>
                        <a:pt x="240" y="42"/>
                      </a:lnTo>
                      <a:lnTo>
                        <a:pt x="264" y="42"/>
                      </a:lnTo>
                      <a:close/>
                      <a:moveTo>
                        <a:pt x="936" y="276"/>
                      </a:moveTo>
                      <a:lnTo>
                        <a:pt x="930" y="276"/>
                      </a:lnTo>
                      <a:lnTo>
                        <a:pt x="924" y="282"/>
                      </a:lnTo>
                      <a:lnTo>
                        <a:pt x="912" y="288"/>
                      </a:lnTo>
                      <a:lnTo>
                        <a:pt x="906" y="294"/>
                      </a:lnTo>
                      <a:lnTo>
                        <a:pt x="900" y="288"/>
                      </a:lnTo>
                      <a:lnTo>
                        <a:pt x="888" y="288"/>
                      </a:lnTo>
                      <a:lnTo>
                        <a:pt x="882" y="282"/>
                      </a:lnTo>
                      <a:lnTo>
                        <a:pt x="876" y="282"/>
                      </a:lnTo>
                      <a:lnTo>
                        <a:pt x="852" y="306"/>
                      </a:lnTo>
                      <a:lnTo>
                        <a:pt x="822" y="282"/>
                      </a:lnTo>
                      <a:lnTo>
                        <a:pt x="846" y="282"/>
                      </a:lnTo>
                      <a:lnTo>
                        <a:pt x="858" y="276"/>
                      </a:lnTo>
                      <a:lnTo>
                        <a:pt x="864" y="276"/>
                      </a:lnTo>
                      <a:lnTo>
                        <a:pt x="870" y="264"/>
                      </a:lnTo>
                      <a:lnTo>
                        <a:pt x="870" y="246"/>
                      </a:lnTo>
                      <a:lnTo>
                        <a:pt x="882" y="234"/>
                      </a:lnTo>
                      <a:lnTo>
                        <a:pt x="888" y="222"/>
                      </a:lnTo>
                      <a:lnTo>
                        <a:pt x="876" y="210"/>
                      </a:lnTo>
                      <a:lnTo>
                        <a:pt x="846" y="210"/>
                      </a:lnTo>
                      <a:lnTo>
                        <a:pt x="846" y="204"/>
                      </a:lnTo>
                      <a:lnTo>
                        <a:pt x="840" y="198"/>
                      </a:lnTo>
                      <a:lnTo>
                        <a:pt x="840" y="192"/>
                      </a:lnTo>
                      <a:lnTo>
                        <a:pt x="834" y="186"/>
                      </a:lnTo>
                      <a:lnTo>
                        <a:pt x="828" y="186"/>
                      </a:lnTo>
                      <a:lnTo>
                        <a:pt x="822" y="192"/>
                      </a:lnTo>
                      <a:lnTo>
                        <a:pt x="822" y="210"/>
                      </a:lnTo>
                      <a:lnTo>
                        <a:pt x="816" y="198"/>
                      </a:lnTo>
                      <a:lnTo>
                        <a:pt x="816" y="180"/>
                      </a:lnTo>
                      <a:lnTo>
                        <a:pt x="792" y="180"/>
                      </a:lnTo>
                      <a:lnTo>
                        <a:pt x="786" y="210"/>
                      </a:lnTo>
                      <a:lnTo>
                        <a:pt x="780" y="204"/>
                      </a:lnTo>
                      <a:lnTo>
                        <a:pt x="774" y="192"/>
                      </a:lnTo>
                      <a:lnTo>
                        <a:pt x="774" y="186"/>
                      </a:lnTo>
                      <a:lnTo>
                        <a:pt x="768" y="180"/>
                      </a:lnTo>
                      <a:lnTo>
                        <a:pt x="768" y="156"/>
                      </a:lnTo>
                      <a:lnTo>
                        <a:pt x="738" y="168"/>
                      </a:lnTo>
                      <a:lnTo>
                        <a:pt x="744" y="162"/>
                      </a:lnTo>
                      <a:lnTo>
                        <a:pt x="756" y="156"/>
                      </a:lnTo>
                      <a:lnTo>
                        <a:pt x="762" y="156"/>
                      </a:lnTo>
                      <a:lnTo>
                        <a:pt x="762" y="144"/>
                      </a:lnTo>
                      <a:lnTo>
                        <a:pt x="750" y="138"/>
                      </a:lnTo>
                      <a:lnTo>
                        <a:pt x="744" y="138"/>
                      </a:lnTo>
                      <a:lnTo>
                        <a:pt x="744" y="132"/>
                      </a:lnTo>
                      <a:lnTo>
                        <a:pt x="750" y="132"/>
                      </a:lnTo>
                      <a:lnTo>
                        <a:pt x="762" y="126"/>
                      </a:lnTo>
                      <a:lnTo>
                        <a:pt x="774" y="126"/>
                      </a:lnTo>
                      <a:lnTo>
                        <a:pt x="792" y="120"/>
                      </a:lnTo>
                      <a:lnTo>
                        <a:pt x="804" y="120"/>
                      </a:lnTo>
                      <a:lnTo>
                        <a:pt x="810" y="114"/>
                      </a:lnTo>
                      <a:lnTo>
                        <a:pt x="726" y="114"/>
                      </a:lnTo>
                      <a:lnTo>
                        <a:pt x="690" y="120"/>
                      </a:lnTo>
                      <a:lnTo>
                        <a:pt x="678" y="120"/>
                      </a:lnTo>
                      <a:lnTo>
                        <a:pt x="690" y="132"/>
                      </a:lnTo>
                      <a:lnTo>
                        <a:pt x="678" y="132"/>
                      </a:lnTo>
                      <a:lnTo>
                        <a:pt x="666" y="138"/>
                      </a:lnTo>
                      <a:lnTo>
                        <a:pt x="654" y="138"/>
                      </a:lnTo>
                      <a:lnTo>
                        <a:pt x="642" y="144"/>
                      </a:lnTo>
                      <a:lnTo>
                        <a:pt x="636" y="144"/>
                      </a:lnTo>
                      <a:lnTo>
                        <a:pt x="624" y="150"/>
                      </a:lnTo>
                      <a:lnTo>
                        <a:pt x="606" y="168"/>
                      </a:lnTo>
                      <a:lnTo>
                        <a:pt x="594" y="174"/>
                      </a:lnTo>
                      <a:lnTo>
                        <a:pt x="576" y="174"/>
                      </a:lnTo>
                      <a:lnTo>
                        <a:pt x="564" y="162"/>
                      </a:lnTo>
                      <a:lnTo>
                        <a:pt x="546" y="156"/>
                      </a:lnTo>
                      <a:lnTo>
                        <a:pt x="534" y="144"/>
                      </a:lnTo>
                      <a:lnTo>
                        <a:pt x="522" y="138"/>
                      </a:lnTo>
                      <a:lnTo>
                        <a:pt x="510" y="126"/>
                      </a:lnTo>
                      <a:lnTo>
                        <a:pt x="492" y="126"/>
                      </a:lnTo>
                      <a:lnTo>
                        <a:pt x="450" y="132"/>
                      </a:lnTo>
                      <a:lnTo>
                        <a:pt x="372" y="132"/>
                      </a:lnTo>
                      <a:lnTo>
                        <a:pt x="360" y="120"/>
                      </a:lnTo>
                      <a:lnTo>
                        <a:pt x="354" y="108"/>
                      </a:lnTo>
                      <a:lnTo>
                        <a:pt x="354" y="84"/>
                      </a:lnTo>
                      <a:lnTo>
                        <a:pt x="348" y="72"/>
                      </a:lnTo>
                      <a:lnTo>
                        <a:pt x="336" y="60"/>
                      </a:lnTo>
                      <a:lnTo>
                        <a:pt x="324" y="54"/>
                      </a:lnTo>
                      <a:lnTo>
                        <a:pt x="276" y="54"/>
                      </a:lnTo>
                      <a:lnTo>
                        <a:pt x="240" y="60"/>
                      </a:lnTo>
                      <a:lnTo>
                        <a:pt x="222" y="72"/>
                      </a:lnTo>
                      <a:lnTo>
                        <a:pt x="210" y="78"/>
                      </a:lnTo>
                      <a:lnTo>
                        <a:pt x="204" y="78"/>
                      </a:lnTo>
                      <a:lnTo>
                        <a:pt x="180" y="90"/>
                      </a:lnTo>
                      <a:lnTo>
                        <a:pt x="162" y="96"/>
                      </a:lnTo>
                      <a:lnTo>
                        <a:pt x="144" y="108"/>
                      </a:lnTo>
                      <a:lnTo>
                        <a:pt x="138" y="120"/>
                      </a:lnTo>
                      <a:lnTo>
                        <a:pt x="138" y="144"/>
                      </a:lnTo>
                      <a:lnTo>
                        <a:pt x="150" y="168"/>
                      </a:lnTo>
                      <a:lnTo>
                        <a:pt x="156" y="186"/>
                      </a:lnTo>
                      <a:lnTo>
                        <a:pt x="162" y="198"/>
                      </a:lnTo>
                      <a:lnTo>
                        <a:pt x="156" y="210"/>
                      </a:lnTo>
                      <a:lnTo>
                        <a:pt x="150" y="228"/>
                      </a:lnTo>
                      <a:lnTo>
                        <a:pt x="138" y="234"/>
                      </a:lnTo>
                      <a:lnTo>
                        <a:pt x="132" y="246"/>
                      </a:lnTo>
                      <a:lnTo>
                        <a:pt x="126" y="252"/>
                      </a:lnTo>
                      <a:lnTo>
                        <a:pt x="120" y="252"/>
                      </a:lnTo>
                      <a:lnTo>
                        <a:pt x="126" y="222"/>
                      </a:lnTo>
                      <a:lnTo>
                        <a:pt x="114" y="222"/>
                      </a:lnTo>
                      <a:lnTo>
                        <a:pt x="108" y="216"/>
                      </a:lnTo>
                      <a:lnTo>
                        <a:pt x="96" y="210"/>
                      </a:lnTo>
                      <a:lnTo>
                        <a:pt x="90" y="204"/>
                      </a:lnTo>
                      <a:lnTo>
                        <a:pt x="84" y="192"/>
                      </a:lnTo>
                      <a:lnTo>
                        <a:pt x="96" y="168"/>
                      </a:lnTo>
                      <a:lnTo>
                        <a:pt x="108" y="156"/>
                      </a:lnTo>
                      <a:lnTo>
                        <a:pt x="120" y="132"/>
                      </a:lnTo>
                      <a:lnTo>
                        <a:pt x="120" y="78"/>
                      </a:lnTo>
                      <a:lnTo>
                        <a:pt x="114" y="66"/>
                      </a:lnTo>
                      <a:lnTo>
                        <a:pt x="114" y="54"/>
                      </a:lnTo>
                      <a:lnTo>
                        <a:pt x="108" y="48"/>
                      </a:lnTo>
                      <a:lnTo>
                        <a:pt x="108" y="54"/>
                      </a:lnTo>
                      <a:lnTo>
                        <a:pt x="102" y="66"/>
                      </a:lnTo>
                      <a:lnTo>
                        <a:pt x="90" y="78"/>
                      </a:lnTo>
                      <a:lnTo>
                        <a:pt x="72" y="84"/>
                      </a:lnTo>
                      <a:lnTo>
                        <a:pt x="48" y="108"/>
                      </a:lnTo>
                      <a:lnTo>
                        <a:pt x="36" y="144"/>
                      </a:lnTo>
                      <a:lnTo>
                        <a:pt x="36" y="162"/>
                      </a:lnTo>
                      <a:lnTo>
                        <a:pt x="30" y="168"/>
                      </a:lnTo>
                      <a:lnTo>
                        <a:pt x="30" y="192"/>
                      </a:lnTo>
                      <a:lnTo>
                        <a:pt x="6" y="216"/>
                      </a:lnTo>
                      <a:lnTo>
                        <a:pt x="0" y="228"/>
                      </a:lnTo>
                      <a:lnTo>
                        <a:pt x="0" y="240"/>
                      </a:lnTo>
                      <a:lnTo>
                        <a:pt x="6" y="246"/>
                      </a:lnTo>
                      <a:lnTo>
                        <a:pt x="6" y="240"/>
                      </a:lnTo>
                      <a:lnTo>
                        <a:pt x="18" y="228"/>
                      </a:lnTo>
                      <a:lnTo>
                        <a:pt x="24" y="228"/>
                      </a:lnTo>
                      <a:lnTo>
                        <a:pt x="36" y="240"/>
                      </a:lnTo>
                      <a:lnTo>
                        <a:pt x="42" y="252"/>
                      </a:lnTo>
                      <a:lnTo>
                        <a:pt x="42" y="288"/>
                      </a:lnTo>
                      <a:lnTo>
                        <a:pt x="48" y="294"/>
                      </a:lnTo>
                      <a:lnTo>
                        <a:pt x="60" y="300"/>
                      </a:lnTo>
                      <a:lnTo>
                        <a:pt x="66" y="306"/>
                      </a:lnTo>
                      <a:lnTo>
                        <a:pt x="66" y="318"/>
                      </a:lnTo>
                      <a:lnTo>
                        <a:pt x="54" y="342"/>
                      </a:lnTo>
                      <a:lnTo>
                        <a:pt x="54" y="384"/>
                      </a:lnTo>
                      <a:lnTo>
                        <a:pt x="66" y="384"/>
                      </a:lnTo>
                      <a:lnTo>
                        <a:pt x="66" y="396"/>
                      </a:lnTo>
                      <a:lnTo>
                        <a:pt x="72" y="408"/>
                      </a:lnTo>
                      <a:lnTo>
                        <a:pt x="78" y="414"/>
                      </a:lnTo>
                      <a:lnTo>
                        <a:pt x="102" y="414"/>
                      </a:lnTo>
                      <a:lnTo>
                        <a:pt x="108" y="408"/>
                      </a:lnTo>
                      <a:lnTo>
                        <a:pt x="120" y="408"/>
                      </a:lnTo>
                      <a:lnTo>
                        <a:pt x="132" y="414"/>
                      </a:lnTo>
                      <a:lnTo>
                        <a:pt x="138" y="414"/>
                      </a:lnTo>
                      <a:lnTo>
                        <a:pt x="150" y="420"/>
                      </a:lnTo>
                      <a:lnTo>
                        <a:pt x="162" y="420"/>
                      </a:lnTo>
                      <a:lnTo>
                        <a:pt x="168" y="414"/>
                      </a:lnTo>
                      <a:lnTo>
                        <a:pt x="168" y="408"/>
                      </a:lnTo>
                      <a:lnTo>
                        <a:pt x="180" y="408"/>
                      </a:lnTo>
                      <a:lnTo>
                        <a:pt x="186" y="414"/>
                      </a:lnTo>
                      <a:lnTo>
                        <a:pt x="198" y="420"/>
                      </a:lnTo>
                      <a:lnTo>
                        <a:pt x="222" y="420"/>
                      </a:lnTo>
                      <a:lnTo>
                        <a:pt x="222" y="426"/>
                      </a:lnTo>
                      <a:lnTo>
                        <a:pt x="228" y="432"/>
                      </a:lnTo>
                      <a:lnTo>
                        <a:pt x="234" y="444"/>
                      </a:lnTo>
                      <a:lnTo>
                        <a:pt x="240" y="462"/>
                      </a:lnTo>
                      <a:lnTo>
                        <a:pt x="264" y="486"/>
                      </a:lnTo>
                      <a:lnTo>
                        <a:pt x="288" y="486"/>
                      </a:lnTo>
                      <a:lnTo>
                        <a:pt x="288" y="480"/>
                      </a:lnTo>
                      <a:lnTo>
                        <a:pt x="306" y="480"/>
                      </a:lnTo>
                      <a:lnTo>
                        <a:pt x="312" y="486"/>
                      </a:lnTo>
                      <a:lnTo>
                        <a:pt x="336" y="486"/>
                      </a:lnTo>
                      <a:lnTo>
                        <a:pt x="342" y="480"/>
                      </a:lnTo>
                      <a:lnTo>
                        <a:pt x="366" y="486"/>
                      </a:lnTo>
                      <a:lnTo>
                        <a:pt x="372" y="480"/>
                      </a:lnTo>
                      <a:lnTo>
                        <a:pt x="384" y="474"/>
                      </a:lnTo>
                      <a:lnTo>
                        <a:pt x="402" y="474"/>
                      </a:lnTo>
                      <a:lnTo>
                        <a:pt x="408" y="480"/>
                      </a:lnTo>
                      <a:lnTo>
                        <a:pt x="408" y="492"/>
                      </a:lnTo>
                      <a:lnTo>
                        <a:pt x="390" y="510"/>
                      </a:lnTo>
                      <a:lnTo>
                        <a:pt x="390" y="534"/>
                      </a:lnTo>
                      <a:lnTo>
                        <a:pt x="384" y="540"/>
                      </a:lnTo>
                      <a:lnTo>
                        <a:pt x="378" y="540"/>
                      </a:lnTo>
                      <a:lnTo>
                        <a:pt x="366" y="552"/>
                      </a:lnTo>
                      <a:lnTo>
                        <a:pt x="366" y="576"/>
                      </a:lnTo>
                      <a:lnTo>
                        <a:pt x="372" y="588"/>
                      </a:lnTo>
                      <a:lnTo>
                        <a:pt x="372" y="618"/>
                      </a:lnTo>
                      <a:lnTo>
                        <a:pt x="366" y="630"/>
                      </a:lnTo>
                      <a:lnTo>
                        <a:pt x="366" y="642"/>
                      </a:lnTo>
                      <a:lnTo>
                        <a:pt x="372" y="648"/>
                      </a:lnTo>
                      <a:lnTo>
                        <a:pt x="384" y="648"/>
                      </a:lnTo>
                      <a:lnTo>
                        <a:pt x="384" y="672"/>
                      </a:lnTo>
                      <a:lnTo>
                        <a:pt x="390" y="684"/>
                      </a:lnTo>
                      <a:lnTo>
                        <a:pt x="402" y="690"/>
                      </a:lnTo>
                      <a:lnTo>
                        <a:pt x="408" y="702"/>
                      </a:lnTo>
                      <a:lnTo>
                        <a:pt x="408" y="708"/>
                      </a:lnTo>
                      <a:lnTo>
                        <a:pt x="402" y="720"/>
                      </a:lnTo>
                      <a:lnTo>
                        <a:pt x="372" y="750"/>
                      </a:lnTo>
                      <a:lnTo>
                        <a:pt x="366" y="750"/>
                      </a:lnTo>
                      <a:lnTo>
                        <a:pt x="390" y="762"/>
                      </a:lnTo>
                      <a:lnTo>
                        <a:pt x="402" y="774"/>
                      </a:lnTo>
                      <a:lnTo>
                        <a:pt x="414" y="774"/>
                      </a:lnTo>
                      <a:lnTo>
                        <a:pt x="414" y="798"/>
                      </a:lnTo>
                      <a:lnTo>
                        <a:pt x="420" y="804"/>
                      </a:lnTo>
                      <a:lnTo>
                        <a:pt x="420" y="822"/>
                      </a:lnTo>
                      <a:lnTo>
                        <a:pt x="426" y="828"/>
                      </a:lnTo>
                      <a:lnTo>
                        <a:pt x="426" y="846"/>
                      </a:lnTo>
                      <a:lnTo>
                        <a:pt x="432" y="858"/>
                      </a:lnTo>
                      <a:lnTo>
                        <a:pt x="432" y="876"/>
                      </a:lnTo>
                      <a:lnTo>
                        <a:pt x="444" y="888"/>
                      </a:lnTo>
                      <a:lnTo>
                        <a:pt x="450" y="900"/>
                      </a:lnTo>
                      <a:lnTo>
                        <a:pt x="450" y="906"/>
                      </a:lnTo>
                      <a:lnTo>
                        <a:pt x="462" y="918"/>
                      </a:lnTo>
                      <a:lnTo>
                        <a:pt x="468" y="918"/>
                      </a:lnTo>
                      <a:lnTo>
                        <a:pt x="480" y="924"/>
                      </a:lnTo>
                      <a:lnTo>
                        <a:pt x="486" y="924"/>
                      </a:lnTo>
                      <a:lnTo>
                        <a:pt x="498" y="918"/>
                      </a:lnTo>
                      <a:lnTo>
                        <a:pt x="504" y="912"/>
                      </a:lnTo>
                      <a:lnTo>
                        <a:pt x="516" y="906"/>
                      </a:lnTo>
                      <a:lnTo>
                        <a:pt x="522" y="900"/>
                      </a:lnTo>
                      <a:lnTo>
                        <a:pt x="528" y="906"/>
                      </a:lnTo>
                      <a:lnTo>
                        <a:pt x="528" y="930"/>
                      </a:lnTo>
                      <a:lnTo>
                        <a:pt x="534" y="930"/>
                      </a:lnTo>
                      <a:lnTo>
                        <a:pt x="546" y="918"/>
                      </a:lnTo>
                      <a:lnTo>
                        <a:pt x="558" y="894"/>
                      </a:lnTo>
                      <a:lnTo>
                        <a:pt x="570" y="882"/>
                      </a:lnTo>
                      <a:lnTo>
                        <a:pt x="588" y="882"/>
                      </a:lnTo>
                      <a:lnTo>
                        <a:pt x="594" y="876"/>
                      </a:lnTo>
                      <a:lnTo>
                        <a:pt x="630" y="858"/>
                      </a:lnTo>
                      <a:lnTo>
                        <a:pt x="636" y="846"/>
                      </a:lnTo>
                      <a:lnTo>
                        <a:pt x="636" y="816"/>
                      </a:lnTo>
                      <a:lnTo>
                        <a:pt x="678" y="816"/>
                      </a:lnTo>
                      <a:lnTo>
                        <a:pt x="684" y="810"/>
                      </a:lnTo>
                      <a:lnTo>
                        <a:pt x="690" y="798"/>
                      </a:lnTo>
                      <a:lnTo>
                        <a:pt x="690" y="792"/>
                      </a:lnTo>
                      <a:lnTo>
                        <a:pt x="684" y="786"/>
                      </a:lnTo>
                      <a:lnTo>
                        <a:pt x="636" y="780"/>
                      </a:lnTo>
                      <a:lnTo>
                        <a:pt x="636" y="750"/>
                      </a:lnTo>
                      <a:lnTo>
                        <a:pt x="630" y="738"/>
                      </a:lnTo>
                      <a:lnTo>
                        <a:pt x="618" y="726"/>
                      </a:lnTo>
                      <a:lnTo>
                        <a:pt x="624" y="720"/>
                      </a:lnTo>
                      <a:lnTo>
                        <a:pt x="624" y="690"/>
                      </a:lnTo>
                      <a:lnTo>
                        <a:pt x="618" y="684"/>
                      </a:lnTo>
                      <a:lnTo>
                        <a:pt x="606" y="678"/>
                      </a:lnTo>
                      <a:lnTo>
                        <a:pt x="588" y="660"/>
                      </a:lnTo>
                      <a:lnTo>
                        <a:pt x="588" y="630"/>
                      </a:lnTo>
                      <a:lnTo>
                        <a:pt x="594" y="636"/>
                      </a:lnTo>
                      <a:lnTo>
                        <a:pt x="594" y="642"/>
                      </a:lnTo>
                      <a:lnTo>
                        <a:pt x="636" y="642"/>
                      </a:lnTo>
                      <a:lnTo>
                        <a:pt x="642" y="648"/>
                      </a:lnTo>
                      <a:lnTo>
                        <a:pt x="642" y="666"/>
                      </a:lnTo>
                      <a:lnTo>
                        <a:pt x="654" y="666"/>
                      </a:lnTo>
                      <a:lnTo>
                        <a:pt x="666" y="660"/>
                      </a:lnTo>
                      <a:lnTo>
                        <a:pt x="678" y="666"/>
                      </a:lnTo>
                      <a:lnTo>
                        <a:pt x="684" y="660"/>
                      </a:lnTo>
                      <a:lnTo>
                        <a:pt x="696" y="660"/>
                      </a:lnTo>
                      <a:lnTo>
                        <a:pt x="702" y="666"/>
                      </a:lnTo>
                      <a:lnTo>
                        <a:pt x="708" y="678"/>
                      </a:lnTo>
                      <a:lnTo>
                        <a:pt x="720" y="690"/>
                      </a:lnTo>
                      <a:lnTo>
                        <a:pt x="732" y="696"/>
                      </a:lnTo>
                      <a:lnTo>
                        <a:pt x="738" y="690"/>
                      </a:lnTo>
                      <a:lnTo>
                        <a:pt x="738" y="672"/>
                      </a:lnTo>
                      <a:lnTo>
                        <a:pt x="744" y="660"/>
                      </a:lnTo>
                      <a:lnTo>
                        <a:pt x="744" y="648"/>
                      </a:lnTo>
                      <a:lnTo>
                        <a:pt x="750" y="642"/>
                      </a:lnTo>
                      <a:lnTo>
                        <a:pt x="768" y="642"/>
                      </a:lnTo>
                      <a:lnTo>
                        <a:pt x="774" y="648"/>
                      </a:lnTo>
                      <a:lnTo>
                        <a:pt x="792" y="648"/>
                      </a:lnTo>
                      <a:lnTo>
                        <a:pt x="804" y="642"/>
                      </a:lnTo>
                      <a:lnTo>
                        <a:pt x="828" y="618"/>
                      </a:lnTo>
                      <a:lnTo>
                        <a:pt x="840" y="612"/>
                      </a:lnTo>
                      <a:lnTo>
                        <a:pt x="864" y="612"/>
                      </a:lnTo>
                      <a:lnTo>
                        <a:pt x="864" y="600"/>
                      </a:lnTo>
                      <a:lnTo>
                        <a:pt x="876" y="600"/>
                      </a:lnTo>
                      <a:lnTo>
                        <a:pt x="882" y="594"/>
                      </a:lnTo>
                      <a:lnTo>
                        <a:pt x="882" y="558"/>
                      </a:lnTo>
                      <a:lnTo>
                        <a:pt x="846" y="522"/>
                      </a:lnTo>
                      <a:lnTo>
                        <a:pt x="840" y="510"/>
                      </a:lnTo>
                      <a:lnTo>
                        <a:pt x="834" y="504"/>
                      </a:lnTo>
                      <a:lnTo>
                        <a:pt x="834" y="492"/>
                      </a:lnTo>
                      <a:lnTo>
                        <a:pt x="846" y="486"/>
                      </a:lnTo>
                      <a:lnTo>
                        <a:pt x="852" y="486"/>
                      </a:lnTo>
                      <a:lnTo>
                        <a:pt x="864" y="480"/>
                      </a:lnTo>
                      <a:lnTo>
                        <a:pt x="864" y="462"/>
                      </a:lnTo>
                      <a:lnTo>
                        <a:pt x="846" y="444"/>
                      </a:lnTo>
                      <a:lnTo>
                        <a:pt x="846" y="438"/>
                      </a:lnTo>
                      <a:lnTo>
                        <a:pt x="876" y="438"/>
                      </a:lnTo>
                      <a:lnTo>
                        <a:pt x="888" y="432"/>
                      </a:lnTo>
                      <a:lnTo>
                        <a:pt x="900" y="432"/>
                      </a:lnTo>
                      <a:lnTo>
                        <a:pt x="912" y="426"/>
                      </a:lnTo>
                      <a:lnTo>
                        <a:pt x="918" y="420"/>
                      </a:lnTo>
                      <a:lnTo>
                        <a:pt x="918" y="402"/>
                      </a:lnTo>
                      <a:lnTo>
                        <a:pt x="894" y="402"/>
                      </a:lnTo>
                      <a:lnTo>
                        <a:pt x="894" y="360"/>
                      </a:lnTo>
                      <a:lnTo>
                        <a:pt x="906" y="348"/>
                      </a:lnTo>
                      <a:lnTo>
                        <a:pt x="918" y="348"/>
                      </a:lnTo>
                      <a:lnTo>
                        <a:pt x="924" y="342"/>
                      </a:lnTo>
                      <a:lnTo>
                        <a:pt x="930" y="342"/>
                      </a:lnTo>
                      <a:lnTo>
                        <a:pt x="936" y="336"/>
                      </a:lnTo>
                      <a:lnTo>
                        <a:pt x="954" y="300"/>
                      </a:lnTo>
                      <a:lnTo>
                        <a:pt x="948" y="294"/>
                      </a:lnTo>
                      <a:lnTo>
                        <a:pt x="942" y="282"/>
                      </a:lnTo>
                      <a:lnTo>
                        <a:pt x="936" y="276"/>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289" name="USA (Alaska)"/>
                <p:cNvSpPr>
                  <a:spLocks noEditPoints="1"/>
                </p:cNvSpPr>
                <p:nvPr/>
              </p:nvSpPr>
              <p:spPr bwMode="gray">
                <a:xfrm>
                  <a:off x="65" y="886"/>
                  <a:ext cx="786" cy="340"/>
                </a:xfrm>
                <a:custGeom>
                  <a:avLst/>
                  <a:gdLst>
                    <a:gd name="T0" fmla="*/ 2147483647 w 3072"/>
                    <a:gd name="T1" fmla="*/ 2147483647 h 1332"/>
                    <a:gd name="T2" fmla="*/ 2147483647 w 3072"/>
                    <a:gd name="T3" fmla="*/ 2147483647 h 1332"/>
                    <a:gd name="T4" fmla="*/ 2147483647 w 3072"/>
                    <a:gd name="T5" fmla="*/ 2147483647 h 1332"/>
                    <a:gd name="T6" fmla="*/ 2147483647 w 3072"/>
                    <a:gd name="T7" fmla="*/ 2147483647 h 1332"/>
                    <a:gd name="T8" fmla="*/ 2147483647 w 3072"/>
                    <a:gd name="T9" fmla="*/ 2147483647 h 1332"/>
                    <a:gd name="T10" fmla="*/ 2147483647 w 3072"/>
                    <a:gd name="T11" fmla="*/ 2147483647 h 1332"/>
                    <a:gd name="T12" fmla="*/ 2147483647 w 3072"/>
                    <a:gd name="T13" fmla="*/ 2147483647 h 1332"/>
                    <a:gd name="T14" fmla="*/ 2147483647 w 3072"/>
                    <a:gd name="T15" fmla="*/ 2147483647 h 1332"/>
                    <a:gd name="T16" fmla="*/ 2147483647 w 3072"/>
                    <a:gd name="T17" fmla="*/ 2147483647 h 1332"/>
                    <a:gd name="T18" fmla="*/ 2147483647 w 3072"/>
                    <a:gd name="T19" fmla="*/ 2147483647 h 1332"/>
                    <a:gd name="T20" fmla="*/ 2147483647 w 3072"/>
                    <a:gd name="T21" fmla="*/ 2147483647 h 1332"/>
                    <a:gd name="T22" fmla="*/ 2147483647 w 3072"/>
                    <a:gd name="T23" fmla="*/ 0 h 1332"/>
                    <a:gd name="T24" fmla="*/ 2147483647 w 3072"/>
                    <a:gd name="T25" fmla="*/ 2147483647 h 1332"/>
                    <a:gd name="T26" fmla="*/ 2147483647 w 3072"/>
                    <a:gd name="T27" fmla="*/ 2147483647 h 1332"/>
                    <a:gd name="T28" fmla="*/ 2147483647 w 3072"/>
                    <a:gd name="T29" fmla="*/ 2147483647 h 1332"/>
                    <a:gd name="T30" fmla="*/ 2147483647 w 3072"/>
                    <a:gd name="T31" fmla="*/ 2147483647 h 1332"/>
                    <a:gd name="T32" fmla="*/ 2147483647 w 3072"/>
                    <a:gd name="T33" fmla="*/ 2147483647 h 1332"/>
                    <a:gd name="T34" fmla="*/ 2147483647 w 3072"/>
                    <a:gd name="T35" fmla="*/ 2147483647 h 1332"/>
                    <a:gd name="T36" fmla="*/ 2147483647 w 3072"/>
                    <a:gd name="T37" fmla="*/ 2147483647 h 1332"/>
                    <a:gd name="T38" fmla="*/ 2147483647 w 3072"/>
                    <a:gd name="T39" fmla="*/ 2147483647 h 1332"/>
                    <a:gd name="T40" fmla="*/ 2147483647 w 3072"/>
                    <a:gd name="T41" fmla="*/ 2147483647 h 1332"/>
                    <a:gd name="T42" fmla="*/ 2147483647 w 3072"/>
                    <a:gd name="T43" fmla="*/ 2147483647 h 1332"/>
                    <a:gd name="T44" fmla="*/ 2147483647 w 3072"/>
                    <a:gd name="T45" fmla="*/ 2147483647 h 1332"/>
                    <a:gd name="T46" fmla="*/ 2147483647 w 3072"/>
                    <a:gd name="T47" fmla="*/ 2147483647 h 1332"/>
                    <a:gd name="T48" fmla="*/ 2147483647 w 3072"/>
                    <a:gd name="T49" fmla="*/ 2147483647 h 1332"/>
                    <a:gd name="T50" fmla="*/ 2147483647 w 3072"/>
                    <a:gd name="T51" fmla="*/ 2147483647 h 1332"/>
                    <a:gd name="T52" fmla="*/ 2147483647 w 3072"/>
                    <a:gd name="T53" fmla="*/ 2147483647 h 1332"/>
                    <a:gd name="T54" fmla="*/ 2147483647 w 3072"/>
                    <a:gd name="T55" fmla="*/ 2147483647 h 1332"/>
                    <a:gd name="T56" fmla="*/ 2147483647 w 3072"/>
                    <a:gd name="T57" fmla="*/ 2147483647 h 1332"/>
                    <a:gd name="T58" fmla="*/ 2147483647 w 3072"/>
                    <a:gd name="T59" fmla="*/ 2147483647 h 1332"/>
                    <a:gd name="T60" fmla="*/ 2147483647 w 3072"/>
                    <a:gd name="T61" fmla="*/ 2147483647 h 1332"/>
                    <a:gd name="T62" fmla="*/ 2147483647 w 3072"/>
                    <a:gd name="T63" fmla="*/ 2147483647 h 1332"/>
                    <a:gd name="T64" fmla="*/ 2147483647 w 3072"/>
                    <a:gd name="T65" fmla="*/ 2147483647 h 1332"/>
                    <a:gd name="T66" fmla="*/ 2147483647 w 3072"/>
                    <a:gd name="T67" fmla="*/ 2147483647 h 1332"/>
                    <a:gd name="T68" fmla="*/ 2147483647 w 3072"/>
                    <a:gd name="T69" fmla="*/ 2147483647 h 1332"/>
                    <a:gd name="T70" fmla="*/ 2147483647 w 3072"/>
                    <a:gd name="T71" fmla="*/ 2147483647 h 1332"/>
                    <a:gd name="T72" fmla="*/ 2147483647 w 3072"/>
                    <a:gd name="T73" fmla="*/ 2147483647 h 1332"/>
                    <a:gd name="T74" fmla="*/ 2147483647 w 3072"/>
                    <a:gd name="T75" fmla="*/ 2147483647 h 1332"/>
                    <a:gd name="T76" fmla="*/ 2147483647 w 3072"/>
                    <a:gd name="T77" fmla="*/ 2147483647 h 1332"/>
                    <a:gd name="T78" fmla="*/ 2147483647 w 3072"/>
                    <a:gd name="T79" fmla="*/ 2147483647 h 1332"/>
                    <a:gd name="T80" fmla="*/ 2147483647 w 3072"/>
                    <a:gd name="T81" fmla="*/ 2147483647 h 1332"/>
                    <a:gd name="T82" fmla="*/ 2147483647 w 3072"/>
                    <a:gd name="T83" fmla="*/ 2147483647 h 1332"/>
                    <a:gd name="T84" fmla="*/ 2147483647 w 3072"/>
                    <a:gd name="T85" fmla="*/ 2147483647 h 1332"/>
                    <a:gd name="T86" fmla="*/ 2147483647 w 3072"/>
                    <a:gd name="T87" fmla="*/ 2147483647 h 1332"/>
                    <a:gd name="T88" fmla="*/ 2147483647 w 3072"/>
                    <a:gd name="T89" fmla="*/ 2147483647 h 1332"/>
                    <a:gd name="T90" fmla="*/ 2147483647 w 3072"/>
                    <a:gd name="T91" fmla="*/ 2147483647 h 1332"/>
                    <a:gd name="T92" fmla="*/ 2147483647 w 3072"/>
                    <a:gd name="T93" fmla="*/ 2147483647 h 1332"/>
                    <a:gd name="T94" fmla="*/ 2147483647 w 3072"/>
                    <a:gd name="T95" fmla="*/ 2147483647 h 1332"/>
                    <a:gd name="T96" fmla="*/ 2147483647 w 3072"/>
                    <a:gd name="T97" fmla="*/ 2147483647 h 1332"/>
                    <a:gd name="T98" fmla="*/ 2147483647 w 3072"/>
                    <a:gd name="T99" fmla="*/ 2147483647 h 1332"/>
                    <a:gd name="T100" fmla="*/ 2147483647 w 3072"/>
                    <a:gd name="T101" fmla="*/ 2147483647 h 1332"/>
                    <a:gd name="T102" fmla="*/ 2147483647 w 3072"/>
                    <a:gd name="T103" fmla="*/ 2147483647 h 1332"/>
                    <a:gd name="T104" fmla="*/ 2147483647 w 3072"/>
                    <a:gd name="T105" fmla="*/ 2147483647 h 1332"/>
                    <a:gd name="T106" fmla="*/ 2147483647 w 3072"/>
                    <a:gd name="T107" fmla="*/ 2147483647 h 1332"/>
                    <a:gd name="T108" fmla="*/ 2147483647 w 3072"/>
                    <a:gd name="T109" fmla="*/ 2147483647 h 1332"/>
                    <a:gd name="T110" fmla="*/ 2147483647 w 3072"/>
                    <a:gd name="T111" fmla="*/ 2147483647 h 1332"/>
                    <a:gd name="T112" fmla="*/ 2147483647 w 3072"/>
                    <a:gd name="T113" fmla="*/ 2147483647 h 1332"/>
                    <a:gd name="T114" fmla="*/ 2147483647 w 3072"/>
                    <a:gd name="T115" fmla="*/ 2147483647 h 1332"/>
                    <a:gd name="T116" fmla="*/ 2147483647 w 3072"/>
                    <a:gd name="T117" fmla="*/ 2147483647 h 1332"/>
                    <a:gd name="T118" fmla="*/ 2147483647 w 3072"/>
                    <a:gd name="T119" fmla="*/ 2147483647 h 1332"/>
                    <a:gd name="T120" fmla="*/ 2147483647 w 3072"/>
                    <a:gd name="T121" fmla="*/ 2147483647 h 133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072"/>
                    <a:gd name="T184" fmla="*/ 0 h 1332"/>
                    <a:gd name="T185" fmla="*/ 3072 w 3072"/>
                    <a:gd name="T186" fmla="*/ 1332 h 1332"/>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072" h="1332">
                      <a:moveTo>
                        <a:pt x="2454" y="930"/>
                      </a:moveTo>
                      <a:lnTo>
                        <a:pt x="2418" y="966"/>
                      </a:lnTo>
                      <a:lnTo>
                        <a:pt x="2400" y="1002"/>
                      </a:lnTo>
                      <a:lnTo>
                        <a:pt x="2412" y="1002"/>
                      </a:lnTo>
                      <a:lnTo>
                        <a:pt x="2448" y="984"/>
                      </a:lnTo>
                      <a:lnTo>
                        <a:pt x="2460" y="972"/>
                      </a:lnTo>
                      <a:lnTo>
                        <a:pt x="2460" y="954"/>
                      </a:lnTo>
                      <a:lnTo>
                        <a:pt x="2472" y="942"/>
                      </a:lnTo>
                      <a:lnTo>
                        <a:pt x="2460" y="930"/>
                      </a:lnTo>
                      <a:lnTo>
                        <a:pt x="2454" y="930"/>
                      </a:lnTo>
                      <a:close/>
                      <a:moveTo>
                        <a:pt x="2400" y="930"/>
                      </a:moveTo>
                      <a:lnTo>
                        <a:pt x="2388" y="930"/>
                      </a:lnTo>
                      <a:lnTo>
                        <a:pt x="2376" y="936"/>
                      </a:lnTo>
                      <a:lnTo>
                        <a:pt x="2364" y="948"/>
                      </a:lnTo>
                      <a:lnTo>
                        <a:pt x="2364" y="954"/>
                      </a:lnTo>
                      <a:lnTo>
                        <a:pt x="2370" y="966"/>
                      </a:lnTo>
                      <a:lnTo>
                        <a:pt x="2376" y="972"/>
                      </a:lnTo>
                      <a:lnTo>
                        <a:pt x="2406" y="972"/>
                      </a:lnTo>
                      <a:lnTo>
                        <a:pt x="2412" y="960"/>
                      </a:lnTo>
                      <a:lnTo>
                        <a:pt x="2418" y="954"/>
                      </a:lnTo>
                      <a:lnTo>
                        <a:pt x="2418" y="942"/>
                      </a:lnTo>
                      <a:lnTo>
                        <a:pt x="2406" y="936"/>
                      </a:lnTo>
                      <a:lnTo>
                        <a:pt x="2400" y="930"/>
                      </a:lnTo>
                      <a:close/>
                      <a:moveTo>
                        <a:pt x="2316" y="1188"/>
                      </a:moveTo>
                      <a:lnTo>
                        <a:pt x="2328" y="1188"/>
                      </a:lnTo>
                      <a:lnTo>
                        <a:pt x="2340" y="1152"/>
                      </a:lnTo>
                      <a:lnTo>
                        <a:pt x="2322" y="1158"/>
                      </a:lnTo>
                      <a:lnTo>
                        <a:pt x="2316" y="1188"/>
                      </a:lnTo>
                      <a:close/>
                      <a:moveTo>
                        <a:pt x="2388" y="1074"/>
                      </a:moveTo>
                      <a:lnTo>
                        <a:pt x="2370" y="1086"/>
                      </a:lnTo>
                      <a:lnTo>
                        <a:pt x="2382" y="1098"/>
                      </a:lnTo>
                      <a:lnTo>
                        <a:pt x="2388" y="1098"/>
                      </a:lnTo>
                      <a:lnTo>
                        <a:pt x="2382" y="1104"/>
                      </a:lnTo>
                      <a:lnTo>
                        <a:pt x="2376" y="1104"/>
                      </a:lnTo>
                      <a:lnTo>
                        <a:pt x="2364" y="1116"/>
                      </a:lnTo>
                      <a:lnTo>
                        <a:pt x="2358" y="1116"/>
                      </a:lnTo>
                      <a:lnTo>
                        <a:pt x="2352" y="1122"/>
                      </a:lnTo>
                      <a:lnTo>
                        <a:pt x="2352" y="1152"/>
                      </a:lnTo>
                      <a:lnTo>
                        <a:pt x="2358" y="1164"/>
                      </a:lnTo>
                      <a:lnTo>
                        <a:pt x="2358" y="1188"/>
                      </a:lnTo>
                      <a:lnTo>
                        <a:pt x="2370" y="1182"/>
                      </a:lnTo>
                      <a:lnTo>
                        <a:pt x="2376" y="1170"/>
                      </a:lnTo>
                      <a:lnTo>
                        <a:pt x="2388" y="1164"/>
                      </a:lnTo>
                      <a:lnTo>
                        <a:pt x="2394" y="1158"/>
                      </a:lnTo>
                      <a:lnTo>
                        <a:pt x="2394" y="1146"/>
                      </a:lnTo>
                      <a:lnTo>
                        <a:pt x="2382" y="1134"/>
                      </a:lnTo>
                      <a:lnTo>
                        <a:pt x="2394" y="1134"/>
                      </a:lnTo>
                      <a:lnTo>
                        <a:pt x="2412" y="1116"/>
                      </a:lnTo>
                      <a:lnTo>
                        <a:pt x="2412" y="1098"/>
                      </a:lnTo>
                      <a:lnTo>
                        <a:pt x="2388" y="1074"/>
                      </a:lnTo>
                      <a:close/>
                      <a:moveTo>
                        <a:pt x="2562" y="1080"/>
                      </a:moveTo>
                      <a:lnTo>
                        <a:pt x="2550" y="1080"/>
                      </a:lnTo>
                      <a:lnTo>
                        <a:pt x="2550" y="1074"/>
                      </a:lnTo>
                      <a:lnTo>
                        <a:pt x="2544" y="1068"/>
                      </a:lnTo>
                      <a:lnTo>
                        <a:pt x="2538" y="1068"/>
                      </a:lnTo>
                      <a:lnTo>
                        <a:pt x="2532" y="1062"/>
                      </a:lnTo>
                      <a:lnTo>
                        <a:pt x="2520" y="1056"/>
                      </a:lnTo>
                      <a:lnTo>
                        <a:pt x="2514" y="1050"/>
                      </a:lnTo>
                      <a:lnTo>
                        <a:pt x="2514" y="1044"/>
                      </a:lnTo>
                      <a:lnTo>
                        <a:pt x="2520" y="1032"/>
                      </a:lnTo>
                      <a:lnTo>
                        <a:pt x="2520" y="1020"/>
                      </a:lnTo>
                      <a:lnTo>
                        <a:pt x="2526" y="1008"/>
                      </a:lnTo>
                      <a:lnTo>
                        <a:pt x="2532" y="1002"/>
                      </a:lnTo>
                      <a:lnTo>
                        <a:pt x="2532" y="960"/>
                      </a:lnTo>
                      <a:lnTo>
                        <a:pt x="2550" y="924"/>
                      </a:lnTo>
                      <a:lnTo>
                        <a:pt x="2550" y="906"/>
                      </a:lnTo>
                      <a:lnTo>
                        <a:pt x="2544" y="894"/>
                      </a:lnTo>
                      <a:lnTo>
                        <a:pt x="2526" y="876"/>
                      </a:lnTo>
                      <a:lnTo>
                        <a:pt x="2538" y="864"/>
                      </a:lnTo>
                      <a:lnTo>
                        <a:pt x="2538" y="834"/>
                      </a:lnTo>
                      <a:lnTo>
                        <a:pt x="2544" y="828"/>
                      </a:lnTo>
                      <a:lnTo>
                        <a:pt x="2550" y="828"/>
                      </a:lnTo>
                      <a:lnTo>
                        <a:pt x="2556" y="822"/>
                      </a:lnTo>
                      <a:lnTo>
                        <a:pt x="2550" y="816"/>
                      </a:lnTo>
                      <a:lnTo>
                        <a:pt x="2532" y="810"/>
                      </a:lnTo>
                      <a:lnTo>
                        <a:pt x="2520" y="810"/>
                      </a:lnTo>
                      <a:lnTo>
                        <a:pt x="2502" y="816"/>
                      </a:lnTo>
                      <a:lnTo>
                        <a:pt x="2490" y="816"/>
                      </a:lnTo>
                      <a:lnTo>
                        <a:pt x="2484" y="822"/>
                      </a:lnTo>
                      <a:lnTo>
                        <a:pt x="2478" y="822"/>
                      </a:lnTo>
                      <a:lnTo>
                        <a:pt x="2478" y="834"/>
                      </a:lnTo>
                      <a:lnTo>
                        <a:pt x="2460" y="834"/>
                      </a:lnTo>
                      <a:lnTo>
                        <a:pt x="2454" y="840"/>
                      </a:lnTo>
                      <a:lnTo>
                        <a:pt x="2442" y="846"/>
                      </a:lnTo>
                      <a:lnTo>
                        <a:pt x="2430" y="846"/>
                      </a:lnTo>
                      <a:lnTo>
                        <a:pt x="2418" y="852"/>
                      </a:lnTo>
                      <a:lnTo>
                        <a:pt x="2406" y="852"/>
                      </a:lnTo>
                      <a:lnTo>
                        <a:pt x="2400" y="858"/>
                      </a:lnTo>
                      <a:lnTo>
                        <a:pt x="2394" y="858"/>
                      </a:lnTo>
                      <a:lnTo>
                        <a:pt x="2388" y="864"/>
                      </a:lnTo>
                      <a:lnTo>
                        <a:pt x="2376" y="870"/>
                      </a:lnTo>
                      <a:lnTo>
                        <a:pt x="2370" y="876"/>
                      </a:lnTo>
                      <a:lnTo>
                        <a:pt x="2364" y="876"/>
                      </a:lnTo>
                      <a:lnTo>
                        <a:pt x="2364" y="864"/>
                      </a:lnTo>
                      <a:lnTo>
                        <a:pt x="2382" y="846"/>
                      </a:lnTo>
                      <a:lnTo>
                        <a:pt x="2376" y="840"/>
                      </a:lnTo>
                      <a:lnTo>
                        <a:pt x="2364" y="834"/>
                      </a:lnTo>
                      <a:lnTo>
                        <a:pt x="2358" y="828"/>
                      </a:lnTo>
                      <a:lnTo>
                        <a:pt x="2358" y="810"/>
                      </a:lnTo>
                      <a:lnTo>
                        <a:pt x="2352" y="798"/>
                      </a:lnTo>
                      <a:lnTo>
                        <a:pt x="2352" y="792"/>
                      </a:lnTo>
                      <a:lnTo>
                        <a:pt x="2376" y="768"/>
                      </a:lnTo>
                      <a:lnTo>
                        <a:pt x="2340" y="768"/>
                      </a:lnTo>
                      <a:lnTo>
                        <a:pt x="2328" y="780"/>
                      </a:lnTo>
                      <a:lnTo>
                        <a:pt x="2274" y="780"/>
                      </a:lnTo>
                      <a:lnTo>
                        <a:pt x="2274" y="768"/>
                      </a:lnTo>
                      <a:lnTo>
                        <a:pt x="2280" y="756"/>
                      </a:lnTo>
                      <a:lnTo>
                        <a:pt x="2292" y="750"/>
                      </a:lnTo>
                      <a:lnTo>
                        <a:pt x="2298" y="744"/>
                      </a:lnTo>
                      <a:lnTo>
                        <a:pt x="3072" y="108"/>
                      </a:lnTo>
                      <a:lnTo>
                        <a:pt x="3054" y="108"/>
                      </a:lnTo>
                      <a:lnTo>
                        <a:pt x="3054" y="102"/>
                      </a:lnTo>
                      <a:lnTo>
                        <a:pt x="3048" y="90"/>
                      </a:lnTo>
                      <a:lnTo>
                        <a:pt x="3036" y="84"/>
                      </a:lnTo>
                      <a:lnTo>
                        <a:pt x="3030" y="78"/>
                      </a:lnTo>
                      <a:lnTo>
                        <a:pt x="3012" y="78"/>
                      </a:lnTo>
                      <a:lnTo>
                        <a:pt x="2988" y="84"/>
                      </a:lnTo>
                      <a:lnTo>
                        <a:pt x="2964" y="84"/>
                      </a:lnTo>
                      <a:lnTo>
                        <a:pt x="2928" y="96"/>
                      </a:lnTo>
                      <a:lnTo>
                        <a:pt x="2916" y="96"/>
                      </a:lnTo>
                      <a:lnTo>
                        <a:pt x="2892" y="84"/>
                      </a:lnTo>
                      <a:lnTo>
                        <a:pt x="2886" y="78"/>
                      </a:lnTo>
                      <a:lnTo>
                        <a:pt x="2874" y="72"/>
                      </a:lnTo>
                      <a:lnTo>
                        <a:pt x="2784" y="72"/>
                      </a:lnTo>
                      <a:lnTo>
                        <a:pt x="2772" y="66"/>
                      </a:lnTo>
                      <a:lnTo>
                        <a:pt x="2766" y="60"/>
                      </a:lnTo>
                      <a:lnTo>
                        <a:pt x="2748" y="60"/>
                      </a:lnTo>
                      <a:lnTo>
                        <a:pt x="2736" y="54"/>
                      </a:lnTo>
                      <a:lnTo>
                        <a:pt x="2598" y="54"/>
                      </a:lnTo>
                      <a:lnTo>
                        <a:pt x="2598" y="42"/>
                      </a:lnTo>
                      <a:lnTo>
                        <a:pt x="2604" y="36"/>
                      </a:lnTo>
                      <a:lnTo>
                        <a:pt x="2592" y="36"/>
                      </a:lnTo>
                      <a:lnTo>
                        <a:pt x="2574" y="30"/>
                      </a:lnTo>
                      <a:lnTo>
                        <a:pt x="2562" y="30"/>
                      </a:lnTo>
                      <a:lnTo>
                        <a:pt x="2550" y="24"/>
                      </a:lnTo>
                      <a:lnTo>
                        <a:pt x="2532" y="24"/>
                      </a:lnTo>
                      <a:lnTo>
                        <a:pt x="2520" y="30"/>
                      </a:lnTo>
                      <a:lnTo>
                        <a:pt x="2496" y="30"/>
                      </a:lnTo>
                      <a:lnTo>
                        <a:pt x="2490" y="36"/>
                      </a:lnTo>
                      <a:lnTo>
                        <a:pt x="2484" y="36"/>
                      </a:lnTo>
                      <a:lnTo>
                        <a:pt x="2514" y="0"/>
                      </a:lnTo>
                      <a:lnTo>
                        <a:pt x="2430" y="36"/>
                      </a:lnTo>
                      <a:lnTo>
                        <a:pt x="2460" y="0"/>
                      </a:lnTo>
                      <a:lnTo>
                        <a:pt x="2430" y="0"/>
                      </a:lnTo>
                      <a:lnTo>
                        <a:pt x="2418" y="6"/>
                      </a:lnTo>
                      <a:lnTo>
                        <a:pt x="2412" y="12"/>
                      </a:lnTo>
                      <a:lnTo>
                        <a:pt x="2358" y="30"/>
                      </a:lnTo>
                      <a:lnTo>
                        <a:pt x="2232" y="30"/>
                      </a:lnTo>
                      <a:lnTo>
                        <a:pt x="2214" y="36"/>
                      </a:lnTo>
                      <a:lnTo>
                        <a:pt x="2208" y="42"/>
                      </a:lnTo>
                      <a:lnTo>
                        <a:pt x="2184" y="54"/>
                      </a:lnTo>
                      <a:lnTo>
                        <a:pt x="2172" y="54"/>
                      </a:lnTo>
                      <a:lnTo>
                        <a:pt x="2166" y="60"/>
                      </a:lnTo>
                      <a:lnTo>
                        <a:pt x="2046" y="60"/>
                      </a:lnTo>
                      <a:lnTo>
                        <a:pt x="2004" y="72"/>
                      </a:lnTo>
                      <a:lnTo>
                        <a:pt x="1956" y="102"/>
                      </a:lnTo>
                      <a:lnTo>
                        <a:pt x="1902" y="132"/>
                      </a:lnTo>
                      <a:lnTo>
                        <a:pt x="1854" y="144"/>
                      </a:lnTo>
                      <a:lnTo>
                        <a:pt x="1758" y="156"/>
                      </a:lnTo>
                      <a:lnTo>
                        <a:pt x="1722" y="162"/>
                      </a:lnTo>
                      <a:lnTo>
                        <a:pt x="1704" y="162"/>
                      </a:lnTo>
                      <a:lnTo>
                        <a:pt x="1698" y="168"/>
                      </a:lnTo>
                      <a:lnTo>
                        <a:pt x="1644" y="186"/>
                      </a:lnTo>
                      <a:lnTo>
                        <a:pt x="1632" y="192"/>
                      </a:lnTo>
                      <a:lnTo>
                        <a:pt x="1620" y="192"/>
                      </a:lnTo>
                      <a:lnTo>
                        <a:pt x="1620" y="198"/>
                      </a:lnTo>
                      <a:lnTo>
                        <a:pt x="1626" y="204"/>
                      </a:lnTo>
                      <a:lnTo>
                        <a:pt x="1638" y="210"/>
                      </a:lnTo>
                      <a:lnTo>
                        <a:pt x="1650" y="222"/>
                      </a:lnTo>
                      <a:lnTo>
                        <a:pt x="1656" y="222"/>
                      </a:lnTo>
                      <a:lnTo>
                        <a:pt x="1662" y="234"/>
                      </a:lnTo>
                      <a:lnTo>
                        <a:pt x="1662" y="240"/>
                      </a:lnTo>
                      <a:lnTo>
                        <a:pt x="1668" y="252"/>
                      </a:lnTo>
                      <a:lnTo>
                        <a:pt x="1668" y="264"/>
                      </a:lnTo>
                      <a:lnTo>
                        <a:pt x="1662" y="264"/>
                      </a:lnTo>
                      <a:lnTo>
                        <a:pt x="1650" y="270"/>
                      </a:lnTo>
                      <a:lnTo>
                        <a:pt x="1644" y="282"/>
                      </a:lnTo>
                      <a:lnTo>
                        <a:pt x="1734" y="282"/>
                      </a:lnTo>
                      <a:lnTo>
                        <a:pt x="1704" y="318"/>
                      </a:lnTo>
                      <a:lnTo>
                        <a:pt x="1770" y="318"/>
                      </a:lnTo>
                      <a:lnTo>
                        <a:pt x="1764" y="336"/>
                      </a:lnTo>
                      <a:lnTo>
                        <a:pt x="1710" y="336"/>
                      </a:lnTo>
                      <a:lnTo>
                        <a:pt x="1698" y="348"/>
                      </a:lnTo>
                      <a:lnTo>
                        <a:pt x="1632" y="348"/>
                      </a:lnTo>
                      <a:lnTo>
                        <a:pt x="1614" y="354"/>
                      </a:lnTo>
                      <a:lnTo>
                        <a:pt x="1560" y="354"/>
                      </a:lnTo>
                      <a:lnTo>
                        <a:pt x="1554" y="348"/>
                      </a:lnTo>
                      <a:lnTo>
                        <a:pt x="1548" y="348"/>
                      </a:lnTo>
                      <a:lnTo>
                        <a:pt x="1554" y="342"/>
                      </a:lnTo>
                      <a:lnTo>
                        <a:pt x="1560" y="342"/>
                      </a:lnTo>
                      <a:lnTo>
                        <a:pt x="1572" y="330"/>
                      </a:lnTo>
                      <a:lnTo>
                        <a:pt x="1566" y="324"/>
                      </a:lnTo>
                      <a:lnTo>
                        <a:pt x="1458" y="324"/>
                      </a:lnTo>
                      <a:lnTo>
                        <a:pt x="1452" y="330"/>
                      </a:lnTo>
                      <a:lnTo>
                        <a:pt x="1452" y="348"/>
                      </a:lnTo>
                      <a:lnTo>
                        <a:pt x="1434" y="348"/>
                      </a:lnTo>
                      <a:lnTo>
                        <a:pt x="1422" y="354"/>
                      </a:lnTo>
                      <a:lnTo>
                        <a:pt x="1404" y="354"/>
                      </a:lnTo>
                      <a:lnTo>
                        <a:pt x="1386" y="360"/>
                      </a:lnTo>
                      <a:lnTo>
                        <a:pt x="1338" y="360"/>
                      </a:lnTo>
                      <a:lnTo>
                        <a:pt x="1308" y="366"/>
                      </a:lnTo>
                      <a:lnTo>
                        <a:pt x="1254" y="384"/>
                      </a:lnTo>
                      <a:lnTo>
                        <a:pt x="1254" y="390"/>
                      </a:lnTo>
                      <a:lnTo>
                        <a:pt x="1272" y="396"/>
                      </a:lnTo>
                      <a:lnTo>
                        <a:pt x="1284" y="402"/>
                      </a:lnTo>
                      <a:lnTo>
                        <a:pt x="1314" y="402"/>
                      </a:lnTo>
                      <a:lnTo>
                        <a:pt x="1272" y="420"/>
                      </a:lnTo>
                      <a:lnTo>
                        <a:pt x="1260" y="462"/>
                      </a:lnTo>
                      <a:lnTo>
                        <a:pt x="1272" y="462"/>
                      </a:lnTo>
                      <a:lnTo>
                        <a:pt x="1290" y="468"/>
                      </a:lnTo>
                      <a:lnTo>
                        <a:pt x="1338" y="468"/>
                      </a:lnTo>
                      <a:lnTo>
                        <a:pt x="1350" y="462"/>
                      </a:lnTo>
                      <a:lnTo>
                        <a:pt x="1362" y="462"/>
                      </a:lnTo>
                      <a:lnTo>
                        <a:pt x="1410" y="474"/>
                      </a:lnTo>
                      <a:lnTo>
                        <a:pt x="1422" y="456"/>
                      </a:lnTo>
                      <a:lnTo>
                        <a:pt x="1434" y="474"/>
                      </a:lnTo>
                      <a:lnTo>
                        <a:pt x="1446" y="468"/>
                      </a:lnTo>
                      <a:lnTo>
                        <a:pt x="1452" y="462"/>
                      </a:lnTo>
                      <a:lnTo>
                        <a:pt x="1476" y="450"/>
                      </a:lnTo>
                      <a:lnTo>
                        <a:pt x="1482" y="444"/>
                      </a:lnTo>
                      <a:lnTo>
                        <a:pt x="1494" y="444"/>
                      </a:lnTo>
                      <a:lnTo>
                        <a:pt x="1506" y="450"/>
                      </a:lnTo>
                      <a:lnTo>
                        <a:pt x="1524" y="450"/>
                      </a:lnTo>
                      <a:lnTo>
                        <a:pt x="1536" y="444"/>
                      </a:lnTo>
                      <a:lnTo>
                        <a:pt x="1542" y="438"/>
                      </a:lnTo>
                      <a:lnTo>
                        <a:pt x="1554" y="432"/>
                      </a:lnTo>
                      <a:lnTo>
                        <a:pt x="1560" y="432"/>
                      </a:lnTo>
                      <a:lnTo>
                        <a:pt x="1566" y="426"/>
                      </a:lnTo>
                      <a:lnTo>
                        <a:pt x="1566" y="450"/>
                      </a:lnTo>
                      <a:lnTo>
                        <a:pt x="1560" y="462"/>
                      </a:lnTo>
                      <a:lnTo>
                        <a:pt x="1554" y="468"/>
                      </a:lnTo>
                      <a:lnTo>
                        <a:pt x="1500" y="468"/>
                      </a:lnTo>
                      <a:lnTo>
                        <a:pt x="1506" y="498"/>
                      </a:lnTo>
                      <a:lnTo>
                        <a:pt x="1494" y="504"/>
                      </a:lnTo>
                      <a:lnTo>
                        <a:pt x="1488" y="516"/>
                      </a:lnTo>
                      <a:lnTo>
                        <a:pt x="1476" y="522"/>
                      </a:lnTo>
                      <a:lnTo>
                        <a:pt x="1464" y="534"/>
                      </a:lnTo>
                      <a:lnTo>
                        <a:pt x="1446" y="540"/>
                      </a:lnTo>
                      <a:lnTo>
                        <a:pt x="1380" y="540"/>
                      </a:lnTo>
                      <a:lnTo>
                        <a:pt x="1362" y="522"/>
                      </a:lnTo>
                      <a:lnTo>
                        <a:pt x="1344" y="534"/>
                      </a:lnTo>
                      <a:lnTo>
                        <a:pt x="1344" y="546"/>
                      </a:lnTo>
                      <a:lnTo>
                        <a:pt x="1338" y="546"/>
                      </a:lnTo>
                      <a:lnTo>
                        <a:pt x="1332" y="552"/>
                      </a:lnTo>
                      <a:lnTo>
                        <a:pt x="1320" y="558"/>
                      </a:lnTo>
                      <a:lnTo>
                        <a:pt x="1302" y="564"/>
                      </a:lnTo>
                      <a:lnTo>
                        <a:pt x="1290" y="570"/>
                      </a:lnTo>
                      <a:lnTo>
                        <a:pt x="1266" y="570"/>
                      </a:lnTo>
                      <a:lnTo>
                        <a:pt x="1242" y="558"/>
                      </a:lnTo>
                      <a:lnTo>
                        <a:pt x="1236" y="558"/>
                      </a:lnTo>
                      <a:lnTo>
                        <a:pt x="1140" y="606"/>
                      </a:lnTo>
                      <a:lnTo>
                        <a:pt x="1122" y="624"/>
                      </a:lnTo>
                      <a:lnTo>
                        <a:pt x="1116" y="606"/>
                      </a:lnTo>
                      <a:lnTo>
                        <a:pt x="1080" y="624"/>
                      </a:lnTo>
                      <a:lnTo>
                        <a:pt x="1068" y="624"/>
                      </a:lnTo>
                      <a:lnTo>
                        <a:pt x="1044" y="636"/>
                      </a:lnTo>
                      <a:lnTo>
                        <a:pt x="1020" y="660"/>
                      </a:lnTo>
                      <a:lnTo>
                        <a:pt x="990" y="648"/>
                      </a:lnTo>
                      <a:lnTo>
                        <a:pt x="990" y="672"/>
                      </a:lnTo>
                      <a:lnTo>
                        <a:pt x="984" y="666"/>
                      </a:lnTo>
                      <a:lnTo>
                        <a:pt x="972" y="666"/>
                      </a:lnTo>
                      <a:lnTo>
                        <a:pt x="966" y="672"/>
                      </a:lnTo>
                      <a:lnTo>
                        <a:pt x="966" y="690"/>
                      </a:lnTo>
                      <a:lnTo>
                        <a:pt x="954" y="708"/>
                      </a:lnTo>
                      <a:lnTo>
                        <a:pt x="1014" y="684"/>
                      </a:lnTo>
                      <a:lnTo>
                        <a:pt x="990" y="702"/>
                      </a:lnTo>
                      <a:lnTo>
                        <a:pt x="990" y="714"/>
                      </a:lnTo>
                      <a:lnTo>
                        <a:pt x="972" y="726"/>
                      </a:lnTo>
                      <a:lnTo>
                        <a:pt x="1026" y="726"/>
                      </a:lnTo>
                      <a:lnTo>
                        <a:pt x="1032" y="732"/>
                      </a:lnTo>
                      <a:lnTo>
                        <a:pt x="1032" y="738"/>
                      </a:lnTo>
                      <a:lnTo>
                        <a:pt x="1020" y="744"/>
                      </a:lnTo>
                      <a:lnTo>
                        <a:pt x="984" y="744"/>
                      </a:lnTo>
                      <a:lnTo>
                        <a:pt x="960" y="750"/>
                      </a:lnTo>
                      <a:lnTo>
                        <a:pt x="972" y="738"/>
                      </a:lnTo>
                      <a:lnTo>
                        <a:pt x="960" y="732"/>
                      </a:lnTo>
                      <a:lnTo>
                        <a:pt x="954" y="732"/>
                      </a:lnTo>
                      <a:lnTo>
                        <a:pt x="948" y="738"/>
                      </a:lnTo>
                      <a:lnTo>
                        <a:pt x="936" y="744"/>
                      </a:lnTo>
                      <a:lnTo>
                        <a:pt x="930" y="750"/>
                      </a:lnTo>
                      <a:lnTo>
                        <a:pt x="924" y="750"/>
                      </a:lnTo>
                      <a:lnTo>
                        <a:pt x="918" y="756"/>
                      </a:lnTo>
                      <a:lnTo>
                        <a:pt x="924" y="756"/>
                      </a:lnTo>
                      <a:lnTo>
                        <a:pt x="930" y="762"/>
                      </a:lnTo>
                      <a:lnTo>
                        <a:pt x="930" y="768"/>
                      </a:lnTo>
                      <a:lnTo>
                        <a:pt x="924" y="774"/>
                      </a:lnTo>
                      <a:lnTo>
                        <a:pt x="924" y="780"/>
                      </a:lnTo>
                      <a:lnTo>
                        <a:pt x="918" y="792"/>
                      </a:lnTo>
                      <a:lnTo>
                        <a:pt x="918" y="804"/>
                      </a:lnTo>
                      <a:lnTo>
                        <a:pt x="990" y="804"/>
                      </a:lnTo>
                      <a:lnTo>
                        <a:pt x="1038" y="774"/>
                      </a:lnTo>
                      <a:lnTo>
                        <a:pt x="1104" y="750"/>
                      </a:lnTo>
                      <a:lnTo>
                        <a:pt x="1098" y="750"/>
                      </a:lnTo>
                      <a:lnTo>
                        <a:pt x="1092" y="756"/>
                      </a:lnTo>
                      <a:lnTo>
                        <a:pt x="1080" y="762"/>
                      </a:lnTo>
                      <a:lnTo>
                        <a:pt x="1062" y="768"/>
                      </a:lnTo>
                      <a:lnTo>
                        <a:pt x="1050" y="780"/>
                      </a:lnTo>
                      <a:lnTo>
                        <a:pt x="1038" y="786"/>
                      </a:lnTo>
                      <a:lnTo>
                        <a:pt x="1026" y="798"/>
                      </a:lnTo>
                      <a:lnTo>
                        <a:pt x="1026" y="816"/>
                      </a:lnTo>
                      <a:lnTo>
                        <a:pt x="1020" y="828"/>
                      </a:lnTo>
                      <a:lnTo>
                        <a:pt x="990" y="828"/>
                      </a:lnTo>
                      <a:lnTo>
                        <a:pt x="978" y="834"/>
                      </a:lnTo>
                      <a:lnTo>
                        <a:pt x="972" y="852"/>
                      </a:lnTo>
                      <a:lnTo>
                        <a:pt x="966" y="864"/>
                      </a:lnTo>
                      <a:lnTo>
                        <a:pt x="954" y="870"/>
                      </a:lnTo>
                      <a:lnTo>
                        <a:pt x="942" y="882"/>
                      </a:lnTo>
                      <a:lnTo>
                        <a:pt x="930" y="888"/>
                      </a:lnTo>
                      <a:lnTo>
                        <a:pt x="924" y="894"/>
                      </a:lnTo>
                      <a:lnTo>
                        <a:pt x="978" y="888"/>
                      </a:lnTo>
                      <a:lnTo>
                        <a:pt x="972" y="906"/>
                      </a:lnTo>
                      <a:lnTo>
                        <a:pt x="978" y="894"/>
                      </a:lnTo>
                      <a:lnTo>
                        <a:pt x="990" y="888"/>
                      </a:lnTo>
                      <a:lnTo>
                        <a:pt x="1002" y="876"/>
                      </a:lnTo>
                      <a:lnTo>
                        <a:pt x="1026" y="864"/>
                      </a:lnTo>
                      <a:lnTo>
                        <a:pt x="1038" y="864"/>
                      </a:lnTo>
                      <a:lnTo>
                        <a:pt x="1050" y="870"/>
                      </a:lnTo>
                      <a:lnTo>
                        <a:pt x="1056" y="870"/>
                      </a:lnTo>
                      <a:lnTo>
                        <a:pt x="1056" y="876"/>
                      </a:lnTo>
                      <a:lnTo>
                        <a:pt x="1050" y="876"/>
                      </a:lnTo>
                      <a:lnTo>
                        <a:pt x="1074" y="870"/>
                      </a:lnTo>
                      <a:lnTo>
                        <a:pt x="1068" y="876"/>
                      </a:lnTo>
                      <a:lnTo>
                        <a:pt x="1068" y="906"/>
                      </a:lnTo>
                      <a:lnTo>
                        <a:pt x="1074" y="912"/>
                      </a:lnTo>
                      <a:lnTo>
                        <a:pt x="1092" y="912"/>
                      </a:lnTo>
                      <a:lnTo>
                        <a:pt x="1098" y="900"/>
                      </a:lnTo>
                      <a:lnTo>
                        <a:pt x="1110" y="894"/>
                      </a:lnTo>
                      <a:lnTo>
                        <a:pt x="1116" y="888"/>
                      </a:lnTo>
                      <a:lnTo>
                        <a:pt x="1122" y="876"/>
                      </a:lnTo>
                      <a:lnTo>
                        <a:pt x="1164" y="858"/>
                      </a:lnTo>
                      <a:lnTo>
                        <a:pt x="1176" y="870"/>
                      </a:lnTo>
                      <a:lnTo>
                        <a:pt x="1146" y="870"/>
                      </a:lnTo>
                      <a:lnTo>
                        <a:pt x="1140" y="876"/>
                      </a:lnTo>
                      <a:lnTo>
                        <a:pt x="1140" y="882"/>
                      </a:lnTo>
                      <a:lnTo>
                        <a:pt x="1134" y="888"/>
                      </a:lnTo>
                      <a:lnTo>
                        <a:pt x="1134" y="894"/>
                      </a:lnTo>
                      <a:lnTo>
                        <a:pt x="1152" y="894"/>
                      </a:lnTo>
                      <a:lnTo>
                        <a:pt x="1164" y="888"/>
                      </a:lnTo>
                      <a:lnTo>
                        <a:pt x="1182" y="888"/>
                      </a:lnTo>
                      <a:lnTo>
                        <a:pt x="1200" y="882"/>
                      </a:lnTo>
                      <a:lnTo>
                        <a:pt x="1218" y="882"/>
                      </a:lnTo>
                      <a:lnTo>
                        <a:pt x="1224" y="876"/>
                      </a:lnTo>
                      <a:lnTo>
                        <a:pt x="1230" y="876"/>
                      </a:lnTo>
                      <a:lnTo>
                        <a:pt x="1272" y="858"/>
                      </a:lnTo>
                      <a:lnTo>
                        <a:pt x="1224" y="882"/>
                      </a:lnTo>
                      <a:lnTo>
                        <a:pt x="1224" y="894"/>
                      </a:lnTo>
                      <a:lnTo>
                        <a:pt x="1212" y="894"/>
                      </a:lnTo>
                      <a:lnTo>
                        <a:pt x="1200" y="900"/>
                      </a:lnTo>
                      <a:lnTo>
                        <a:pt x="1188" y="900"/>
                      </a:lnTo>
                      <a:lnTo>
                        <a:pt x="1176" y="906"/>
                      </a:lnTo>
                      <a:lnTo>
                        <a:pt x="1170" y="912"/>
                      </a:lnTo>
                      <a:lnTo>
                        <a:pt x="1158" y="918"/>
                      </a:lnTo>
                      <a:lnTo>
                        <a:pt x="1152" y="930"/>
                      </a:lnTo>
                      <a:lnTo>
                        <a:pt x="1122" y="930"/>
                      </a:lnTo>
                      <a:lnTo>
                        <a:pt x="1086" y="960"/>
                      </a:lnTo>
                      <a:lnTo>
                        <a:pt x="1086" y="978"/>
                      </a:lnTo>
                      <a:lnTo>
                        <a:pt x="1038" y="978"/>
                      </a:lnTo>
                      <a:lnTo>
                        <a:pt x="1032" y="984"/>
                      </a:lnTo>
                      <a:lnTo>
                        <a:pt x="1020" y="984"/>
                      </a:lnTo>
                      <a:lnTo>
                        <a:pt x="1002" y="990"/>
                      </a:lnTo>
                      <a:lnTo>
                        <a:pt x="990" y="996"/>
                      </a:lnTo>
                      <a:lnTo>
                        <a:pt x="978" y="996"/>
                      </a:lnTo>
                      <a:lnTo>
                        <a:pt x="966" y="1008"/>
                      </a:lnTo>
                      <a:lnTo>
                        <a:pt x="966" y="1020"/>
                      </a:lnTo>
                      <a:lnTo>
                        <a:pt x="960" y="1026"/>
                      </a:lnTo>
                      <a:lnTo>
                        <a:pt x="960" y="1038"/>
                      </a:lnTo>
                      <a:lnTo>
                        <a:pt x="876" y="1038"/>
                      </a:lnTo>
                      <a:lnTo>
                        <a:pt x="858" y="1044"/>
                      </a:lnTo>
                      <a:lnTo>
                        <a:pt x="828" y="1062"/>
                      </a:lnTo>
                      <a:lnTo>
                        <a:pt x="804" y="1080"/>
                      </a:lnTo>
                      <a:lnTo>
                        <a:pt x="780" y="1092"/>
                      </a:lnTo>
                      <a:lnTo>
                        <a:pt x="774" y="1098"/>
                      </a:lnTo>
                      <a:lnTo>
                        <a:pt x="750" y="1104"/>
                      </a:lnTo>
                      <a:lnTo>
                        <a:pt x="738" y="1122"/>
                      </a:lnTo>
                      <a:lnTo>
                        <a:pt x="732" y="1104"/>
                      </a:lnTo>
                      <a:lnTo>
                        <a:pt x="672" y="1104"/>
                      </a:lnTo>
                      <a:lnTo>
                        <a:pt x="648" y="1116"/>
                      </a:lnTo>
                      <a:lnTo>
                        <a:pt x="630" y="1122"/>
                      </a:lnTo>
                      <a:lnTo>
                        <a:pt x="624" y="1128"/>
                      </a:lnTo>
                      <a:lnTo>
                        <a:pt x="606" y="1128"/>
                      </a:lnTo>
                      <a:lnTo>
                        <a:pt x="606" y="1140"/>
                      </a:lnTo>
                      <a:lnTo>
                        <a:pt x="576" y="1146"/>
                      </a:lnTo>
                      <a:lnTo>
                        <a:pt x="564" y="1152"/>
                      </a:lnTo>
                      <a:lnTo>
                        <a:pt x="540" y="1152"/>
                      </a:lnTo>
                      <a:lnTo>
                        <a:pt x="516" y="1170"/>
                      </a:lnTo>
                      <a:lnTo>
                        <a:pt x="522" y="1182"/>
                      </a:lnTo>
                      <a:lnTo>
                        <a:pt x="540" y="1164"/>
                      </a:lnTo>
                      <a:lnTo>
                        <a:pt x="558" y="1176"/>
                      </a:lnTo>
                      <a:lnTo>
                        <a:pt x="582" y="1158"/>
                      </a:lnTo>
                      <a:lnTo>
                        <a:pt x="582" y="1170"/>
                      </a:lnTo>
                      <a:lnTo>
                        <a:pt x="594" y="1170"/>
                      </a:lnTo>
                      <a:lnTo>
                        <a:pt x="606" y="1164"/>
                      </a:lnTo>
                      <a:lnTo>
                        <a:pt x="618" y="1164"/>
                      </a:lnTo>
                      <a:lnTo>
                        <a:pt x="642" y="1140"/>
                      </a:lnTo>
                      <a:lnTo>
                        <a:pt x="654" y="1134"/>
                      </a:lnTo>
                      <a:lnTo>
                        <a:pt x="666" y="1122"/>
                      </a:lnTo>
                      <a:lnTo>
                        <a:pt x="684" y="1122"/>
                      </a:lnTo>
                      <a:lnTo>
                        <a:pt x="684" y="1134"/>
                      </a:lnTo>
                      <a:lnTo>
                        <a:pt x="690" y="1140"/>
                      </a:lnTo>
                      <a:lnTo>
                        <a:pt x="708" y="1140"/>
                      </a:lnTo>
                      <a:lnTo>
                        <a:pt x="732" y="1128"/>
                      </a:lnTo>
                      <a:lnTo>
                        <a:pt x="744" y="1128"/>
                      </a:lnTo>
                      <a:lnTo>
                        <a:pt x="756" y="1122"/>
                      </a:lnTo>
                      <a:lnTo>
                        <a:pt x="762" y="1116"/>
                      </a:lnTo>
                      <a:lnTo>
                        <a:pt x="768" y="1116"/>
                      </a:lnTo>
                      <a:lnTo>
                        <a:pt x="804" y="1128"/>
                      </a:lnTo>
                      <a:lnTo>
                        <a:pt x="822" y="1110"/>
                      </a:lnTo>
                      <a:lnTo>
                        <a:pt x="834" y="1110"/>
                      </a:lnTo>
                      <a:lnTo>
                        <a:pt x="852" y="1104"/>
                      </a:lnTo>
                      <a:lnTo>
                        <a:pt x="870" y="1104"/>
                      </a:lnTo>
                      <a:lnTo>
                        <a:pt x="894" y="1092"/>
                      </a:lnTo>
                      <a:lnTo>
                        <a:pt x="918" y="1068"/>
                      </a:lnTo>
                      <a:lnTo>
                        <a:pt x="942" y="1056"/>
                      </a:lnTo>
                      <a:lnTo>
                        <a:pt x="972" y="1056"/>
                      </a:lnTo>
                      <a:lnTo>
                        <a:pt x="978" y="1044"/>
                      </a:lnTo>
                      <a:lnTo>
                        <a:pt x="1014" y="1044"/>
                      </a:lnTo>
                      <a:lnTo>
                        <a:pt x="1026" y="1038"/>
                      </a:lnTo>
                      <a:lnTo>
                        <a:pt x="1032" y="1038"/>
                      </a:lnTo>
                      <a:lnTo>
                        <a:pt x="1038" y="1032"/>
                      </a:lnTo>
                      <a:lnTo>
                        <a:pt x="1050" y="1032"/>
                      </a:lnTo>
                      <a:lnTo>
                        <a:pt x="1086" y="1020"/>
                      </a:lnTo>
                      <a:lnTo>
                        <a:pt x="1110" y="1008"/>
                      </a:lnTo>
                      <a:lnTo>
                        <a:pt x="1122" y="996"/>
                      </a:lnTo>
                      <a:lnTo>
                        <a:pt x="1134" y="990"/>
                      </a:lnTo>
                      <a:lnTo>
                        <a:pt x="1140" y="984"/>
                      </a:lnTo>
                      <a:lnTo>
                        <a:pt x="1206" y="972"/>
                      </a:lnTo>
                      <a:lnTo>
                        <a:pt x="1260" y="942"/>
                      </a:lnTo>
                      <a:lnTo>
                        <a:pt x="1296" y="942"/>
                      </a:lnTo>
                      <a:lnTo>
                        <a:pt x="1314" y="936"/>
                      </a:lnTo>
                      <a:lnTo>
                        <a:pt x="1326" y="936"/>
                      </a:lnTo>
                      <a:lnTo>
                        <a:pt x="1338" y="930"/>
                      </a:lnTo>
                      <a:lnTo>
                        <a:pt x="1368" y="900"/>
                      </a:lnTo>
                      <a:lnTo>
                        <a:pt x="1380" y="900"/>
                      </a:lnTo>
                      <a:lnTo>
                        <a:pt x="1404" y="888"/>
                      </a:lnTo>
                      <a:lnTo>
                        <a:pt x="1416" y="888"/>
                      </a:lnTo>
                      <a:lnTo>
                        <a:pt x="1428" y="882"/>
                      </a:lnTo>
                      <a:lnTo>
                        <a:pt x="1434" y="876"/>
                      </a:lnTo>
                      <a:lnTo>
                        <a:pt x="1434" y="864"/>
                      </a:lnTo>
                      <a:lnTo>
                        <a:pt x="1422" y="864"/>
                      </a:lnTo>
                      <a:lnTo>
                        <a:pt x="1428" y="858"/>
                      </a:lnTo>
                      <a:lnTo>
                        <a:pt x="1452" y="846"/>
                      </a:lnTo>
                      <a:lnTo>
                        <a:pt x="1458" y="840"/>
                      </a:lnTo>
                      <a:lnTo>
                        <a:pt x="1470" y="834"/>
                      </a:lnTo>
                      <a:lnTo>
                        <a:pt x="1476" y="828"/>
                      </a:lnTo>
                      <a:lnTo>
                        <a:pt x="1488" y="828"/>
                      </a:lnTo>
                      <a:lnTo>
                        <a:pt x="1500" y="822"/>
                      </a:lnTo>
                      <a:lnTo>
                        <a:pt x="1512" y="822"/>
                      </a:lnTo>
                      <a:lnTo>
                        <a:pt x="1518" y="816"/>
                      </a:lnTo>
                      <a:lnTo>
                        <a:pt x="1524" y="816"/>
                      </a:lnTo>
                      <a:lnTo>
                        <a:pt x="1596" y="786"/>
                      </a:lnTo>
                      <a:lnTo>
                        <a:pt x="1590" y="768"/>
                      </a:lnTo>
                      <a:lnTo>
                        <a:pt x="1602" y="768"/>
                      </a:lnTo>
                      <a:lnTo>
                        <a:pt x="1608" y="774"/>
                      </a:lnTo>
                      <a:lnTo>
                        <a:pt x="1626" y="774"/>
                      </a:lnTo>
                      <a:lnTo>
                        <a:pt x="1638" y="762"/>
                      </a:lnTo>
                      <a:lnTo>
                        <a:pt x="1650" y="762"/>
                      </a:lnTo>
                      <a:lnTo>
                        <a:pt x="1674" y="750"/>
                      </a:lnTo>
                      <a:lnTo>
                        <a:pt x="1680" y="744"/>
                      </a:lnTo>
                      <a:lnTo>
                        <a:pt x="1704" y="732"/>
                      </a:lnTo>
                      <a:lnTo>
                        <a:pt x="1740" y="720"/>
                      </a:lnTo>
                      <a:lnTo>
                        <a:pt x="1770" y="708"/>
                      </a:lnTo>
                      <a:lnTo>
                        <a:pt x="1794" y="702"/>
                      </a:lnTo>
                      <a:lnTo>
                        <a:pt x="1812" y="702"/>
                      </a:lnTo>
                      <a:lnTo>
                        <a:pt x="1818" y="708"/>
                      </a:lnTo>
                      <a:lnTo>
                        <a:pt x="1842" y="720"/>
                      </a:lnTo>
                      <a:lnTo>
                        <a:pt x="1848" y="726"/>
                      </a:lnTo>
                      <a:lnTo>
                        <a:pt x="1812" y="726"/>
                      </a:lnTo>
                      <a:lnTo>
                        <a:pt x="1794" y="714"/>
                      </a:lnTo>
                      <a:lnTo>
                        <a:pt x="1758" y="738"/>
                      </a:lnTo>
                      <a:lnTo>
                        <a:pt x="1728" y="738"/>
                      </a:lnTo>
                      <a:lnTo>
                        <a:pt x="1722" y="744"/>
                      </a:lnTo>
                      <a:lnTo>
                        <a:pt x="1710" y="750"/>
                      </a:lnTo>
                      <a:lnTo>
                        <a:pt x="1704" y="762"/>
                      </a:lnTo>
                      <a:lnTo>
                        <a:pt x="1692" y="768"/>
                      </a:lnTo>
                      <a:lnTo>
                        <a:pt x="1686" y="774"/>
                      </a:lnTo>
                      <a:lnTo>
                        <a:pt x="1680" y="774"/>
                      </a:lnTo>
                      <a:lnTo>
                        <a:pt x="1668" y="780"/>
                      </a:lnTo>
                      <a:lnTo>
                        <a:pt x="1656" y="780"/>
                      </a:lnTo>
                      <a:lnTo>
                        <a:pt x="1638" y="786"/>
                      </a:lnTo>
                      <a:lnTo>
                        <a:pt x="1614" y="798"/>
                      </a:lnTo>
                      <a:lnTo>
                        <a:pt x="1614" y="804"/>
                      </a:lnTo>
                      <a:lnTo>
                        <a:pt x="1620" y="810"/>
                      </a:lnTo>
                      <a:lnTo>
                        <a:pt x="1632" y="816"/>
                      </a:lnTo>
                      <a:lnTo>
                        <a:pt x="1650" y="816"/>
                      </a:lnTo>
                      <a:lnTo>
                        <a:pt x="1644" y="816"/>
                      </a:lnTo>
                      <a:lnTo>
                        <a:pt x="1638" y="822"/>
                      </a:lnTo>
                      <a:lnTo>
                        <a:pt x="1632" y="822"/>
                      </a:lnTo>
                      <a:lnTo>
                        <a:pt x="1620" y="828"/>
                      </a:lnTo>
                      <a:lnTo>
                        <a:pt x="1572" y="828"/>
                      </a:lnTo>
                      <a:lnTo>
                        <a:pt x="1566" y="834"/>
                      </a:lnTo>
                      <a:lnTo>
                        <a:pt x="1560" y="834"/>
                      </a:lnTo>
                      <a:lnTo>
                        <a:pt x="1560" y="846"/>
                      </a:lnTo>
                      <a:lnTo>
                        <a:pt x="1572" y="858"/>
                      </a:lnTo>
                      <a:lnTo>
                        <a:pt x="1584" y="858"/>
                      </a:lnTo>
                      <a:lnTo>
                        <a:pt x="1596" y="852"/>
                      </a:lnTo>
                      <a:lnTo>
                        <a:pt x="1638" y="834"/>
                      </a:lnTo>
                      <a:lnTo>
                        <a:pt x="1680" y="810"/>
                      </a:lnTo>
                      <a:lnTo>
                        <a:pt x="1722" y="798"/>
                      </a:lnTo>
                      <a:lnTo>
                        <a:pt x="1788" y="798"/>
                      </a:lnTo>
                      <a:lnTo>
                        <a:pt x="1818" y="792"/>
                      </a:lnTo>
                      <a:lnTo>
                        <a:pt x="1824" y="786"/>
                      </a:lnTo>
                      <a:lnTo>
                        <a:pt x="1848" y="774"/>
                      </a:lnTo>
                      <a:lnTo>
                        <a:pt x="1854" y="762"/>
                      </a:lnTo>
                      <a:lnTo>
                        <a:pt x="1866" y="756"/>
                      </a:lnTo>
                      <a:lnTo>
                        <a:pt x="1872" y="750"/>
                      </a:lnTo>
                      <a:lnTo>
                        <a:pt x="1866" y="738"/>
                      </a:lnTo>
                      <a:lnTo>
                        <a:pt x="1878" y="732"/>
                      </a:lnTo>
                      <a:lnTo>
                        <a:pt x="1908" y="720"/>
                      </a:lnTo>
                      <a:lnTo>
                        <a:pt x="1944" y="714"/>
                      </a:lnTo>
                      <a:lnTo>
                        <a:pt x="1962" y="708"/>
                      </a:lnTo>
                      <a:lnTo>
                        <a:pt x="1968" y="708"/>
                      </a:lnTo>
                      <a:lnTo>
                        <a:pt x="1980" y="720"/>
                      </a:lnTo>
                      <a:lnTo>
                        <a:pt x="1980" y="726"/>
                      </a:lnTo>
                      <a:lnTo>
                        <a:pt x="2046" y="702"/>
                      </a:lnTo>
                      <a:lnTo>
                        <a:pt x="2004" y="738"/>
                      </a:lnTo>
                      <a:lnTo>
                        <a:pt x="2022" y="744"/>
                      </a:lnTo>
                      <a:lnTo>
                        <a:pt x="2022" y="762"/>
                      </a:lnTo>
                      <a:lnTo>
                        <a:pt x="2028" y="762"/>
                      </a:lnTo>
                      <a:lnTo>
                        <a:pt x="2034" y="756"/>
                      </a:lnTo>
                      <a:lnTo>
                        <a:pt x="2094" y="726"/>
                      </a:lnTo>
                      <a:lnTo>
                        <a:pt x="2082" y="732"/>
                      </a:lnTo>
                      <a:lnTo>
                        <a:pt x="2076" y="744"/>
                      </a:lnTo>
                      <a:lnTo>
                        <a:pt x="2064" y="750"/>
                      </a:lnTo>
                      <a:lnTo>
                        <a:pt x="2058" y="762"/>
                      </a:lnTo>
                      <a:lnTo>
                        <a:pt x="2046" y="774"/>
                      </a:lnTo>
                      <a:lnTo>
                        <a:pt x="2052" y="780"/>
                      </a:lnTo>
                      <a:lnTo>
                        <a:pt x="2064" y="780"/>
                      </a:lnTo>
                      <a:lnTo>
                        <a:pt x="2076" y="786"/>
                      </a:lnTo>
                      <a:lnTo>
                        <a:pt x="2106" y="786"/>
                      </a:lnTo>
                      <a:lnTo>
                        <a:pt x="2208" y="798"/>
                      </a:lnTo>
                      <a:lnTo>
                        <a:pt x="2238" y="780"/>
                      </a:lnTo>
                      <a:lnTo>
                        <a:pt x="2232" y="786"/>
                      </a:lnTo>
                      <a:lnTo>
                        <a:pt x="2232" y="810"/>
                      </a:lnTo>
                      <a:lnTo>
                        <a:pt x="2298" y="810"/>
                      </a:lnTo>
                      <a:lnTo>
                        <a:pt x="2334" y="804"/>
                      </a:lnTo>
                      <a:lnTo>
                        <a:pt x="2328" y="804"/>
                      </a:lnTo>
                      <a:lnTo>
                        <a:pt x="2322" y="810"/>
                      </a:lnTo>
                      <a:lnTo>
                        <a:pt x="2310" y="810"/>
                      </a:lnTo>
                      <a:lnTo>
                        <a:pt x="2286" y="822"/>
                      </a:lnTo>
                      <a:lnTo>
                        <a:pt x="2280" y="828"/>
                      </a:lnTo>
                      <a:lnTo>
                        <a:pt x="2280" y="834"/>
                      </a:lnTo>
                      <a:lnTo>
                        <a:pt x="2292" y="846"/>
                      </a:lnTo>
                      <a:lnTo>
                        <a:pt x="2304" y="852"/>
                      </a:lnTo>
                      <a:lnTo>
                        <a:pt x="2310" y="858"/>
                      </a:lnTo>
                      <a:lnTo>
                        <a:pt x="2310" y="882"/>
                      </a:lnTo>
                      <a:lnTo>
                        <a:pt x="2316" y="888"/>
                      </a:lnTo>
                      <a:lnTo>
                        <a:pt x="2316" y="900"/>
                      </a:lnTo>
                      <a:lnTo>
                        <a:pt x="2322" y="912"/>
                      </a:lnTo>
                      <a:lnTo>
                        <a:pt x="2358" y="912"/>
                      </a:lnTo>
                      <a:lnTo>
                        <a:pt x="2370" y="906"/>
                      </a:lnTo>
                      <a:lnTo>
                        <a:pt x="2388" y="906"/>
                      </a:lnTo>
                      <a:lnTo>
                        <a:pt x="2382" y="876"/>
                      </a:lnTo>
                      <a:lnTo>
                        <a:pt x="2400" y="870"/>
                      </a:lnTo>
                      <a:lnTo>
                        <a:pt x="2412" y="888"/>
                      </a:lnTo>
                      <a:lnTo>
                        <a:pt x="2442" y="876"/>
                      </a:lnTo>
                      <a:lnTo>
                        <a:pt x="2430" y="888"/>
                      </a:lnTo>
                      <a:lnTo>
                        <a:pt x="2430" y="900"/>
                      </a:lnTo>
                      <a:lnTo>
                        <a:pt x="2424" y="906"/>
                      </a:lnTo>
                      <a:lnTo>
                        <a:pt x="2424" y="912"/>
                      </a:lnTo>
                      <a:lnTo>
                        <a:pt x="2430" y="918"/>
                      </a:lnTo>
                      <a:lnTo>
                        <a:pt x="2436" y="918"/>
                      </a:lnTo>
                      <a:lnTo>
                        <a:pt x="2448" y="912"/>
                      </a:lnTo>
                      <a:lnTo>
                        <a:pt x="2454" y="906"/>
                      </a:lnTo>
                      <a:lnTo>
                        <a:pt x="2460" y="894"/>
                      </a:lnTo>
                      <a:lnTo>
                        <a:pt x="2466" y="888"/>
                      </a:lnTo>
                      <a:lnTo>
                        <a:pt x="2472" y="876"/>
                      </a:lnTo>
                      <a:lnTo>
                        <a:pt x="2502" y="834"/>
                      </a:lnTo>
                      <a:lnTo>
                        <a:pt x="2478" y="900"/>
                      </a:lnTo>
                      <a:lnTo>
                        <a:pt x="2484" y="924"/>
                      </a:lnTo>
                      <a:lnTo>
                        <a:pt x="2520" y="912"/>
                      </a:lnTo>
                      <a:lnTo>
                        <a:pt x="2496" y="936"/>
                      </a:lnTo>
                      <a:lnTo>
                        <a:pt x="2520" y="954"/>
                      </a:lnTo>
                      <a:lnTo>
                        <a:pt x="2502" y="954"/>
                      </a:lnTo>
                      <a:lnTo>
                        <a:pt x="2502" y="972"/>
                      </a:lnTo>
                      <a:lnTo>
                        <a:pt x="2472" y="990"/>
                      </a:lnTo>
                      <a:lnTo>
                        <a:pt x="2454" y="1002"/>
                      </a:lnTo>
                      <a:lnTo>
                        <a:pt x="2484" y="1020"/>
                      </a:lnTo>
                      <a:lnTo>
                        <a:pt x="2478" y="1050"/>
                      </a:lnTo>
                      <a:lnTo>
                        <a:pt x="2460" y="1068"/>
                      </a:lnTo>
                      <a:lnTo>
                        <a:pt x="2478" y="1080"/>
                      </a:lnTo>
                      <a:lnTo>
                        <a:pt x="2460" y="1098"/>
                      </a:lnTo>
                      <a:lnTo>
                        <a:pt x="2490" y="1098"/>
                      </a:lnTo>
                      <a:lnTo>
                        <a:pt x="2526" y="1086"/>
                      </a:lnTo>
                      <a:lnTo>
                        <a:pt x="2496" y="1122"/>
                      </a:lnTo>
                      <a:lnTo>
                        <a:pt x="2478" y="1140"/>
                      </a:lnTo>
                      <a:lnTo>
                        <a:pt x="2502" y="1146"/>
                      </a:lnTo>
                      <a:lnTo>
                        <a:pt x="2454" y="1164"/>
                      </a:lnTo>
                      <a:lnTo>
                        <a:pt x="2436" y="1176"/>
                      </a:lnTo>
                      <a:lnTo>
                        <a:pt x="2454" y="1188"/>
                      </a:lnTo>
                      <a:lnTo>
                        <a:pt x="2454" y="1200"/>
                      </a:lnTo>
                      <a:lnTo>
                        <a:pt x="2472" y="1188"/>
                      </a:lnTo>
                      <a:lnTo>
                        <a:pt x="2490" y="1182"/>
                      </a:lnTo>
                      <a:lnTo>
                        <a:pt x="2502" y="1170"/>
                      </a:lnTo>
                      <a:lnTo>
                        <a:pt x="2514" y="1164"/>
                      </a:lnTo>
                      <a:lnTo>
                        <a:pt x="2532" y="1146"/>
                      </a:lnTo>
                      <a:lnTo>
                        <a:pt x="2538" y="1134"/>
                      </a:lnTo>
                      <a:lnTo>
                        <a:pt x="2538" y="1122"/>
                      </a:lnTo>
                      <a:lnTo>
                        <a:pt x="2550" y="1116"/>
                      </a:lnTo>
                      <a:lnTo>
                        <a:pt x="2562" y="1104"/>
                      </a:lnTo>
                      <a:lnTo>
                        <a:pt x="2574" y="1098"/>
                      </a:lnTo>
                      <a:lnTo>
                        <a:pt x="2574" y="1086"/>
                      </a:lnTo>
                      <a:lnTo>
                        <a:pt x="2568" y="1080"/>
                      </a:lnTo>
                      <a:lnTo>
                        <a:pt x="2562" y="1080"/>
                      </a:lnTo>
                      <a:close/>
                      <a:moveTo>
                        <a:pt x="2394" y="1056"/>
                      </a:moveTo>
                      <a:lnTo>
                        <a:pt x="2400" y="1062"/>
                      </a:lnTo>
                      <a:lnTo>
                        <a:pt x="2418" y="1062"/>
                      </a:lnTo>
                      <a:lnTo>
                        <a:pt x="2436" y="1044"/>
                      </a:lnTo>
                      <a:lnTo>
                        <a:pt x="2460" y="1038"/>
                      </a:lnTo>
                      <a:lnTo>
                        <a:pt x="2454" y="1020"/>
                      </a:lnTo>
                      <a:lnTo>
                        <a:pt x="2430" y="1020"/>
                      </a:lnTo>
                      <a:lnTo>
                        <a:pt x="2418" y="1026"/>
                      </a:lnTo>
                      <a:lnTo>
                        <a:pt x="2412" y="1032"/>
                      </a:lnTo>
                      <a:lnTo>
                        <a:pt x="2406" y="1044"/>
                      </a:lnTo>
                      <a:lnTo>
                        <a:pt x="2394" y="1050"/>
                      </a:lnTo>
                      <a:lnTo>
                        <a:pt x="2394" y="1056"/>
                      </a:lnTo>
                      <a:close/>
                      <a:moveTo>
                        <a:pt x="2376" y="984"/>
                      </a:moveTo>
                      <a:lnTo>
                        <a:pt x="2358" y="984"/>
                      </a:lnTo>
                      <a:lnTo>
                        <a:pt x="2346" y="990"/>
                      </a:lnTo>
                      <a:lnTo>
                        <a:pt x="2334" y="1002"/>
                      </a:lnTo>
                      <a:lnTo>
                        <a:pt x="2334" y="1014"/>
                      </a:lnTo>
                      <a:lnTo>
                        <a:pt x="2322" y="1026"/>
                      </a:lnTo>
                      <a:lnTo>
                        <a:pt x="2322" y="1044"/>
                      </a:lnTo>
                      <a:lnTo>
                        <a:pt x="2310" y="1056"/>
                      </a:lnTo>
                      <a:lnTo>
                        <a:pt x="2310" y="1074"/>
                      </a:lnTo>
                      <a:lnTo>
                        <a:pt x="2316" y="1080"/>
                      </a:lnTo>
                      <a:lnTo>
                        <a:pt x="2322" y="1074"/>
                      </a:lnTo>
                      <a:lnTo>
                        <a:pt x="2328" y="1062"/>
                      </a:lnTo>
                      <a:lnTo>
                        <a:pt x="2340" y="1050"/>
                      </a:lnTo>
                      <a:lnTo>
                        <a:pt x="2352" y="1044"/>
                      </a:lnTo>
                      <a:lnTo>
                        <a:pt x="2376" y="1020"/>
                      </a:lnTo>
                      <a:lnTo>
                        <a:pt x="2382" y="1008"/>
                      </a:lnTo>
                      <a:lnTo>
                        <a:pt x="2382" y="990"/>
                      </a:lnTo>
                      <a:lnTo>
                        <a:pt x="2376" y="984"/>
                      </a:lnTo>
                      <a:close/>
                      <a:moveTo>
                        <a:pt x="786" y="810"/>
                      </a:moveTo>
                      <a:lnTo>
                        <a:pt x="798" y="810"/>
                      </a:lnTo>
                      <a:lnTo>
                        <a:pt x="834" y="798"/>
                      </a:lnTo>
                      <a:lnTo>
                        <a:pt x="858" y="786"/>
                      </a:lnTo>
                      <a:lnTo>
                        <a:pt x="864" y="780"/>
                      </a:lnTo>
                      <a:lnTo>
                        <a:pt x="870" y="780"/>
                      </a:lnTo>
                      <a:lnTo>
                        <a:pt x="864" y="774"/>
                      </a:lnTo>
                      <a:lnTo>
                        <a:pt x="828" y="762"/>
                      </a:lnTo>
                      <a:lnTo>
                        <a:pt x="810" y="762"/>
                      </a:lnTo>
                      <a:lnTo>
                        <a:pt x="798" y="768"/>
                      </a:lnTo>
                      <a:lnTo>
                        <a:pt x="792" y="774"/>
                      </a:lnTo>
                      <a:lnTo>
                        <a:pt x="786" y="768"/>
                      </a:lnTo>
                      <a:lnTo>
                        <a:pt x="774" y="768"/>
                      </a:lnTo>
                      <a:lnTo>
                        <a:pt x="768" y="774"/>
                      </a:lnTo>
                      <a:lnTo>
                        <a:pt x="768" y="804"/>
                      </a:lnTo>
                      <a:lnTo>
                        <a:pt x="774" y="810"/>
                      </a:lnTo>
                      <a:lnTo>
                        <a:pt x="786" y="810"/>
                      </a:lnTo>
                      <a:close/>
                      <a:moveTo>
                        <a:pt x="0" y="1332"/>
                      </a:moveTo>
                      <a:lnTo>
                        <a:pt x="60" y="1320"/>
                      </a:lnTo>
                      <a:lnTo>
                        <a:pt x="72" y="1302"/>
                      </a:lnTo>
                      <a:lnTo>
                        <a:pt x="132" y="1296"/>
                      </a:lnTo>
                      <a:lnTo>
                        <a:pt x="114" y="1272"/>
                      </a:lnTo>
                      <a:lnTo>
                        <a:pt x="0" y="1332"/>
                      </a:lnTo>
                      <a:close/>
                      <a:moveTo>
                        <a:pt x="1362" y="954"/>
                      </a:moveTo>
                      <a:lnTo>
                        <a:pt x="1350" y="954"/>
                      </a:lnTo>
                      <a:lnTo>
                        <a:pt x="1338" y="960"/>
                      </a:lnTo>
                      <a:lnTo>
                        <a:pt x="1332" y="954"/>
                      </a:lnTo>
                      <a:lnTo>
                        <a:pt x="1314" y="954"/>
                      </a:lnTo>
                      <a:lnTo>
                        <a:pt x="1314" y="978"/>
                      </a:lnTo>
                      <a:lnTo>
                        <a:pt x="1290" y="996"/>
                      </a:lnTo>
                      <a:lnTo>
                        <a:pt x="1290" y="972"/>
                      </a:lnTo>
                      <a:lnTo>
                        <a:pt x="1278" y="966"/>
                      </a:lnTo>
                      <a:lnTo>
                        <a:pt x="1272" y="966"/>
                      </a:lnTo>
                      <a:lnTo>
                        <a:pt x="1248" y="978"/>
                      </a:lnTo>
                      <a:lnTo>
                        <a:pt x="1242" y="978"/>
                      </a:lnTo>
                      <a:lnTo>
                        <a:pt x="1230" y="990"/>
                      </a:lnTo>
                      <a:lnTo>
                        <a:pt x="1224" y="1002"/>
                      </a:lnTo>
                      <a:lnTo>
                        <a:pt x="1218" y="1008"/>
                      </a:lnTo>
                      <a:lnTo>
                        <a:pt x="1218" y="1014"/>
                      </a:lnTo>
                      <a:lnTo>
                        <a:pt x="1224" y="1014"/>
                      </a:lnTo>
                      <a:lnTo>
                        <a:pt x="1230" y="1020"/>
                      </a:lnTo>
                      <a:lnTo>
                        <a:pt x="1278" y="1020"/>
                      </a:lnTo>
                      <a:lnTo>
                        <a:pt x="1296" y="1014"/>
                      </a:lnTo>
                      <a:lnTo>
                        <a:pt x="1308" y="1014"/>
                      </a:lnTo>
                      <a:lnTo>
                        <a:pt x="1320" y="1008"/>
                      </a:lnTo>
                      <a:lnTo>
                        <a:pt x="1320" y="996"/>
                      </a:lnTo>
                      <a:lnTo>
                        <a:pt x="1350" y="990"/>
                      </a:lnTo>
                      <a:lnTo>
                        <a:pt x="1350" y="984"/>
                      </a:lnTo>
                      <a:lnTo>
                        <a:pt x="1386" y="978"/>
                      </a:lnTo>
                      <a:lnTo>
                        <a:pt x="1398" y="954"/>
                      </a:lnTo>
                      <a:lnTo>
                        <a:pt x="1380" y="960"/>
                      </a:lnTo>
                      <a:lnTo>
                        <a:pt x="1374" y="954"/>
                      </a:lnTo>
                      <a:lnTo>
                        <a:pt x="1362" y="954"/>
                      </a:lnTo>
                      <a:close/>
                      <a:moveTo>
                        <a:pt x="162" y="1290"/>
                      </a:moveTo>
                      <a:lnTo>
                        <a:pt x="204" y="1290"/>
                      </a:lnTo>
                      <a:lnTo>
                        <a:pt x="240" y="1260"/>
                      </a:lnTo>
                      <a:lnTo>
                        <a:pt x="228" y="1242"/>
                      </a:lnTo>
                      <a:lnTo>
                        <a:pt x="162" y="1290"/>
                      </a:lnTo>
                      <a:close/>
                      <a:moveTo>
                        <a:pt x="2466" y="1140"/>
                      </a:moveTo>
                      <a:lnTo>
                        <a:pt x="2472" y="1128"/>
                      </a:lnTo>
                      <a:lnTo>
                        <a:pt x="2454" y="1110"/>
                      </a:lnTo>
                      <a:lnTo>
                        <a:pt x="2448" y="1110"/>
                      </a:lnTo>
                      <a:lnTo>
                        <a:pt x="2436" y="1122"/>
                      </a:lnTo>
                      <a:lnTo>
                        <a:pt x="2430" y="1134"/>
                      </a:lnTo>
                      <a:lnTo>
                        <a:pt x="2424" y="1152"/>
                      </a:lnTo>
                      <a:lnTo>
                        <a:pt x="2418" y="1164"/>
                      </a:lnTo>
                      <a:lnTo>
                        <a:pt x="2418" y="1176"/>
                      </a:lnTo>
                      <a:lnTo>
                        <a:pt x="2436" y="1158"/>
                      </a:lnTo>
                      <a:lnTo>
                        <a:pt x="2454" y="1158"/>
                      </a:lnTo>
                      <a:lnTo>
                        <a:pt x="2460" y="1152"/>
                      </a:lnTo>
                      <a:lnTo>
                        <a:pt x="2466" y="1140"/>
                      </a:lnTo>
                      <a:close/>
                      <a:moveTo>
                        <a:pt x="1428" y="912"/>
                      </a:moveTo>
                      <a:lnTo>
                        <a:pt x="1404" y="924"/>
                      </a:lnTo>
                      <a:lnTo>
                        <a:pt x="1386" y="942"/>
                      </a:lnTo>
                      <a:lnTo>
                        <a:pt x="1386" y="948"/>
                      </a:lnTo>
                      <a:lnTo>
                        <a:pt x="1398" y="954"/>
                      </a:lnTo>
                      <a:lnTo>
                        <a:pt x="1410" y="954"/>
                      </a:lnTo>
                      <a:lnTo>
                        <a:pt x="1422" y="948"/>
                      </a:lnTo>
                      <a:lnTo>
                        <a:pt x="1428" y="948"/>
                      </a:lnTo>
                      <a:lnTo>
                        <a:pt x="1440" y="942"/>
                      </a:lnTo>
                      <a:lnTo>
                        <a:pt x="1446" y="930"/>
                      </a:lnTo>
                      <a:lnTo>
                        <a:pt x="1470" y="930"/>
                      </a:lnTo>
                      <a:lnTo>
                        <a:pt x="1470" y="924"/>
                      </a:lnTo>
                      <a:lnTo>
                        <a:pt x="1458" y="912"/>
                      </a:lnTo>
                      <a:lnTo>
                        <a:pt x="1452" y="912"/>
                      </a:lnTo>
                      <a:lnTo>
                        <a:pt x="1440" y="906"/>
                      </a:lnTo>
                      <a:lnTo>
                        <a:pt x="1428" y="912"/>
                      </a:lnTo>
                      <a:close/>
                      <a:moveTo>
                        <a:pt x="498" y="1164"/>
                      </a:moveTo>
                      <a:lnTo>
                        <a:pt x="486" y="1164"/>
                      </a:lnTo>
                      <a:lnTo>
                        <a:pt x="474" y="1170"/>
                      </a:lnTo>
                      <a:lnTo>
                        <a:pt x="462" y="1170"/>
                      </a:lnTo>
                      <a:lnTo>
                        <a:pt x="450" y="1176"/>
                      </a:lnTo>
                      <a:lnTo>
                        <a:pt x="444" y="1182"/>
                      </a:lnTo>
                      <a:lnTo>
                        <a:pt x="432" y="1182"/>
                      </a:lnTo>
                      <a:lnTo>
                        <a:pt x="426" y="1188"/>
                      </a:lnTo>
                      <a:lnTo>
                        <a:pt x="414" y="1188"/>
                      </a:lnTo>
                      <a:lnTo>
                        <a:pt x="390" y="1200"/>
                      </a:lnTo>
                      <a:lnTo>
                        <a:pt x="384" y="1206"/>
                      </a:lnTo>
                      <a:lnTo>
                        <a:pt x="384" y="1218"/>
                      </a:lnTo>
                      <a:lnTo>
                        <a:pt x="402" y="1218"/>
                      </a:lnTo>
                      <a:lnTo>
                        <a:pt x="420" y="1212"/>
                      </a:lnTo>
                      <a:lnTo>
                        <a:pt x="432" y="1206"/>
                      </a:lnTo>
                      <a:lnTo>
                        <a:pt x="504" y="1206"/>
                      </a:lnTo>
                      <a:lnTo>
                        <a:pt x="510" y="1200"/>
                      </a:lnTo>
                      <a:lnTo>
                        <a:pt x="510" y="1176"/>
                      </a:lnTo>
                      <a:lnTo>
                        <a:pt x="498" y="1164"/>
                      </a:lnTo>
                      <a:close/>
                      <a:moveTo>
                        <a:pt x="330" y="1242"/>
                      </a:moveTo>
                      <a:lnTo>
                        <a:pt x="330" y="1224"/>
                      </a:lnTo>
                      <a:lnTo>
                        <a:pt x="276" y="1242"/>
                      </a:lnTo>
                      <a:lnTo>
                        <a:pt x="330" y="1242"/>
                      </a:lnTo>
                      <a:close/>
                    </a:path>
                  </a:pathLst>
                </a:custGeom>
                <a:solidFill>
                  <a:schemeClr val="accent1"/>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291" name="USA"/>
                <p:cNvSpPr>
                  <a:spLocks noEditPoints="1"/>
                </p:cNvSpPr>
                <p:nvPr/>
              </p:nvSpPr>
              <p:spPr bwMode="gray">
                <a:xfrm>
                  <a:off x="579" y="1295"/>
                  <a:ext cx="1002" cy="497"/>
                </a:xfrm>
                <a:custGeom>
                  <a:avLst/>
                  <a:gdLst>
                    <a:gd name="T0" fmla="*/ 2147483647 w 3918"/>
                    <a:gd name="T1" fmla="*/ 2147483647 h 1944"/>
                    <a:gd name="T2" fmla="*/ 2147483647 w 3918"/>
                    <a:gd name="T3" fmla="*/ 2147483647 h 1944"/>
                    <a:gd name="T4" fmla="*/ 2147483647 w 3918"/>
                    <a:gd name="T5" fmla="*/ 2147483647 h 1944"/>
                    <a:gd name="T6" fmla="*/ 2147483647 w 3918"/>
                    <a:gd name="T7" fmla="*/ 2147483647 h 1944"/>
                    <a:gd name="T8" fmla="*/ 2147483647 w 3918"/>
                    <a:gd name="T9" fmla="*/ 2147483647 h 1944"/>
                    <a:gd name="T10" fmla="*/ 2147483647 w 3918"/>
                    <a:gd name="T11" fmla="*/ 2147483647 h 1944"/>
                    <a:gd name="T12" fmla="*/ 2147483647 w 3918"/>
                    <a:gd name="T13" fmla="*/ 2147483647 h 1944"/>
                    <a:gd name="T14" fmla="*/ 2147483647 w 3918"/>
                    <a:gd name="T15" fmla="*/ 2147483647 h 1944"/>
                    <a:gd name="T16" fmla="*/ 2147483647 w 3918"/>
                    <a:gd name="T17" fmla="*/ 2147483647 h 1944"/>
                    <a:gd name="T18" fmla="*/ 2147483647 w 3918"/>
                    <a:gd name="T19" fmla="*/ 2147483647 h 1944"/>
                    <a:gd name="T20" fmla="*/ 2147483647 w 3918"/>
                    <a:gd name="T21" fmla="*/ 2147483647 h 1944"/>
                    <a:gd name="T22" fmla="*/ 2147483647 w 3918"/>
                    <a:gd name="T23" fmla="*/ 2147483647 h 1944"/>
                    <a:gd name="T24" fmla="*/ 2147483647 w 3918"/>
                    <a:gd name="T25" fmla="*/ 2147483647 h 1944"/>
                    <a:gd name="T26" fmla="*/ 2147483647 w 3918"/>
                    <a:gd name="T27" fmla="*/ 2147483647 h 1944"/>
                    <a:gd name="T28" fmla="*/ 2147483647 w 3918"/>
                    <a:gd name="T29" fmla="*/ 2147483647 h 1944"/>
                    <a:gd name="T30" fmla="*/ 2147483647 w 3918"/>
                    <a:gd name="T31" fmla="*/ 2147483647 h 1944"/>
                    <a:gd name="T32" fmla="*/ 2147483647 w 3918"/>
                    <a:gd name="T33" fmla="*/ 2147483647 h 1944"/>
                    <a:gd name="T34" fmla="*/ 2147483647 w 3918"/>
                    <a:gd name="T35" fmla="*/ 2147483647 h 1944"/>
                    <a:gd name="T36" fmla="*/ 2147483647 w 3918"/>
                    <a:gd name="T37" fmla="*/ 2147483647 h 1944"/>
                    <a:gd name="T38" fmla="*/ 2147483647 w 3918"/>
                    <a:gd name="T39" fmla="*/ 2147483647 h 1944"/>
                    <a:gd name="T40" fmla="*/ 2147483647 w 3918"/>
                    <a:gd name="T41" fmla="*/ 2147483647 h 1944"/>
                    <a:gd name="T42" fmla="*/ 2147483647 w 3918"/>
                    <a:gd name="T43" fmla="*/ 2147483647 h 1944"/>
                    <a:gd name="T44" fmla="*/ 2147483647 w 3918"/>
                    <a:gd name="T45" fmla="*/ 2147483647 h 1944"/>
                    <a:gd name="T46" fmla="*/ 2147483647 w 3918"/>
                    <a:gd name="T47" fmla="*/ 2147483647 h 1944"/>
                    <a:gd name="T48" fmla="*/ 2147483647 w 3918"/>
                    <a:gd name="T49" fmla="*/ 2147483647 h 1944"/>
                    <a:gd name="T50" fmla="*/ 2147483647 w 3918"/>
                    <a:gd name="T51" fmla="*/ 2147483647 h 1944"/>
                    <a:gd name="T52" fmla="*/ 2147483647 w 3918"/>
                    <a:gd name="T53" fmla="*/ 2147483647 h 1944"/>
                    <a:gd name="T54" fmla="*/ 2147483647 w 3918"/>
                    <a:gd name="T55" fmla="*/ 2147483647 h 1944"/>
                    <a:gd name="T56" fmla="*/ 2147483647 w 3918"/>
                    <a:gd name="T57" fmla="*/ 2147483647 h 1944"/>
                    <a:gd name="T58" fmla="*/ 2147483647 w 3918"/>
                    <a:gd name="T59" fmla="*/ 2147483647 h 1944"/>
                    <a:gd name="T60" fmla="*/ 2147483647 w 3918"/>
                    <a:gd name="T61" fmla="*/ 2147483647 h 1944"/>
                    <a:gd name="T62" fmla="*/ 2147483647 w 3918"/>
                    <a:gd name="T63" fmla="*/ 2147483647 h 1944"/>
                    <a:gd name="T64" fmla="*/ 2147483647 w 3918"/>
                    <a:gd name="T65" fmla="*/ 2147483647 h 1944"/>
                    <a:gd name="T66" fmla="*/ 2147483647 w 3918"/>
                    <a:gd name="T67" fmla="*/ 2147483647 h 1944"/>
                    <a:gd name="T68" fmla="*/ 2147483647 w 3918"/>
                    <a:gd name="T69" fmla="*/ 2147483647 h 1944"/>
                    <a:gd name="T70" fmla="*/ 2147483647 w 3918"/>
                    <a:gd name="T71" fmla="*/ 2147483647 h 1944"/>
                    <a:gd name="T72" fmla="*/ 2147483647 w 3918"/>
                    <a:gd name="T73" fmla="*/ 2147483647 h 1944"/>
                    <a:gd name="T74" fmla="*/ 2147483647 w 3918"/>
                    <a:gd name="T75" fmla="*/ 2147483647 h 1944"/>
                    <a:gd name="T76" fmla="*/ 2147483647 w 3918"/>
                    <a:gd name="T77" fmla="*/ 2147483647 h 1944"/>
                    <a:gd name="T78" fmla="*/ 2147483647 w 3918"/>
                    <a:gd name="T79" fmla="*/ 2147483647 h 1944"/>
                    <a:gd name="T80" fmla="*/ 2147483647 w 3918"/>
                    <a:gd name="T81" fmla="*/ 2147483647 h 1944"/>
                    <a:gd name="T82" fmla="*/ 2147483647 w 3918"/>
                    <a:gd name="T83" fmla="*/ 2147483647 h 1944"/>
                    <a:gd name="T84" fmla="*/ 2147483647 w 3918"/>
                    <a:gd name="T85" fmla="*/ 2147483647 h 1944"/>
                    <a:gd name="T86" fmla="*/ 2147483647 w 3918"/>
                    <a:gd name="T87" fmla="*/ 2147483647 h 1944"/>
                    <a:gd name="T88" fmla="*/ 2147483647 w 3918"/>
                    <a:gd name="T89" fmla="*/ 2147483647 h 1944"/>
                    <a:gd name="T90" fmla="*/ 2147483647 w 3918"/>
                    <a:gd name="T91" fmla="*/ 2147483647 h 1944"/>
                    <a:gd name="T92" fmla="*/ 2147483647 w 3918"/>
                    <a:gd name="T93" fmla="*/ 2147483647 h 1944"/>
                    <a:gd name="T94" fmla="*/ 2147483647 w 3918"/>
                    <a:gd name="T95" fmla="*/ 2147483647 h 1944"/>
                    <a:gd name="T96" fmla="*/ 2147483647 w 3918"/>
                    <a:gd name="T97" fmla="*/ 2147483647 h 1944"/>
                    <a:gd name="T98" fmla="*/ 2147483647 w 3918"/>
                    <a:gd name="T99" fmla="*/ 2147483647 h 1944"/>
                    <a:gd name="T100" fmla="*/ 2147483647 w 3918"/>
                    <a:gd name="T101" fmla="*/ 2147483647 h 1944"/>
                    <a:gd name="T102" fmla="*/ 2147483647 w 3918"/>
                    <a:gd name="T103" fmla="*/ 2147483647 h 1944"/>
                    <a:gd name="T104" fmla="*/ 2147483647 w 3918"/>
                    <a:gd name="T105" fmla="*/ 2147483647 h 1944"/>
                    <a:gd name="T106" fmla="*/ 2147483647 w 3918"/>
                    <a:gd name="T107" fmla="*/ 2147483647 h 1944"/>
                    <a:gd name="T108" fmla="*/ 2147483647 w 3918"/>
                    <a:gd name="T109" fmla="*/ 2147483647 h 1944"/>
                    <a:gd name="T110" fmla="*/ 2147483647 w 3918"/>
                    <a:gd name="T111" fmla="*/ 2147483647 h 1944"/>
                    <a:gd name="T112" fmla="*/ 2147483647 w 3918"/>
                    <a:gd name="T113" fmla="*/ 2147483647 h 1944"/>
                    <a:gd name="T114" fmla="*/ 2147483647 w 3918"/>
                    <a:gd name="T115" fmla="*/ 2147483647 h 1944"/>
                    <a:gd name="T116" fmla="*/ 2147483647 w 3918"/>
                    <a:gd name="T117" fmla="*/ 2147483647 h 1944"/>
                    <a:gd name="T118" fmla="*/ 2147483647 w 3918"/>
                    <a:gd name="T119" fmla="*/ 2147483647 h 1944"/>
                    <a:gd name="T120" fmla="*/ 2147483647 w 3918"/>
                    <a:gd name="T121" fmla="*/ 2147483647 h 1944"/>
                    <a:gd name="T122" fmla="*/ 2147483647 w 3918"/>
                    <a:gd name="T123" fmla="*/ 2147483647 h 1944"/>
                    <a:gd name="T124" fmla="*/ 2147483647 w 3918"/>
                    <a:gd name="T125" fmla="*/ 2147483647 h 194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918"/>
                    <a:gd name="T190" fmla="*/ 0 h 1944"/>
                    <a:gd name="T191" fmla="*/ 3918 w 3918"/>
                    <a:gd name="T192" fmla="*/ 1944 h 194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918" h="1944">
                      <a:moveTo>
                        <a:pt x="3858" y="168"/>
                      </a:moveTo>
                      <a:lnTo>
                        <a:pt x="3852" y="168"/>
                      </a:lnTo>
                      <a:lnTo>
                        <a:pt x="3846" y="162"/>
                      </a:lnTo>
                      <a:lnTo>
                        <a:pt x="3846" y="156"/>
                      </a:lnTo>
                      <a:lnTo>
                        <a:pt x="3840" y="150"/>
                      </a:lnTo>
                      <a:lnTo>
                        <a:pt x="3828" y="150"/>
                      </a:lnTo>
                      <a:lnTo>
                        <a:pt x="3804" y="174"/>
                      </a:lnTo>
                      <a:lnTo>
                        <a:pt x="3798" y="186"/>
                      </a:lnTo>
                      <a:lnTo>
                        <a:pt x="3756" y="210"/>
                      </a:lnTo>
                      <a:lnTo>
                        <a:pt x="3756" y="234"/>
                      </a:lnTo>
                      <a:lnTo>
                        <a:pt x="3744" y="246"/>
                      </a:lnTo>
                      <a:lnTo>
                        <a:pt x="3738" y="246"/>
                      </a:lnTo>
                      <a:lnTo>
                        <a:pt x="3726" y="258"/>
                      </a:lnTo>
                      <a:lnTo>
                        <a:pt x="3720" y="270"/>
                      </a:lnTo>
                      <a:lnTo>
                        <a:pt x="3720" y="294"/>
                      </a:lnTo>
                      <a:lnTo>
                        <a:pt x="3714" y="294"/>
                      </a:lnTo>
                      <a:lnTo>
                        <a:pt x="3708" y="288"/>
                      </a:lnTo>
                      <a:lnTo>
                        <a:pt x="3696" y="288"/>
                      </a:lnTo>
                      <a:lnTo>
                        <a:pt x="3690" y="294"/>
                      </a:lnTo>
                      <a:lnTo>
                        <a:pt x="3678" y="300"/>
                      </a:lnTo>
                      <a:lnTo>
                        <a:pt x="3666" y="312"/>
                      </a:lnTo>
                      <a:lnTo>
                        <a:pt x="3666" y="318"/>
                      </a:lnTo>
                      <a:lnTo>
                        <a:pt x="3660" y="318"/>
                      </a:lnTo>
                      <a:lnTo>
                        <a:pt x="3648" y="324"/>
                      </a:lnTo>
                      <a:lnTo>
                        <a:pt x="3630" y="324"/>
                      </a:lnTo>
                      <a:lnTo>
                        <a:pt x="3618" y="336"/>
                      </a:lnTo>
                      <a:lnTo>
                        <a:pt x="3618" y="342"/>
                      </a:lnTo>
                      <a:lnTo>
                        <a:pt x="3384" y="342"/>
                      </a:lnTo>
                      <a:lnTo>
                        <a:pt x="3372" y="354"/>
                      </a:lnTo>
                      <a:lnTo>
                        <a:pt x="3360" y="360"/>
                      </a:lnTo>
                      <a:lnTo>
                        <a:pt x="3336" y="384"/>
                      </a:lnTo>
                      <a:lnTo>
                        <a:pt x="3324" y="390"/>
                      </a:lnTo>
                      <a:lnTo>
                        <a:pt x="3312" y="402"/>
                      </a:lnTo>
                      <a:lnTo>
                        <a:pt x="3282" y="402"/>
                      </a:lnTo>
                      <a:lnTo>
                        <a:pt x="3282" y="408"/>
                      </a:lnTo>
                      <a:lnTo>
                        <a:pt x="3276" y="408"/>
                      </a:lnTo>
                      <a:lnTo>
                        <a:pt x="3282" y="414"/>
                      </a:lnTo>
                      <a:lnTo>
                        <a:pt x="3282" y="420"/>
                      </a:lnTo>
                      <a:lnTo>
                        <a:pt x="3288" y="426"/>
                      </a:lnTo>
                      <a:lnTo>
                        <a:pt x="3282" y="432"/>
                      </a:lnTo>
                      <a:lnTo>
                        <a:pt x="3282" y="438"/>
                      </a:lnTo>
                      <a:lnTo>
                        <a:pt x="3276" y="444"/>
                      </a:lnTo>
                      <a:lnTo>
                        <a:pt x="3270" y="456"/>
                      </a:lnTo>
                      <a:lnTo>
                        <a:pt x="3264" y="462"/>
                      </a:lnTo>
                      <a:lnTo>
                        <a:pt x="3264" y="468"/>
                      </a:lnTo>
                      <a:lnTo>
                        <a:pt x="3246" y="468"/>
                      </a:lnTo>
                      <a:lnTo>
                        <a:pt x="3246" y="474"/>
                      </a:lnTo>
                      <a:lnTo>
                        <a:pt x="3240" y="474"/>
                      </a:lnTo>
                      <a:lnTo>
                        <a:pt x="3228" y="480"/>
                      </a:lnTo>
                      <a:lnTo>
                        <a:pt x="3204" y="480"/>
                      </a:lnTo>
                      <a:lnTo>
                        <a:pt x="3198" y="474"/>
                      </a:lnTo>
                      <a:lnTo>
                        <a:pt x="3186" y="486"/>
                      </a:lnTo>
                      <a:lnTo>
                        <a:pt x="3162" y="486"/>
                      </a:lnTo>
                      <a:lnTo>
                        <a:pt x="3150" y="480"/>
                      </a:lnTo>
                      <a:lnTo>
                        <a:pt x="3144" y="474"/>
                      </a:lnTo>
                      <a:lnTo>
                        <a:pt x="3114" y="474"/>
                      </a:lnTo>
                      <a:lnTo>
                        <a:pt x="3096" y="486"/>
                      </a:lnTo>
                      <a:lnTo>
                        <a:pt x="3078" y="492"/>
                      </a:lnTo>
                      <a:lnTo>
                        <a:pt x="3072" y="492"/>
                      </a:lnTo>
                      <a:lnTo>
                        <a:pt x="3072" y="516"/>
                      </a:lnTo>
                      <a:lnTo>
                        <a:pt x="3066" y="522"/>
                      </a:lnTo>
                      <a:lnTo>
                        <a:pt x="3078" y="522"/>
                      </a:lnTo>
                      <a:lnTo>
                        <a:pt x="3066" y="528"/>
                      </a:lnTo>
                      <a:lnTo>
                        <a:pt x="3036" y="546"/>
                      </a:lnTo>
                      <a:lnTo>
                        <a:pt x="3000" y="564"/>
                      </a:lnTo>
                      <a:lnTo>
                        <a:pt x="2964" y="576"/>
                      </a:lnTo>
                      <a:lnTo>
                        <a:pt x="2946" y="588"/>
                      </a:lnTo>
                      <a:lnTo>
                        <a:pt x="2934" y="594"/>
                      </a:lnTo>
                      <a:lnTo>
                        <a:pt x="2928" y="594"/>
                      </a:lnTo>
                      <a:lnTo>
                        <a:pt x="2856" y="618"/>
                      </a:lnTo>
                      <a:lnTo>
                        <a:pt x="2850" y="624"/>
                      </a:lnTo>
                      <a:lnTo>
                        <a:pt x="2838" y="624"/>
                      </a:lnTo>
                      <a:lnTo>
                        <a:pt x="2826" y="630"/>
                      </a:lnTo>
                      <a:lnTo>
                        <a:pt x="2808" y="630"/>
                      </a:lnTo>
                      <a:lnTo>
                        <a:pt x="2802" y="636"/>
                      </a:lnTo>
                      <a:lnTo>
                        <a:pt x="2778" y="636"/>
                      </a:lnTo>
                      <a:lnTo>
                        <a:pt x="2772" y="630"/>
                      </a:lnTo>
                      <a:lnTo>
                        <a:pt x="2772" y="624"/>
                      </a:lnTo>
                      <a:lnTo>
                        <a:pt x="2760" y="624"/>
                      </a:lnTo>
                      <a:lnTo>
                        <a:pt x="2748" y="618"/>
                      </a:lnTo>
                      <a:lnTo>
                        <a:pt x="2736" y="606"/>
                      </a:lnTo>
                      <a:lnTo>
                        <a:pt x="2742" y="606"/>
                      </a:lnTo>
                      <a:lnTo>
                        <a:pt x="2748" y="600"/>
                      </a:lnTo>
                      <a:lnTo>
                        <a:pt x="2772" y="588"/>
                      </a:lnTo>
                      <a:lnTo>
                        <a:pt x="2772" y="582"/>
                      </a:lnTo>
                      <a:lnTo>
                        <a:pt x="2796" y="558"/>
                      </a:lnTo>
                      <a:lnTo>
                        <a:pt x="2832" y="540"/>
                      </a:lnTo>
                      <a:lnTo>
                        <a:pt x="2838" y="540"/>
                      </a:lnTo>
                      <a:lnTo>
                        <a:pt x="2844" y="534"/>
                      </a:lnTo>
                      <a:lnTo>
                        <a:pt x="2844" y="510"/>
                      </a:lnTo>
                      <a:lnTo>
                        <a:pt x="2850" y="504"/>
                      </a:lnTo>
                      <a:lnTo>
                        <a:pt x="2856" y="492"/>
                      </a:lnTo>
                      <a:lnTo>
                        <a:pt x="2850" y="486"/>
                      </a:lnTo>
                      <a:lnTo>
                        <a:pt x="2850" y="480"/>
                      </a:lnTo>
                      <a:lnTo>
                        <a:pt x="2856" y="468"/>
                      </a:lnTo>
                      <a:lnTo>
                        <a:pt x="2856" y="444"/>
                      </a:lnTo>
                      <a:lnTo>
                        <a:pt x="2862" y="432"/>
                      </a:lnTo>
                      <a:lnTo>
                        <a:pt x="2862" y="426"/>
                      </a:lnTo>
                      <a:lnTo>
                        <a:pt x="2856" y="420"/>
                      </a:lnTo>
                      <a:lnTo>
                        <a:pt x="2850" y="420"/>
                      </a:lnTo>
                      <a:lnTo>
                        <a:pt x="2844" y="426"/>
                      </a:lnTo>
                      <a:lnTo>
                        <a:pt x="2832" y="426"/>
                      </a:lnTo>
                      <a:lnTo>
                        <a:pt x="2814" y="444"/>
                      </a:lnTo>
                      <a:lnTo>
                        <a:pt x="2802" y="450"/>
                      </a:lnTo>
                      <a:lnTo>
                        <a:pt x="2796" y="456"/>
                      </a:lnTo>
                      <a:lnTo>
                        <a:pt x="2778" y="456"/>
                      </a:lnTo>
                      <a:lnTo>
                        <a:pt x="2772" y="450"/>
                      </a:lnTo>
                      <a:lnTo>
                        <a:pt x="2778" y="444"/>
                      </a:lnTo>
                      <a:lnTo>
                        <a:pt x="2784" y="432"/>
                      </a:lnTo>
                      <a:lnTo>
                        <a:pt x="2808" y="420"/>
                      </a:lnTo>
                      <a:lnTo>
                        <a:pt x="2826" y="402"/>
                      </a:lnTo>
                      <a:lnTo>
                        <a:pt x="2850" y="390"/>
                      </a:lnTo>
                      <a:lnTo>
                        <a:pt x="2856" y="384"/>
                      </a:lnTo>
                      <a:lnTo>
                        <a:pt x="2856" y="366"/>
                      </a:lnTo>
                      <a:lnTo>
                        <a:pt x="2850" y="360"/>
                      </a:lnTo>
                      <a:lnTo>
                        <a:pt x="2850" y="348"/>
                      </a:lnTo>
                      <a:lnTo>
                        <a:pt x="2856" y="348"/>
                      </a:lnTo>
                      <a:lnTo>
                        <a:pt x="2862" y="342"/>
                      </a:lnTo>
                      <a:lnTo>
                        <a:pt x="2868" y="330"/>
                      </a:lnTo>
                      <a:lnTo>
                        <a:pt x="2868" y="318"/>
                      </a:lnTo>
                      <a:lnTo>
                        <a:pt x="2862" y="312"/>
                      </a:lnTo>
                      <a:lnTo>
                        <a:pt x="2850" y="312"/>
                      </a:lnTo>
                      <a:lnTo>
                        <a:pt x="2838" y="306"/>
                      </a:lnTo>
                      <a:lnTo>
                        <a:pt x="2832" y="306"/>
                      </a:lnTo>
                      <a:lnTo>
                        <a:pt x="2826" y="294"/>
                      </a:lnTo>
                      <a:lnTo>
                        <a:pt x="2820" y="288"/>
                      </a:lnTo>
                      <a:lnTo>
                        <a:pt x="2820" y="282"/>
                      </a:lnTo>
                      <a:lnTo>
                        <a:pt x="2814" y="288"/>
                      </a:lnTo>
                      <a:lnTo>
                        <a:pt x="2808" y="288"/>
                      </a:lnTo>
                      <a:lnTo>
                        <a:pt x="2808" y="264"/>
                      </a:lnTo>
                      <a:lnTo>
                        <a:pt x="2844" y="270"/>
                      </a:lnTo>
                      <a:lnTo>
                        <a:pt x="2850" y="264"/>
                      </a:lnTo>
                      <a:lnTo>
                        <a:pt x="2850" y="246"/>
                      </a:lnTo>
                      <a:lnTo>
                        <a:pt x="2862" y="246"/>
                      </a:lnTo>
                      <a:lnTo>
                        <a:pt x="2868" y="228"/>
                      </a:lnTo>
                      <a:lnTo>
                        <a:pt x="2850" y="228"/>
                      </a:lnTo>
                      <a:lnTo>
                        <a:pt x="2844" y="240"/>
                      </a:lnTo>
                      <a:lnTo>
                        <a:pt x="2820" y="228"/>
                      </a:lnTo>
                      <a:lnTo>
                        <a:pt x="2820" y="210"/>
                      </a:lnTo>
                      <a:lnTo>
                        <a:pt x="2802" y="210"/>
                      </a:lnTo>
                      <a:lnTo>
                        <a:pt x="2790" y="216"/>
                      </a:lnTo>
                      <a:lnTo>
                        <a:pt x="2736" y="216"/>
                      </a:lnTo>
                      <a:lnTo>
                        <a:pt x="2724" y="222"/>
                      </a:lnTo>
                      <a:lnTo>
                        <a:pt x="2712" y="222"/>
                      </a:lnTo>
                      <a:lnTo>
                        <a:pt x="2700" y="228"/>
                      </a:lnTo>
                      <a:lnTo>
                        <a:pt x="2682" y="228"/>
                      </a:lnTo>
                      <a:lnTo>
                        <a:pt x="2658" y="216"/>
                      </a:lnTo>
                      <a:lnTo>
                        <a:pt x="2658" y="210"/>
                      </a:lnTo>
                      <a:lnTo>
                        <a:pt x="2652" y="204"/>
                      </a:lnTo>
                      <a:lnTo>
                        <a:pt x="2652" y="198"/>
                      </a:lnTo>
                      <a:lnTo>
                        <a:pt x="2646" y="192"/>
                      </a:lnTo>
                      <a:lnTo>
                        <a:pt x="2628" y="192"/>
                      </a:lnTo>
                      <a:lnTo>
                        <a:pt x="2622" y="198"/>
                      </a:lnTo>
                      <a:lnTo>
                        <a:pt x="2616" y="198"/>
                      </a:lnTo>
                      <a:lnTo>
                        <a:pt x="2610" y="192"/>
                      </a:lnTo>
                      <a:lnTo>
                        <a:pt x="2670" y="162"/>
                      </a:lnTo>
                      <a:lnTo>
                        <a:pt x="2658" y="150"/>
                      </a:lnTo>
                      <a:lnTo>
                        <a:pt x="2640" y="150"/>
                      </a:lnTo>
                      <a:lnTo>
                        <a:pt x="2628" y="162"/>
                      </a:lnTo>
                      <a:lnTo>
                        <a:pt x="2616" y="168"/>
                      </a:lnTo>
                      <a:lnTo>
                        <a:pt x="2610" y="174"/>
                      </a:lnTo>
                      <a:lnTo>
                        <a:pt x="2604" y="174"/>
                      </a:lnTo>
                      <a:lnTo>
                        <a:pt x="2580" y="186"/>
                      </a:lnTo>
                      <a:lnTo>
                        <a:pt x="2562" y="192"/>
                      </a:lnTo>
                      <a:lnTo>
                        <a:pt x="2538" y="204"/>
                      </a:lnTo>
                      <a:lnTo>
                        <a:pt x="2508" y="204"/>
                      </a:lnTo>
                      <a:lnTo>
                        <a:pt x="2496" y="216"/>
                      </a:lnTo>
                      <a:lnTo>
                        <a:pt x="2448" y="216"/>
                      </a:lnTo>
                      <a:lnTo>
                        <a:pt x="2448" y="210"/>
                      </a:lnTo>
                      <a:lnTo>
                        <a:pt x="2454" y="204"/>
                      </a:lnTo>
                      <a:lnTo>
                        <a:pt x="2460" y="204"/>
                      </a:lnTo>
                      <a:lnTo>
                        <a:pt x="2472" y="192"/>
                      </a:lnTo>
                      <a:lnTo>
                        <a:pt x="2460" y="192"/>
                      </a:lnTo>
                      <a:lnTo>
                        <a:pt x="2448" y="198"/>
                      </a:lnTo>
                      <a:lnTo>
                        <a:pt x="2412" y="198"/>
                      </a:lnTo>
                      <a:lnTo>
                        <a:pt x="2400" y="204"/>
                      </a:lnTo>
                      <a:lnTo>
                        <a:pt x="2394" y="210"/>
                      </a:lnTo>
                      <a:lnTo>
                        <a:pt x="2370" y="210"/>
                      </a:lnTo>
                      <a:lnTo>
                        <a:pt x="2370" y="198"/>
                      </a:lnTo>
                      <a:lnTo>
                        <a:pt x="2400" y="180"/>
                      </a:lnTo>
                      <a:lnTo>
                        <a:pt x="2442" y="168"/>
                      </a:lnTo>
                      <a:lnTo>
                        <a:pt x="2502" y="138"/>
                      </a:lnTo>
                      <a:lnTo>
                        <a:pt x="2520" y="126"/>
                      </a:lnTo>
                      <a:lnTo>
                        <a:pt x="2544" y="120"/>
                      </a:lnTo>
                      <a:lnTo>
                        <a:pt x="2574" y="114"/>
                      </a:lnTo>
                      <a:lnTo>
                        <a:pt x="2580" y="114"/>
                      </a:lnTo>
                      <a:lnTo>
                        <a:pt x="2592" y="108"/>
                      </a:lnTo>
                      <a:lnTo>
                        <a:pt x="2574" y="108"/>
                      </a:lnTo>
                      <a:lnTo>
                        <a:pt x="2562" y="102"/>
                      </a:lnTo>
                      <a:lnTo>
                        <a:pt x="2556" y="102"/>
                      </a:lnTo>
                      <a:lnTo>
                        <a:pt x="2556" y="96"/>
                      </a:lnTo>
                      <a:lnTo>
                        <a:pt x="2508" y="102"/>
                      </a:lnTo>
                      <a:lnTo>
                        <a:pt x="2508" y="84"/>
                      </a:lnTo>
                      <a:lnTo>
                        <a:pt x="2502" y="90"/>
                      </a:lnTo>
                      <a:lnTo>
                        <a:pt x="2490" y="96"/>
                      </a:lnTo>
                      <a:lnTo>
                        <a:pt x="2478" y="108"/>
                      </a:lnTo>
                      <a:lnTo>
                        <a:pt x="2466" y="108"/>
                      </a:lnTo>
                      <a:lnTo>
                        <a:pt x="2448" y="90"/>
                      </a:lnTo>
                      <a:lnTo>
                        <a:pt x="2418" y="90"/>
                      </a:lnTo>
                      <a:lnTo>
                        <a:pt x="2412" y="84"/>
                      </a:lnTo>
                      <a:lnTo>
                        <a:pt x="2412" y="78"/>
                      </a:lnTo>
                      <a:lnTo>
                        <a:pt x="2400" y="66"/>
                      </a:lnTo>
                      <a:lnTo>
                        <a:pt x="2388" y="60"/>
                      </a:lnTo>
                      <a:lnTo>
                        <a:pt x="2376" y="60"/>
                      </a:lnTo>
                      <a:lnTo>
                        <a:pt x="2364" y="72"/>
                      </a:lnTo>
                      <a:lnTo>
                        <a:pt x="2364" y="78"/>
                      </a:lnTo>
                      <a:lnTo>
                        <a:pt x="2352" y="78"/>
                      </a:lnTo>
                      <a:lnTo>
                        <a:pt x="2334" y="60"/>
                      </a:lnTo>
                      <a:lnTo>
                        <a:pt x="2322" y="60"/>
                      </a:lnTo>
                      <a:lnTo>
                        <a:pt x="2304" y="54"/>
                      </a:lnTo>
                      <a:lnTo>
                        <a:pt x="2292" y="48"/>
                      </a:lnTo>
                      <a:lnTo>
                        <a:pt x="2292" y="36"/>
                      </a:lnTo>
                      <a:lnTo>
                        <a:pt x="2298" y="24"/>
                      </a:lnTo>
                      <a:lnTo>
                        <a:pt x="2310" y="12"/>
                      </a:lnTo>
                      <a:lnTo>
                        <a:pt x="2298" y="0"/>
                      </a:lnTo>
                      <a:lnTo>
                        <a:pt x="2286" y="6"/>
                      </a:lnTo>
                      <a:lnTo>
                        <a:pt x="2280" y="12"/>
                      </a:lnTo>
                      <a:lnTo>
                        <a:pt x="2274" y="24"/>
                      </a:lnTo>
                      <a:lnTo>
                        <a:pt x="2274" y="30"/>
                      </a:lnTo>
                      <a:lnTo>
                        <a:pt x="2268" y="42"/>
                      </a:lnTo>
                      <a:lnTo>
                        <a:pt x="558" y="42"/>
                      </a:lnTo>
                      <a:lnTo>
                        <a:pt x="552" y="54"/>
                      </a:lnTo>
                      <a:lnTo>
                        <a:pt x="552" y="60"/>
                      </a:lnTo>
                      <a:lnTo>
                        <a:pt x="546" y="60"/>
                      </a:lnTo>
                      <a:lnTo>
                        <a:pt x="546" y="72"/>
                      </a:lnTo>
                      <a:lnTo>
                        <a:pt x="540" y="84"/>
                      </a:lnTo>
                      <a:lnTo>
                        <a:pt x="540" y="108"/>
                      </a:lnTo>
                      <a:lnTo>
                        <a:pt x="510" y="126"/>
                      </a:lnTo>
                      <a:lnTo>
                        <a:pt x="504" y="144"/>
                      </a:lnTo>
                      <a:lnTo>
                        <a:pt x="486" y="168"/>
                      </a:lnTo>
                      <a:lnTo>
                        <a:pt x="438" y="180"/>
                      </a:lnTo>
                      <a:lnTo>
                        <a:pt x="474" y="162"/>
                      </a:lnTo>
                      <a:lnTo>
                        <a:pt x="450" y="162"/>
                      </a:lnTo>
                      <a:lnTo>
                        <a:pt x="456" y="156"/>
                      </a:lnTo>
                      <a:lnTo>
                        <a:pt x="462" y="144"/>
                      </a:lnTo>
                      <a:lnTo>
                        <a:pt x="486" y="120"/>
                      </a:lnTo>
                      <a:lnTo>
                        <a:pt x="492" y="120"/>
                      </a:lnTo>
                      <a:lnTo>
                        <a:pt x="504" y="108"/>
                      </a:lnTo>
                      <a:lnTo>
                        <a:pt x="504" y="102"/>
                      </a:lnTo>
                      <a:lnTo>
                        <a:pt x="456" y="102"/>
                      </a:lnTo>
                      <a:lnTo>
                        <a:pt x="450" y="96"/>
                      </a:lnTo>
                      <a:lnTo>
                        <a:pt x="438" y="90"/>
                      </a:lnTo>
                      <a:lnTo>
                        <a:pt x="432" y="84"/>
                      </a:lnTo>
                      <a:lnTo>
                        <a:pt x="420" y="78"/>
                      </a:lnTo>
                      <a:lnTo>
                        <a:pt x="402" y="78"/>
                      </a:lnTo>
                      <a:lnTo>
                        <a:pt x="390" y="90"/>
                      </a:lnTo>
                      <a:lnTo>
                        <a:pt x="384" y="102"/>
                      </a:lnTo>
                      <a:lnTo>
                        <a:pt x="384" y="150"/>
                      </a:lnTo>
                      <a:lnTo>
                        <a:pt x="378" y="156"/>
                      </a:lnTo>
                      <a:lnTo>
                        <a:pt x="378" y="162"/>
                      </a:lnTo>
                      <a:lnTo>
                        <a:pt x="360" y="180"/>
                      </a:lnTo>
                      <a:lnTo>
                        <a:pt x="390" y="186"/>
                      </a:lnTo>
                      <a:lnTo>
                        <a:pt x="360" y="192"/>
                      </a:lnTo>
                      <a:lnTo>
                        <a:pt x="366" y="210"/>
                      </a:lnTo>
                      <a:lnTo>
                        <a:pt x="348" y="234"/>
                      </a:lnTo>
                      <a:lnTo>
                        <a:pt x="354" y="234"/>
                      </a:lnTo>
                      <a:lnTo>
                        <a:pt x="366" y="246"/>
                      </a:lnTo>
                      <a:lnTo>
                        <a:pt x="372" y="246"/>
                      </a:lnTo>
                      <a:lnTo>
                        <a:pt x="378" y="252"/>
                      </a:lnTo>
                      <a:lnTo>
                        <a:pt x="330" y="252"/>
                      </a:lnTo>
                      <a:lnTo>
                        <a:pt x="324" y="264"/>
                      </a:lnTo>
                      <a:lnTo>
                        <a:pt x="306" y="282"/>
                      </a:lnTo>
                      <a:lnTo>
                        <a:pt x="270" y="342"/>
                      </a:lnTo>
                      <a:lnTo>
                        <a:pt x="258" y="360"/>
                      </a:lnTo>
                      <a:lnTo>
                        <a:pt x="216" y="402"/>
                      </a:lnTo>
                      <a:lnTo>
                        <a:pt x="192" y="432"/>
                      </a:lnTo>
                      <a:lnTo>
                        <a:pt x="174" y="456"/>
                      </a:lnTo>
                      <a:lnTo>
                        <a:pt x="168" y="462"/>
                      </a:lnTo>
                      <a:lnTo>
                        <a:pt x="174" y="480"/>
                      </a:lnTo>
                      <a:lnTo>
                        <a:pt x="168" y="480"/>
                      </a:lnTo>
                      <a:lnTo>
                        <a:pt x="162" y="486"/>
                      </a:lnTo>
                      <a:lnTo>
                        <a:pt x="150" y="492"/>
                      </a:lnTo>
                      <a:lnTo>
                        <a:pt x="126" y="516"/>
                      </a:lnTo>
                      <a:lnTo>
                        <a:pt x="120" y="534"/>
                      </a:lnTo>
                      <a:lnTo>
                        <a:pt x="120" y="546"/>
                      </a:lnTo>
                      <a:lnTo>
                        <a:pt x="102" y="570"/>
                      </a:lnTo>
                      <a:lnTo>
                        <a:pt x="96" y="618"/>
                      </a:lnTo>
                      <a:lnTo>
                        <a:pt x="90" y="630"/>
                      </a:lnTo>
                      <a:lnTo>
                        <a:pt x="72" y="648"/>
                      </a:lnTo>
                      <a:lnTo>
                        <a:pt x="60" y="672"/>
                      </a:lnTo>
                      <a:lnTo>
                        <a:pt x="54" y="678"/>
                      </a:lnTo>
                      <a:lnTo>
                        <a:pt x="42" y="684"/>
                      </a:lnTo>
                      <a:lnTo>
                        <a:pt x="18" y="708"/>
                      </a:lnTo>
                      <a:lnTo>
                        <a:pt x="12" y="720"/>
                      </a:lnTo>
                      <a:lnTo>
                        <a:pt x="18" y="732"/>
                      </a:lnTo>
                      <a:lnTo>
                        <a:pt x="36" y="750"/>
                      </a:lnTo>
                      <a:lnTo>
                        <a:pt x="36" y="762"/>
                      </a:lnTo>
                      <a:lnTo>
                        <a:pt x="30" y="774"/>
                      </a:lnTo>
                      <a:lnTo>
                        <a:pt x="18" y="786"/>
                      </a:lnTo>
                      <a:lnTo>
                        <a:pt x="12" y="798"/>
                      </a:lnTo>
                      <a:lnTo>
                        <a:pt x="6" y="816"/>
                      </a:lnTo>
                      <a:lnTo>
                        <a:pt x="0" y="828"/>
                      </a:lnTo>
                      <a:lnTo>
                        <a:pt x="0" y="840"/>
                      </a:lnTo>
                      <a:lnTo>
                        <a:pt x="6" y="852"/>
                      </a:lnTo>
                      <a:lnTo>
                        <a:pt x="12" y="870"/>
                      </a:lnTo>
                      <a:lnTo>
                        <a:pt x="12" y="882"/>
                      </a:lnTo>
                      <a:lnTo>
                        <a:pt x="18" y="900"/>
                      </a:lnTo>
                      <a:lnTo>
                        <a:pt x="24" y="906"/>
                      </a:lnTo>
                      <a:lnTo>
                        <a:pt x="24" y="912"/>
                      </a:lnTo>
                      <a:lnTo>
                        <a:pt x="48" y="894"/>
                      </a:lnTo>
                      <a:lnTo>
                        <a:pt x="114" y="900"/>
                      </a:lnTo>
                      <a:lnTo>
                        <a:pt x="78" y="900"/>
                      </a:lnTo>
                      <a:lnTo>
                        <a:pt x="66" y="906"/>
                      </a:lnTo>
                      <a:lnTo>
                        <a:pt x="60" y="906"/>
                      </a:lnTo>
                      <a:lnTo>
                        <a:pt x="48" y="918"/>
                      </a:lnTo>
                      <a:lnTo>
                        <a:pt x="48" y="942"/>
                      </a:lnTo>
                      <a:lnTo>
                        <a:pt x="30" y="924"/>
                      </a:lnTo>
                      <a:lnTo>
                        <a:pt x="24" y="924"/>
                      </a:lnTo>
                      <a:lnTo>
                        <a:pt x="18" y="936"/>
                      </a:lnTo>
                      <a:lnTo>
                        <a:pt x="18" y="942"/>
                      </a:lnTo>
                      <a:lnTo>
                        <a:pt x="12" y="960"/>
                      </a:lnTo>
                      <a:lnTo>
                        <a:pt x="12" y="978"/>
                      </a:lnTo>
                      <a:lnTo>
                        <a:pt x="18" y="984"/>
                      </a:lnTo>
                      <a:lnTo>
                        <a:pt x="30" y="990"/>
                      </a:lnTo>
                      <a:lnTo>
                        <a:pt x="42" y="990"/>
                      </a:lnTo>
                      <a:lnTo>
                        <a:pt x="42" y="1002"/>
                      </a:lnTo>
                      <a:lnTo>
                        <a:pt x="36" y="1008"/>
                      </a:lnTo>
                      <a:lnTo>
                        <a:pt x="36" y="1014"/>
                      </a:lnTo>
                      <a:lnTo>
                        <a:pt x="18" y="1032"/>
                      </a:lnTo>
                      <a:lnTo>
                        <a:pt x="12" y="1044"/>
                      </a:lnTo>
                      <a:lnTo>
                        <a:pt x="12" y="1056"/>
                      </a:lnTo>
                      <a:lnTo>
                        <a:pt x="18" y="1068"/>
                      </a:lnTo>
                      <a:lnTo>
                        <a:pt x="24" y="1074"/>
                      </a:lnTo>
                      <a:lnTo>
                        <a:pt x="36" y="1098"/>
                      </a:lnTo>
                      <a:lnTo>
                        <a:pt x="42" y="1104"/>
                      </a:lnTo>
                      <a:lnTo>
                        <a:pt x="54" y="1128"/>
                      </a:lnTo>
                      <a:lnTo>
                        <a:pt x="60" y="1134"/>
                      </a:lnTo>
                      <a:lnTo>
                        <a:pt x="60" y="1146"/>
                      </a:lnTo>
                      <a:lnTo>
                        <a:pt x="54" y="1152"/>
                      </a:lnTo>
                      <a:lnTo>
                        <a:pt x="42" y="1176"/>
                      </a:lnTo>
                      <a:lnTo>
                        <a:pt x="36" y="1182"/>
                      </a:lnTo>
                      <a:lnTo>
                        <a:pt x="36" y="1188"/>
                      </a:lnTo>
                      <a:lnTo>
                        <a:pt x="42" y="1194"/>
                      </a:lnTo>
                      <a:lnTo>
                        <a:pt x="54" y="1194"/>
                      </a:lnTo>
                      <a:lnTo>
                        <a:pt x="72" y="1200"/>
                      </a:lnTo>
                      <a:lnTo>
                        <a:pt x="102" y="1200"/>
                      </a:lnTo>
                      <a:lnTo>
                        <a:pt x="102" y="1212"/>
                      </a:lnTo>
                      <a:lnTo>
                        <a:pt x="120" y="1230"/>
                      </a:lnTo>
                      <a:lnTo>
                        <a:pt x="132" y="1230"/>
                      </a:lnTo>
                      <a:lnTo>
                        <a:pt x="144" y="1224"/>
                      </a:lnTo>
                      <a:lnTo>
                        <a:pt x="150" y="1224"/>
                      </a:lnTo>
                      <a:lnTo>
                        <a:pt x="162" y="1218"/>
                      </a:lnTo>
                      <a:lnTo>
                        <a:pt x="168" y="1248"/>
                      </a:lnTo>
                      <a:lnTo>
                        <a:pt x="174" y="1248"/>
                      </a:lnTo>
                      <a:lnTo>
                        <a:pt x="180" y="1254"/>
                      </a:lnTo>
                      <a:lnTo>
                        <a:pt x="204" y="1266"/>
                      </a:lnTo>
                      <a:lnTo>
                        <a:pt x="216" y="1290"/>
                      </a:lnTo>
                      <a:lnTo>
                        <a:pt x="216" y="1314"/>
                      </a:lnTo>
                      <a:lnTo>
                        <a:pt x="210" y="1338"/>
                      </a:lnTo>
                      <a:lnTo>
                        <a:pt x="216" y="1344"/>
                      </a:lnTo>
                      <a:lnTo>
                        <a:pt x="360" y="1338"/>
                      </a:lnTo>
                      <a:lnTo>
                        <a:pt x="354" y="1344"/>
                      </a:lnTo>
                      <a:lnTo>
                        <a:pt x="354" y="1350"/>
                      </a:lnTo>
                      <a:lnTo>
                        <a:pt x="360" y="1350"/>
                      </a:lnTo>
                      <a:lnTo>
                        <a:pt x="570" y="1446"/>
                      </a:lnTo>
                      <a:lnTo>
                        <a:pt x="774" y="1446"/>
                      </a:lnTo>
                      <a:lnTo>
                        <a:pt x="774" y="1440"/>
                      </a:lnTo>
                      <a:lnTo>
                        <a:pt x="780" y="1428"/>
                      </a:lnTo>
                      <a:lnTo>
                        <a:pt x="780" y="1410"/>
                      </a:lnTo>
                      <a:lnTo>
                        <a:pt x="786" y="1404"/>
                      </a:lnTo>
                      <a:lnTo>
                        <a:pt x="900" y="1404"/>
                      </a:lnTo>
                      <a:lnTo>
                        <a:pt x="912" y="1416"/>
                      </a:lnTo>
                      <a:lnTo>
                        <a:pt x="912" y="1440"/>
                      </a:lnTo>
                      <a:lnTo>
                        <a:pt x="942" y="1452"/>
                      </a:lnTo>
                      <a:lnTo>
                        <a:pt x="948" y="1482"/>
                      </a:lnTo>
                      <a:lnTo>
                        <a:pt x="960" y="1482"/>
                      </a:lnTo>
                      <a:lnTo>
                        <a:pt x="972" y="1488"/>
                      </a:lnTo>
                      <a:lnTo>
                        <a:pt x="984" y="1500"/>
                      </a:lnTo>
                      <a:lnTo>
                        <a:pt x="990" y="1512"/>
                      </a:lnTo>
                      <a:lnTo>
                        <a:pt x="990" y="1554"/>
                      </a:lnTo>
                      <a:lnTo>
                        <a:pt x="984" y="1566"/>
                      </a:lnTo>
                      <a:lnTo>
                        <a:pt x="984" y="1578"/>
                      </a:lnTo>
                      <a:lnTo>
                        <a:pt x="1014" y="1608"/>
                      </a:lnTo>
                      <a:lnTo>
                        <a:pt x="1026" y="1614"/>
                      </a:lnTo>
                      <a:lnTo>
                        <a:pt x="1044" y="1626"/>
                      </a:lnTo>
                      <a:lnTo>
                        <a:pt x="1056" y="1626"/>
                      </a:lnTo>
                      <a:lnTo>
                        <a:pt x="1080" y="1614"/>
                      </a:lnTo>
                      <a:lnTo>
                        <a:pt x="1092" y="1602"/>
                      </a:lnTo>
                      <a:lnTo>
                        <a:pt x="1104" y="1578"/>
                      </a:lnTo>
                      <a:lnTo>
                        <a:pt x="1116" y="1566"/>
                      </a:lnTo>
                      <a:lnTo>
                        <a:pt x="1134" y="1566"/>
                      </a:lnTo>
                      <a:lnTo>
                        <a:pt x="1134" y="1560"/>
                      </a:lnTo>
                      <a:lnTo>
                        <a:pt x="1152" y="1566"/>
                      </a:lnTo>
                      <a:lnTo>
                        <a:pt x="1194" y="1566"/>
                      </a:lnTo>
                      <a:lnTo>
                        <a:pt x="1200" y="1578"/>
                      </a:lnTo>
                      <a:lnTo>
                        <a:pt x="1206" y="1584"/>
                      </a:lnTo>
                      <a:lnTo>
                        <a:pt x="1212" y="1596"/>
                      </a:lnTo>
                      <a:lnTo>
                        <a:pt x="1224" y="1608"/>
                      </a:lnTo>
                      <a:lnTo>
                        <a:pt x="1230" y="1620"/>
                      </a:lnTo>
                      <a:lnTo>
                        <a:pt x="1242" y="1632"/>
                      </a:lnTo>
                      <a:lnTo>
                        <a:pt x="1242" y="1656"/>
                      </a:lnTo>
                      <a:lnTo>
                        <a:pt x="1236" y="1668"/>
                      </a:lnTo>
                      <a:lnTo>
                        <a:pt x="1236" y="1680"/>
                      </a:lnTo>
                      <a:lnTo>
                        <a:pt x="1242" y="1692"/>
                      </a:lnTo>
                      <a:lnTo>
                        <a:pt x="1254" y="1698"/>
                      </a:lnTo>
                      <a:lnTo>
                        <a:pt x="1254" y="1722"/>
                      </a:lnTo>
                      <a:lnTo>
                        <a:pt x="1260" y="1728"/>
                      </a:lnTo>
                      <a:lnTo>
                        <a:pt x="1272" y="1734"/>
                      </a:lnTo>
                      <a:lnTo>
                        <a:pt x="1284" y="1746"/>
                      </a:lnTo>
                      <a:lnTo>
                        <a:pt x="1284" y="1752"/>
                      </a:lnTo>
                      <a:lnTo>
                        <a:pt x="1278" y="1758"/>
                      </a:lnTo>
                      <a:lnTo>
                        <a:pt x="1272" y="1758"/>
                      </a:lnTo>
                      <a:lnTo>
                        <a:pt x="1272" y="1794"/>
                      </a:lnTo>
                      <a:lnTo>
                        <a:pt x="1284" y="1806"/>
                      </a:lnTo>
                      <a:lnTo>
                        <a:pt x="1284" y="1836"/>
                      </a:lnTo>
                      <a:lnTo>
                        <a:pt x="1296" y="1848"/>
                      </a:lnTo>
                      <a:lnTo>
                        <a:pt x="1314" y="1854"/>
                      </a:lnTo>
                      <a:lnTo>
                        <a:pt x="1326" y="1854"/>
                      </a:lnTo>
                      <a:lnTo>
                        <a:pt x="1338" y="1866"/>
                      </a:lnTo>
                      <a:lnTo>
                        <a:pt x="1380" y="1866"/>
                      </a:lnTo>
                      <a:lnTo>
                        <a:pt x="1380" y="1872"/>
                      </a:lnTo>
                      <a:lnTo>
                        <a:pt x="1386" y="1884"/>
                      </a:lnTo>
                      <a:lnTo>
                        <a:pt x="1410" y="1884"/>
                      </a:lnTo>
                      <a:lnTo>
                        <a:pt x="1410" y="1878"/>
                      </a:lnTo>
                      <a:lnTo>
                        <a:pt x="1398" y="1806"/>
                      </a:lnTo>
                      <a:lnTo>
                        <a:pt x="1416" y="1788"/>
                      </a:lnTo>
                      <a:lnTo>
                        <a:pt x="1398" y="1776"/>
                      </a:lnTo>
                      <a:lnTo>
                        <a:pt x="1398" y="1758"/>
                      </a:lnTo>
                      <a:lnTo>
                        <a:pt x="1404" y="1764"/>
                      </a:lnTo>
                      <a:lnTo>
                        <a:pt x="1422" y="1764"/>
                      </a:lnTo>
                      <a:lnTo>
                        <a:pt x="1428" y="1758"/>
                      </a:lnTo>
                      <a:lnTo>
                        <a:pt x="1428" y="1728"/>
                      </a:lnTo>
                      <a:lnTo>
                        <a:pt x="1452" y="1722"/>
                      </a:lnTo>
                      <a:lnTo>
                        <a:pt x="1458" y="1698"/>
                      </a:lnTo>
                      <a:lnTo>
                        <a:pt x="1476" y="1704"/>
                      </a:lnTo>
                      <a:lnTo>
                        <a:pt x="1494" y="1692"/>
                      </a:lnTo>
                      <a:lnTo>
                        <a:pt x="1488" y="1668"/>
                      </a:lnTo>
                      <a:lnTo>
                        <a:pt x="1500" y="1680"/>
                      </a:lnTo>
                      <a:lnTo>
                        <a:pt x="1500" y="1668"/>
                      </a:lnTo>
                      <a:lnTo>
                        <a:pt x="1506" y="1656"/>
                      </a:lnTo>
                      <a:lnTo>
                        <a:pt x="1512" y="1650"/>
                      </a:lnTo>
                      <a:lnTo>
                        <a:pt x="1518" y="1650"/>
                      </a:lnTo>
                      <a:lnTo>
                        <a:pt x="1524" y="1656"/>
                      </a:lnTo>
                      <a:lnTo>
                        <a:pt x="1524" y="1668"/>
                      </a:lnTo>
                      <a:lnTo>
                        <a:pt x="1542" y="1668"/>
                      </a:lnTo>
                      <a:lnTo>
                        <a:pt x="1554" y="1662"/>
                      </a:lnTo>
                      <a:lnTo>
                        <a:pt x="1572" y="1656"/>
                      </a:lnTo>
                      <a:lnTo>
                        <a:pt x="1596" y="1644"/>
                      </a:lnTo>
                      <a:lnTo>
                        <a:pt x="1602" y="1638"/>
                      </a:lnTo>
                      <a:lnTo>
                        <a:pt x="1608" y="1626"/>
                      </a:lnTo>
                      <a:lnTo>
                        <a:pt x="1620" y="1620"/>
                      </a:lnTo>
                      <a:lnTo>
                        <a:pt x="1626" y="1608"/>
                      </a:lnTo>
                      <a:lnTo>
                        <a:pt x="1632" y="1602"/>
                      </a:lnTo>
                      <a:lnTo>
                        <a:pt x="1632" y="1590"/>
                      </a:lnTo>
                      <a:lnTo>
                        <a:pt x="1626" y="1584"/>
                      </a:lnTo>
                      <a:lnTo>
                        <a:pt x="1626" y="1566"/>
                      </a:lnTo>
                      <a:lnTo>
                        <a:pt x="1632" y="1566"/>
                      </a:lnTo>
                      <a:lnTo>
                        <a:pt x="1656" y="1578"/>
                      </a:lnTo>
                      <a:lnTo>
                        <a:pt x="1662" y="1584"/>
                      </a:lnTo>
                      <a:lnTo>
                        <a:pt x="1674" y="1590"/>
                      </a:lnTo>
                      <a:lnTo>
                        <a:pt x="1686" y="1590"/>
                      </a:lnTo>
                      <a:lnTo>
                        <a:pt x="1692" y="1584"/>
                      </a:lnTo>
                      <a:lnTo>
                        <a:pt x="1710" y="1548"/>
                      </a:lnTo>
                      <a:lnTo>
                        <a:pt x="1716" y="1548"/>
                      </a:lnTo>
                      <a:lnTo>
                        <a:pt x="1734" y="1566"/>
                      </a:lnTo>
                      <a:lnTo>
                        <a:pt x="1746" y="1566"/>
                      </a:lnTo>
                      <a:lnTo>
                        <a:pt x="1752" y="1560"/>
                      </a:lnTo>
                      <a:lnTo>
                        <a:pt x="1758" y="1548"/>
                      </a:lnTo>
                      <a:lnTo>
                        <a:pt x="1764" y="1542"/>
                      </a:lnTo>
                      <a:lnTo>
                        <a:pt x="1770" y="1554"/>
                      </a:lnTo>
                      <a:lnTo>
                        <a:pt x="1776" y="1560"/>
                      </a:lnTo>
                      <a:lnTo>
                        <a:pt x="1782" y="1572"/>
                      </a:lnTo>
                      <a:lnTo>
                        <a:pt x="1794" y="1578"/>
                      </a:lnTo>
                      <a:lnTo>
                        <a:pt x="1800" y="1584"/>
                      </a:lnTo>
                      <a:lnTo>
                        <a:pt x="1818" y="1584"/>
                      </a:lnTo>
                      <a:lnTo>
                        <a:pt x="1824" y="1578"/>
                      </a:lnTo>
                      <a:lnTo>
                        <a:pt x="1830" y="1566"/>
                      </a:lnTo>
                      <a:lnTo>
                        <a:pt x="1842" y="1554"/>
                      </a:lnTo>
                      <a:lnTo>
                        <a:pt x="1848" y="1554"/>
                      </a:lnTo>
                      <a:lnTo>
                        <a:pt x="1860" y="1560"/>
                      </a:lnTo>
                      <a:lnTo>
                        <a:pt x="1872" y="1572"/>
                      </a:lnTo>
                      <a:lnTo>
                        <a:pt x="1872" y="1584"/>
                      </a:lnTo>
                      <a:lnTo>
                        <a:pt x="1878" y="1596"/>
                      </a:lnTo>
                      <a:lnTo>
                        <a:pt x="1878" y="1614"/>
                      </a:lnTo>
                      <a:lnTo>
                        <a:pt x="1914" y="1614"/>
                      </a:lnTo>
                      <a:lnTo>
                        <a:pt x="1920" y="1620"/>
                      </a:lnTo>
                      <a:lnTo>
                        <a:pt x="1926" y="1620"/>
                      </a:lnTo>
                      <a:lnTo>
                        <a:pt x="1926" y="1608"/>
                      </a:lnTo>
                      <a:lnTo>
                        <a:pt x="1932" y="1602"/>
                      </a:lnTo>
                      <a:lnTo>
                        <a:pt x="1932" y="1608"/>
                      </a:lnTo>
                      <a:lnTo>
                        <a:pt x="1956" y="1632"/>
                      </a:lnTo>
                      <a:lnTo>
                        <a:pt x="1962" y="1626"/>
                      </a:lnTo>
                      <a:lnTo>
                        <a:pt x="1968" y="1614"/>
                      </a:lnTo>
                      <a:lnTo>
                        <a:pt x="1968" y="1596"/>
                      </a:lnTo>
                      <a:lnTo>
                        <a:pt x="1962" y="1584"/>
                      </a:lnTo>
                      <a:lnTo>
                        <a:pt x="1980" y="1590"/>
                      </a:lnTo>
                      <a:lnTo>
                        <a:pt x="1992" y="1608"/>
                      </a:lnTo>
                      <a:lnTo>
                        <a:pt x="2004" y="1614"/>
                      </a:lnTo>
                      <a:lnTo>
                        <a:pt x="2004" y="1626"/>
                      </a:lnTo>
                      <a:lnTo>
                        <a:pt x="2010" y="1626"/>
                      </a:lnTo>
                      <a:lnTo>
                        <a:pt x="2016" y="1632"/>
                      </a:lnTo>
                      <a:lnTo>
                        <a:pt x="2028" y="1632"/>
                      </a:lnTo>
                      <a:lnTo>
                        <a:pt x="2034" y="1626"/>
                      </a:lnTo>
                      <a:lnTo>
                        <a:pt x="2034" y="1620"/>
                      </a:lnTo>
                      <a:lnTo>
                        <a:pt x="2028" y="1608"/>
                      </a:lnTo>
                      <a:lnTo>
                        <a:pt x="2022" y="1602"/>
                      </a:lnTo>
                      <a:lnTo>
                        <a:pt x="2010" y="1596"/>
                      </a:lnTo>
                      <a:lnTo>
                        <a:pt x="2004" y="1590"/>
                      </a:lnTo>
                      <a:lnTo>
                        <a:pt x="1998" y="1578"/>
                      </a:lnTo>
                      <a:lnTo>
                        <a:pt x="2010" y="1578"/>
                      </a:lnTo>
                      <a:lnTo>
                        <a:pt x="2022" y="1566"/>
                      </a:lnTo>
                      <a:lnTo>
                        <a:pt x="2022" y="1554"/>
                      </a:lnTo>
                      <a:lnTo>
                        <a:pt x="2016" y="1548"/>
                      </a:lnTo>
                      <a:lnTo>
                        <a:pt x="1968" y="1548"/>
                      </a:lnTo>
                      <a:lnTo>
                        <a:pt x="1962" y="1542"/>
                      </a:lnTo>
                      <a:lnTo>
                        <a:pt x="1962" y="1530"/>
                      </a:lnTo>
                      <a:lnTo>
                        <a:pt x="1968" y="1524"/>
                      </a:lnTo>
                      <a:lnTo>
                        <a:pt x="1986" y="1524"/>
                      </a:lnTo>
                      <a:lnTo>
                        <a:pt x="1998" y="1530"/>
                      </a:lnTo>
                      <a:lnTo>
                        <a:pt x="2004" y="1530"/>
                      </a:lnTo>
                      <a:lnTo>
                        <a:pt x="2016" y="1536"/>
                      </a:lnTo>
                      <a:lnTo>
                        <a:pt x="2028" y="1536"/>
                      </a:lnTo>
                      <a:lnTo>
                        <a:pt x="2064" y="1518"/>
                      </a:lnTo>
                      <a:lnTo>
                        <a:pt x="2070" y="1512"/>
                      </a:lnTo>
                      <a:lnTo>
                        <a:pt x="2082" y="1512"/>
                      </a:lnTo>
                      <a:lnTo>
                        <a:pt x="2082" y="1518"/>
                      </a:lnTo>
                      <a:lnTo>
                        <a:pt x="2106" y="1518"/>
                      </a:lnTo>
                      <a:lnTo>
                        <a:pt x="2118" y="1512"/>
                      </a:lnTo>
                      <a:lnTo>
                        <a:pt x="2124" y="1512"/>
                      </a:lnTo>
                      <a:lnTo>
                        <a:pt x="2130" y="1506"/>
                      </a:lnTo>
                      <a:lnTo>
                        <a:pt x="2130" y="1500"/>
                      </a:lnTo>
                      <a:lnTo>
                        <a:pt x="2136" y="1488"/>
                      </a:lnTo>
                      <a:lnTo>
                        <a:pt x="2136" y="1482"/>
                      </a:lnTo>
                      <a:lnTo>
                        <a:pt x="2142" y="1482"/>
                      </a:lnTo>
                      <a:lnTo>
                        <a:pt x="2142" y="1488"/>
                      </a:lnTo>
                      <a:lnTo>
                        <a:pt x="2148" y="1500"/>
                      </a:lnTo>
                      <a:lnTo>
                        <a:pt x="2148" y="1524"/>
                      </a:lnTo>
                      <a:lnTo>
                        <a:pt x="2154" y="1524"/>
                      </a:lnTo>
                      <a:lnTo>
                        <a:pt x="2160" y="1518"/>
                      </a:lnTo>
                      <a:lnTo>
                        <a:pt x="2172" y="1512"/>
                      </a:lnTo>
                      <a:lnTo>
                        <a:pt x="2190" y="1512"/>
                      </a:lnTo>
                      <a:lnTo>
                        <a:pt x="2202" y="1506"/>
                      </a:lnTo>
                      <a:lnTo>
                        <a:pt x="2214" y="1506"/>
                      </a:lnTo>
                      <a:lnTo>
                        <a:pt x="2226" y="1512"/>
                      </a:lnTo>
                      <a:lnTo>
                        <a:pt x="2232" y="1524"/>
                      </a:lnTo>
                      <a:lnTo>
                        <a:pt x="2232" y="1506"/>
                      </a:lnTo>
                      <a:lnTo>
                        <a:pt x="2244" y="1506"/>
                      </a:lnTo>
                      <a:lnTo>
                        <a:pt x="2256" y="1518"/>
                      </a:lnTo>
                      <a:lnTo>
                        <a:pt x="2256" y="1530"/>
                      </a:lnTo>
                      <a:lnTo>
                        <a:pt x="2286" y="1524"/>
                      </a:lnTo>
                      <a:lnTo>
                        <a:pt x="2280" y="1536"/>
                      </a:lnTo>
                      <a:lnTo>
                        <a:pt x="2280" y="1548"/>
                      </a:lnTo>
                      <a:lnTo>
                        <a:pt x="2286" y="1554"/>
                      </a:lnTo>
                      <a:lnTo>
                        <a:pt x="2286" y="1566"/>
                      </a:lnTo>
                      <a:lnTo>
                        <a:pt x="2298" y="1578"/>
                      </a:lnTo>
                      <a:lnTo>
                        <a:pt x="2310" y="1578"/>
                      </a:lnTo>
                      <a:lnTo>
                        <a:pt x="2328" y="1572"/>
                      </a:lnTo>
                      <a:lnTo>
                        <a:pt x="2352" y="1548"/>
                      </a:lnTo>
                      <a:lnTo>
                        <a:pt x="2370" y="1542"/>
                      </a:lnTo>
                      <a:lnTo>
                        <a:pt x="2382" y="1542"/>
                      </a:lnTo>
                      <a:lnTo>
                        <a:pt x="2394" y="1548"/>
                      </a:lnTo>
                      <a:lnTo>
                        <a:pt x="2400" y="1554"/>
                      </a:lnTo>
                      <a:lnTo>
                        <a:pt x="2418" y="1590"/>
                      </a:lnTo>
                      <a:lnTo>
                        <a:pt x="2418" y="1602"/>
                      </a:lnTo>
                      <a:lnTo>
                        <a:pt x="2424" y="1608"/>
                      </a:lnTo>
                      <a:lnTo>
                        <a:pt x="2436" y="1614"/>
                      </a:lnTo>
                      <a:lnTo>
                        <a:pt x="2466" y="1614"/>
                      </a:lnTo>
                      <a:lnTo>
                        <a:pt x="2460" y="1656"/>
                      </a:lnTo>
                      <a:lnTo>
                        <a:pt x="2460" y="1662"/>
                      </a:lnTo>
                      <a:lnTo>
                        <a:pt x="2454" y="1668"/>
                      </a:lnTo>
                      <a:lnTo>
                        <a:pt x="2436" y="1704"/>
                      </a:lnTo>
                      <a:lnTo>
                        <a:pt x="2436" y="1710"/>
                      </a:lnTo>
                      <a:lnTo>
                        <a:pt x="2448" y="1722"/>
                      </a:lnTo>
                      <a:lnTo>
                        <a:pt x="2454" y="1722"/>
                      </a:lnTo>
                      <a:lnTo>
                        <a:pt x="2460" y="1734"/>
                      </a:lnTo>
                      <a:lnTo>
                        <a:pt x="2436" y="1758"/>
                      </a:lnTo>
                      <a:lnTo>
                        <a:pt x="2454" y="1806"/>
                      </a:lnTo>
                      <a:lnTo>
                        <a:pt x="2472" y="1788"/>
                      </a:lnTo>
                      <a:lnTo>
                        <a:pt x="2478" y="1788"/>
                      </a:lnTo>
                      <a:lnTo>
                        <a:pt x="2478" y="1794"/>
                      </a:lnTo>
                      <a:lnTo>
                        <a:pt x="2472" y="1800"/>
                      </a:lnTo>
                      <a:lnTo>
                        <a:pt x="2466" y="1812"/>
                      </a:lnTo>
                      <a:lnTo>
                        <a:pt x="2466" y="1818"/>
                      </a:lnTo>
                      <a:lnTo>
                        <a:pt x="2460" y="1830"/>
                      </a:lnTo>
                      <a:lnTo>
                        <a:pt x="2478" y="1830"/>
                      </a:lnTo>
                      <a:lnTo>
                        <a:pt x="2478" y="1878"/>
                      </a:lnTo>
                      <a:lnTo>
                        <a:pt x="2496" y="1878"/>
                      </a:lnTo>
                      <a:lnTo>
                        <a:pt x="2502" y="1884"/>
                      </a:lnTo>
                      <a:lnTo>
                        <a:pt x="2508" y="1884"/>
                      </a:lnTo>
                      <a:lnTo>
                        <a:pt x="2508" y="1896"/>
                      </a:lnTo>
                      <a:lnTo>
                        <a:pt x="2502" y="1908"/>
                      </a:lnTo>
                      <a:lnTo>
                        <a:pt x="2502" y="1920"/>
                      </a:lnTo>
                      <a:lnTo>
                        <a:pt x="2526" y="1944"/>
                      </a:lnTo>
                      <a:lnTo>
                        <a:pt x="2532" y="1944"/>
                      </a:lnTo>
                      <a:lnTo>
                        <a:pt x="2538" y="1938"/>
                      </a:lnTo>
                      <a:lnTo>
                        <a:pt x="2550" y="1932"/>
                      </a:lnTo>
                      <a:lnTo>
                        <a:pt x="2556" y="1932"/>
                      </a:lnTo>
                      <a:lnTo>
                        <a:pt x="2562" y="1926"/>
                      </a:lnTo>
                      <a:lnTo>
                        <a:pt x="2568" y="1914"/>
                      </a:lnTo>
                      <a:lnTo>
                        <a:pt x="2568" y="1896"/>
                      </a:lnTo>
                      <a:lnTo>
                        <a:pt x="2586" y="1896"/>
                      </a:lnTo>
                      <a:lnTo>
                        <a:pt x="2586" y="1872"/>
                      </a:lnTo>
                      <a:lnTo>
                        <a:pt x="2604" y="1836"/>
                      </a:lnTo>
                      <a:lnTo>
                        <a:pt x="2604" y="1818"/>
                      </a:lnTo>
                      <a:lnTo>
                        <a:pt x="2610" y="1806"/>
                      </a:lnTo>
                      <a:lnTo>
                        <a:pt x="2610" y="1794"/>
                      </a:lnTo>
                      <a:lnTo>
                        <a:pt x="2604" y="1782"/>
                      </a:lnTo>
                      <a:lnTo>
                        <a:pt x="2604" y="1770"/>
                      </a:lnTo>
                      <a:lnTo>
                        <a:pt x="2598" y="1752"/>
                      </a:lnTo>
                      <a:lnTo>
                        <a:pt x="2592" y="1740"/>
                      </a:lnTo>
                      <a:lnTo>
                        <a:pt x="2586" y="1722"/>
                      </a:lnTo>
                      <a:lnTo>
                        <a:pt x="2586" y="1704"/>
                      </a:lnTo>
                      <a:lnTo>
                        <a:pt x="2592" y="1686"/>
                      </a:lnTo>
                      <a:lnTo>
                        <a:pt x="2598" y="1674"/>
                      </a:lnTo>
                      <a:lnTo>
                        <a:pt x="2598" y="1644"/>
                      </a:lnTo>
                      <a:lnTo>
                        <a:pt x="2592" y="1626"/>
                      </a:lnTo>
                      <a:lnTo>
                        <a:pt x="2586" y="1614"/>
                      </a:lnTo>
                      <a:lnTo>
                        <a:pt x="2580" y="1596"/>
                      </a:lnTo>
                      <a:lnTo>
                        <a:pt x="2574" y="1584"/>
                      </a:lnTo>
                      <a:lnTo>
                        <a:pt x="2574" y="1518"/>
                      </a:lnTo>
                      <a:lnTo>
                        <a:pt x="2580" y="1488"/>
                      </a:lnTo>
                      <a:lnTo>
                        <a:pt x="2586" y="1470"/>
                      </a:lnTo>
                      <a:lnTo>
                        <a:pt x="2598" y="1452"/>
                      </a:lnTo>
                      <a:lnTo>
                        <a:pt x="2604" y="1440"/>
                      </a:lnTo>
                      <a:lnTo>
                        <a:pt x="2610" y="1422"/>
                      </a:lnTo>
                      <a:lnTo>
                        <a:pt x="2616" y="1416"/>
                      </a:lnTo>
                      <a:lnTo>
                        <a:pt x="2616" y="1410"/>
                      </a:lnTo>
                      <a:lnTo>
                        <a:pt x="2628" y="1398"/>
                      </a:lnTo>
                      <a:lnTo>
                        <a:pt x="2652" y="1380"/>
                      </a:lnTo>
                      <a:lnTo>
                        <a:pt x="2658" y="1356"/>
                      </a:lnTo>
                      <a:lnTo>
                        <a:pt x="2670" y="1368"/>
                      </a:lnTo>
                      <a:lnTo>
                        <a:pt x="2676" y="1344"/>
                      </a:lnTo>
                      <a:lnTo>
                        <a:pt x="2730" y="1344"/>
                      </a:lnTo>
                      <a:lnTo>
                        <a:pt x="2730" y="1314"/>
                      </a:lnTo>
                      <a:lnTo>
                        <a:pt x="2748" y="1320"/>
                      </a:lnTo>
                      <a:lnTo>
                        <a:pt x="2754" y="1308"/>
                      </a:lnTo>
                      <a:lnTo>
                        <a:pt x="2772" y="1308"/>
                      </a:lnTo>
                      <a:lnTo>
                        <a:pt x="2796" y="1278"/>
                      </a:lnTo>
                      <a:lnTo>
                        <a:pt x="2796" y="1272"/>
                      </a:lnTo>
                      <a:lnTo>
                        <a:pt x="2802" y="1266"/>
                      </a:lnTo>
                      <a:lnTo>
                        <a:pt x="2814" y="1242"/>
                      </a:lnTo>
                      <a:lnTo>
                        <a:pt x="2832" y="1236"/>
                      </a:lnTo>
                      <a:lnTo>
                        <a:pt x="2862" y="1236"/>
                      </a:lnTo>
                      <a:lnTo>
                        <a:pt x="2874" y="1242"/>
                      </a:lnTo>
                      <a:lnTo>
                        <a:pt x="2886" y="1242"/>
                      </a:lnTo>
                      <a:lnTo>
                        <a:pt x="2892" y="1236"/>
                      </a:lnTo>
                      <a:lnTo>
                        <a:pt x="2904" y="1212"/>
                      </a:lnTo>
                      <a:lnTo>
                        <a:pt x="2910" y="1206"/>
                      </a:lnTo>
                      <a:lnTo>
                        <a:pt x="2916" y="1194"/>
                      </a:lnTo>
                      <a:lnTo>
                        <a:pt x="2928" y="1200"/>
                      </a:lnTo>
                      <a:lnTo>
                        <a:pt x="2934" y="1176"/>
                      </a:lnTo>
                      <a:lnTo>
                        <a:pt x="3018" y="1170"/>
                      </a:lnTo>
                      <a:lnTo>
                        <a:pt x="3024" y="1146"/>
                      </a:lnTo>
                      <a:lnTo>
                        <a:pt x="2982" y="1152"/>
                      </a:lnTo>
                      <a:lnTo>
                        <a:pt x="2988" y="1146"/>
                      </a:lnTo>
                      <a:lnTo>
                        <a:pt x="3000" y="1140"/>
                      </a:lnTo>
                      <a:lnTo>
                        <a:pt x="3006" y="1140"/>
                      </a:lnTo>
                      <a:lnTo>
                        <a:pt x="3006" y="1134"/>
                      </a:lnTo>
                      <a:lnTo>
                        <a:pt x="3000" y="1128"/>
                      </a:lnTo>
                      <a:lnTo>
                        <a:pt x="2994" y="1116"/>
                      </a:lnTo>
                      <a:lnTo>
                        <a:pt x="2988" y="1110"/>
                      </a:lnTo>
                      <a:lnTo>
                        <a:pt x="3024" y="1104"/>
                      </a:lnTo>
                      <a:lnTo>
                        <a:pt x="3048" y="1116"/>
                      </a:lnTo>
                      <a:lnTo>
                        <a:pt x="3078" y="1080"/>
                      </a:lnTo>
                      <a:lnTo>
                        <a:pt x="3024" y="1074"/>
                      </a:lnTo>
                      <a:lnTo>
                        <a:pt x="3024" y="1050"/>
                      </a:lnTo>
                      <a:lnTo>
                        <a:pt x="3036" y="1062"/>
                      </a:lnTo>
                      <a:lnTo>
                        <a:pt x="3078" y="1050"/>
                      </a:lnTo>
                      <a:lnTo>
                        <a:pt x="3084" y="990"/>
                      </a:lnTo>
                      <a:lnTo>
                        <a:pt x="3054" y="1002"/>
                      </a:lnTo>
                      <a:lnTo>
                        <a:pt x="3048" y="972"/>
                      </a:lnTo>
                      <a:lnTo>
                        <a:pt x="3024" y="960"/>
                      </a:lnTo>
                      <a:lnTo>
                        <a:pt x="3072" y="978"/>
                      </a:lnTo>
                      <a:lnTo>
                        <a:pt x="3078" y="972"/>
                      </a:lnTo>
                      <a:lnTo>
                        <a:pt x="3060" y="954"/>
                      </a:lnTo>
                      <a:lnTo>
                        <a:pt x="3090" y="954"/>
                      </a:lnTo>
                      <a:lnTo>
                        <a:pt x="3084" y="948"/>
                      </a:lnTo>
                      <a:lnTo>
                        <a:pt x="3078" y="936"/>
                      </a:lnTo>
                      <a:lnTo>
                        <a:pt x="3060" y="918"/>
                      </a:lnTo>
                      <a:lnTo>
                        <a:pt x="3054" y="906"/>
                      </a:lnTo>
                      <a:lnTo>
                        <a:pt x="3054" y="894"/>
                      </a:lnTo>
                      <a:lnTo>
                        <a:pt x="3060" y="888"/>
                      </a:lnTo>
                      <a:lnTo>
                        <a:pt x="3042" y="870"/>
                      </a:lnTo>
                      <a:lnTo>
                        <a:pt x="3042" y="864"/>
                      </a:lnTo>
                      <a:lnTo>
                        <a:pt x="3048" y="864"/>
                      </a:lnTo>
                      <a:lnTo>
                        <a:pt x="3066" y="846"/>
                      </a:lnTo>
                      <a:lnTo>
                        <a:pt x="3072" y="846"/>
                      </a:lnTo>
                      <a:lnTo>
                        <a:pt x="3066" y="870"/>
                      </a:lnTo>
                      <a:lnTo>
                        <a:pt x="3096" y="894"/>
                      </a:lnTo>
                      <a:lnTo>
                        <a:pt x="3096" y="888"/>
                      </a:lnTo>
                      <a:lnTo>
                        <a:pt x="3102" y="882"/>
                      </a:lnTo>
                      <a:lnTo>
                        <a:pt x="3102" y="864"/>
                      </a:lnTo>
                      <a:lnTo>
                        <a:pt x="3108" y="852"/>
                      </a:lnTo>
                      <a:lnTo>
                        <a:pt x="3108" y="834"/>
                      </a:lnTo>
                      <a:lnTo>
                        <a:pt x="3114" y="822"/>
                      </a:lnTo>
                      <a:lnTo>
                        <a:pt x="3144" y="792"/>
                      </a:lnTo>
                      <a:lnTo>
                        <a:pt x="3156" y="786"/>
                      </a:lnTo>
                      <a:lnTo>
                        <a:pt x="3162" y="786"/>
                      </a:lnTo>
                      <a:lnTo>
                        <a:pt x="3162" y="792"/>
                      </a:lnTo>
                      <a:lnTo>
                        <a:pt x="3150" y="816"/>
                      </a:lnTo>
                      <a:lnTo>
                        <a:pt x="3132" y="834"/>
                      </a:lnTo>
                      <a:lnTo>
                        <a:pt x="3126" y="846"/>
                      </a:lnTo>
                      <a:lnTo>
                        <a:pt x="3120" y="882"/>
                      </a:lnTo>
                      <a:lnTo>
                        <a:pt x="3138" y="882"/>
                      </a:lnTo>
                      <a:lnTo>
                        <a:pt x="3138" y="894"/>
                      </a:lnTo>
                      <a:lnTo>
                        <a:pt x="3132" y="906"/>
                      </a:lnTo>
                      <a:lnTo>
                        <a:pt x="3132" y="918"/>
                      </a:lnTo>
                      <a:lnTo>
                        <a:pt x="3114" y="936"/>
                      </a:lnTo>
                      <a:lnTo>
                        <a:pt x="3102" y="960"/>
                      </a:lnTo>
                      <a:lnTo>
                        <a:pt x="3102" y="978"/>
                      </a:lnTo>
                      <a:lnTo>
                        <a:pt x="3126" y="954"/>
                      </a:lnTo>
                      <a:lnTo>
                        <a:pt x="3132" y="942"/>
                      </a:lnTo>
                      <a:lnTo>
                        <a:pt x="3144" y="930"/>
                      </a:lnTo>
                      <a:lnTo>
                        <a:pt x="3168" y="918"/>
                      </a:lnTo>
                      <a:lnTo>
                        <a:pt x="3180" y="906"/>
                      </a:lnTo>
                      <a:lnTo>
                        <a:pt x="3192" y="882"/>
                      </a:lnTo>
                      <a:lnTo>
                        <a:pt x="3192" y="798"/>
                      </a:lnTo>
                      <a:lnTo>
                        <a:pt x="3198" y="780"/>
                      </a:lnTo>
                      <a:lnTo>
                        <a:pt x="3198" y="768"/>
                      </a:lnTo>
                      <a:lnTo>
                        <a:pt x="3204" y="756"/>
                      </a:lnTo>
                      <a:lnTo>
                        <a:pt x="3210" y="756"/>
                      </a:lnTo>
                      <a:lnTo>
                        <a:pt x="3210" y="768"/>
                      </a:lnTo>
                      <a:lnTo>
                        <a:pt x="3204" y="780"/>
                      </a:lnTo>
                      <a:lnTo>
                        <a:pt x="3204" y="798"/>
                      </a:lnTo>
                      <a:lnTo>
                        <a:pt x="3210" y="798"/>
                      </a:lnTo>
                      <a:lnTo>
                        <a:pt x="3216" y="804"/>
                      </a:lnTo>
                      <a:lnTo>
                        <a:pt x="3216" y="840"/>
                      </a:lnTo>
                      <a:lnTo>
                        <a:pt x="3234" y="822"/>
                      </a:lnTo>
                      <a:lnTo>
                        <a:pt x="3240" y="810"/>
                      </a:lnTo>
                      <a:lnTo>
                        <a:pt x="3288" y="762"/>
                      </a:lnTo>
                      <a:lnTo>
                        <a:pt x="3300" y="756"/>
                      </a:lnTo>
                      <a:lnTo>
                        <a:pt x="3324" y="732"/>
                      </a:lnTo>
                      <a:lnTo>
                        <a:pt x="3324" y="726"/>
                      </a:lnTo>
                      <a:lnTo>
                        <a:pt x="3318" y="720"/>
                      </a:lnTo>
                      <a:lnTo>
                        <a:pt x="3312" y="720"/>
                      </a:lnTo>
                      <a:lnTo>
                        <a:pt x="3306" y="714"/>
                      </a:lnTo>
                      <a:lnTo>
                        <a:pt x="3306" y="702"/>
                      </a:lnTo>
                      <a:lnTo>
                        <a:pt x="3312" y="696"/>
                      </a:lnTo>
                      <a:lnTo>
                        <a:pt x="3324" y="696"/>
                      </a:lnTo>
                      <a:lnTo>
                        <a:pt x="3330" y="702"/>
                      </a:lnTo>
                      <a:lnTo>
                        <a:pt x="3360" y="702"/>
                      </a:lnTo>
                      <a:lnTo>
                        <a:pt x="3390" y="696"/>
                      </a:lnTo>
                      <a:lnTo>
                        <a:pt x="3450" y="672"/>
                      </a:lnTo>
                      <a:lnTo>
                        <a:pt x="3462" y="666"/>
                      </a:lnTo>
                      <a:lnTo>
                        <a:pt x="3444" y="660"/>
                      </a:lnTo>
                      <a:lnTo>
                        <a:pt x="3438" y="660"/>
                      </a:lnTo>
                      <a:lnTo>
                        <a:pt x="3432" y="666"/>
                      </a:lnTo>
                      <a:lnTo>
                        <a:pt x="3414" y="672"/>
                      </a:lnTo>
                      <a:lnTo>
                        <a:pt x="3402" y="672"/>
                      </a:lnTo>
                      <a:lnTo>
                        <a:pt x="3390" y="678"/>
                      </a:lnTo>
                      <a:lnTo>
                        <a:pt x="3372" y="678"/>
                      </a:lnTo>
                      <a:lnTo>
                        <a:pt x="3360" y="684"/>
                      </a:lnTo>
                      <a:lnTo>
                        <a:pt x="3348" y="684"/>
                      </a:lnTo>
                      <a:lnTo>
                        <a:pt x="3342" y="678"/>
                      </a:lnTo>
                      <a:lnTo>
                        <a:pt x="3342" y="672"/>
                      </a:lnTo>
                      <a:lnTo>
                        <a:pt x="3348" y="666"/>
                      </a:lnTo>
                      <a:lnTo>
                        <a:pt x="3354" y="654"/>
                      </a:lnTo>
                      <a:lnTo>
                        <a:pt x="3366" y="654"/>
                      </a:lnTo>
                      <a:lnTo>
                        <a:pt x="3378" y="648"/>
                      </a:lnTo>
                      <a:lnTo>
                        <a:pt x="3402" y="648"/>
                      </a:lnTo>
                      <a:lnTo>
                        <a:pt x="3492" y="642"/>
                      </a:lnTo>
                      <a:lnTo>
                        <a:pt x="3534" y="606"/>
                      </a:lnTo>
                      <a:lnTo>
                        <a:pt x="3546" y="618"/>
                      </a:lnTo>
                      <a:lnTo>
                        <a:pt x="3570" y="606"/>
                      </a:lnTo>
                      <a:lnTo>
                        <a:pt x="3570" y="642"/>
                      </a:lnTo>
                      <a:lnTo>
                        <a:pt x="3600" y="618"/>
                      </a:lnTo>
                      <a:lnTo>
                        <a:pt x="3624" y="612"/>
                      </a:lnTo>
                      <a:lnTo>
                        <a:pt x="3630" y="582"/>
                      </a:lnTo>
                      <a:lnTo>
                        <a:pt x="3618" y="570"/>
                      </a:lnTo>
                      <a:lnTo>
                        <a:pt x="3612" y="600"/>
                      </a:lnTo>
                      <a:lnTo>
                        <a:pt x="3588" y="600"/>
                      </a:lnTo>
                      <a:lnTo>
                        <a:pt x="3588" y="576"/>
                      </a:lnTo>
                      <a:lnTo>
                        <a:pt x="3570" y="552"/>
                      </a:lnTo>
                      <a:lnTo>
                        <a:pt x="3594" y="540"/>
                      </a:lnTo>
                      <a:lnTo>
                        <a:pt x="3600" y="504"/>
                      </a:lnTo>
                      <a:lnTo>
                        <a:pt x="3612" y="498"/>
                      </a:lnTo>
                      <a:lnTo>
                        <a:pt x="3618" y="486"/>
                      </a:lnTo>
                      <a:lnTo>
                        <a:pt x="3630" y="480"/>
                      </a:lnTo>
                      <a:lnTo>
                        <a:pt x="3636" y="474"/>
                      </a:lnTo>
                      <a:lnTo>
                        <a:pt x="3648" y="468"/>
                      </a:lnTo>
                      <a:lnTo>
                        <a:pt x="3654" y="456"/>
                      </a:lnTo>
                      <a:lnTo>
                        <a:pt x="3654" y="450"/>
                      </a:lnTo>
                      <a:lnTo>
                        <a:pt x="3660" y="444"/>
                      </a:lnTo>
                      <a:lnTo>
                        <a:pt x="3660" y="438"/>
                      </a:lnTo>
                      <a:lnTo>
                        <a:pt x="3690" y="444"/>
                      </a:lnTo>
                      <a:lnTo>
                        <a:pt x="3702" y="426"/>
                      </a:lnTo>
                      <a:lnTo>
                        <a:pt x="3708" y="432"/>
                      </a:lnTo>
                      <a:lnTo>
                        <a:pt x="3720" y="432"/>
                      </a:lnTo>
                      <a:lnTo>
                        <a:pt x="3726" y="426"/>
                      </a:lnTo>
                      <a:lnTo>
                        <a:pt x="3738" y="420"/>
                      </a:lnTo>
                      <a:lnTo>
                        <a:pt x="3744" y="408"/>
                      </a:lnTo>
                      <a:lnTo>
                        <a:pt x="3756" y="402"/>
                      </a:lnTo>
                      <a:lnTo>
                        <a:pt x="3774" y="384"/>
                      </a:lnTo>
                      <a:lnTo>
                        <a:pt x="3774" y="414"/>
                      </a:lnTo>
                      <a:lnTo>
                        <a:pt x="3786" y="408"/>
                      </a:lnTo>
                      <a:lnTo>
                        <a:pt x="3792" y="402"/>
                      </a:lnTo>
                      <a:lnTo>
                        <a:pt x="3828" y="384"/>
                      </a:lnTo>
                      <a:lnTo>
                        <a:pt x="3834" y="378"/>
                      </a:lnTo>
                      <a:lnTo>
                        <a:pt x="3846" y="378"/>
                      </a:lnTo>
                      <a:lnTo>
                        <a:pt x="3858" y="372"/>
                      </a:lnTo>
                      <a:lnTo>
                        <a:pt x="3876" y="372"/>
                      </a:lnTo>
                      <a:lnTo>
                        <a:pt x="3888" y="366"/>
                      </a:lnTo>
                      <a:lnTo>
                        <a:pt x="3900" y="366"/>
                      </a:lnTo>
                      <a:lnTo>
                        <a:pt x="3900" y="330"/>
                      </a:lnTo>
                      <a:lnTo>
                        <a:pt x="3876" y="330"/>
                      </a:lnTo>
                      <a:lnTo>
                        <a:pt x="3876" y="324"/>
                      </a:lnTo>
                      <a:lnTo>
                        <a:pt x="3882" y="312"/>
                      </a:lnTo>
                      <a:lnTo>
                        <a:pt x="3894" y="300"/>
                      </a:lnTo>
                      <a:lnTo>
                        <a:pt x="3888" y="294"/>
                      </a:lnTo>
                      <a:lnTo>
                        <a:pt x="3882" y="294"/>
                      </a:lnTo>
                      <a:lnTo>
                        <a:pt x="3876" y="288"/>
                      </a:lnTo>
                      <a:lnTo>
                        <a:pt x="3876" y="276"/>
                      </a:lnTo>
                      <a:lnTo>
                        <a:pt x="3888" y="252"/>
                      </a:lnTo>
                      <a:lnTo>
                        <a:pt x="3900" y="222"/>
                      </a:lnTo>
                      <a:lnTo>
                        <a:pt x="3912" y="198"/>
                      </a:lnTo>
                      <a:lnTo>
                        <a:pt x="3918" y="174"/>
                      </a:lnTo>
                      <a:lnTo>
                        <a:pt x="3918" y="168"/>
                      </a:lnTo>
                      <a:lnTo>
                        <a:pt x="3912" y="162"/>
                      </a:lnTo>
                      <a:lnTo>
                        <a:pt x="3876" y="162"/>
                      </a:lnTo>
                      <a:lnTo>
                        <a:pt x="3864" y="168"/>
                      </a:lnTo>
                      <a:lnTo>
                        <a:pt x="3858" y="168"/>
                      </a:lnTo>
                      <a:close/>
                      <a:moveTo>
                        <a:pt x="2718" y="366"/>
                      </a:moveTo>
                      <a:lnTo>
                        <a:pt x="2712" y="366"/>
                      </a:lnTo>
                      <a:lnTo>
                        <a:pt x="2712" y="354"/>
                      </a:lnTo>
                      <a:lnTo>
                        <a:pt x="2718" y="348"/>
                      </a:lnTo>
                      <a:lnTo>
                        <a:pt x="2718" y="336"/>
                      </a:lnTo>
                      <a:lnTo>
                        <a:pt x="2712" y="336"/>
                      </a:lnTo>
                      <a:lnTo>
                        <a:pt x="2700" y="342"/>
                      </a:lnTo>
                      <a:lnTo>
                        <a:pt x="2694" y="348"/>
                      </a:lnTo>
                      <a:lnTo>
                        <a:pt x="2682" y="354"/>
                      </a:lnTo>
                      <a:lnTo>
                        <a:pt x="2676" y="372"/>
                      </a:lnTo>
                      <a:lnTo>
                        <a:pt x="2664" y="366"/>
                      </a:lnTo>
                      <a:lnTo>
                        <a:pt x="2664" y="378"/>
                      </a:lnTo>
                      <a:lnTo>
                        <a:pt x="2652" y="402"/>
                      </a:lnTo>
                      <a:lnTo>
                        <a:pt x="2628" y="414"/>
                      </a:lnTo>
                      <a:lnTo>
                        <a:pt x="2628" y="426"/>
                      </a:lnTo>
                      <a:lnTo>
                        <a:pt x="2634" y="432"/>
                      </a:lnTo>
                      <a:lnTo>
                        <a:pt x="2628" y="432"/>
                      </a:lnTo>
                      <a:lnTo>
                        <a:pt x="2598" y="462"/>
                      </a:lnTo>
                      <a:lnTo>
                        <a:pt x="2598" y="468"/>
                      </a:lnTo>
                      <a:lnTo>
                        <a:pt x="2604" y="474"/>
                      </a:lnTo>
                      <a:lnTo>
                        <a:pt x="2610" y="474"/>
                      </a:lnTo>
                      <a:lnTo>
                        <a:pt x="2616" y="480"/>
                      </a:lnTo>
                      <a:lnTo>
                        <a:pt x="2616" y="492"/>
                      </a:lnTo>
                      <a:lnTo>
                        <a:pt x="2610" y="498"/>
                      </a:lnTo>
                      <a:lnTo>
                        <a:pt x="2604" y="498"/>
                      </a:lnTo>
                      <a:lnTo>
                        <a:pt x="2604" y="510"/>
                      </a:lnTo>
                      <a:lnTo>
                        <a:pt x="2592" y="534"/>
                      </a:lnTo>
                      <a:lnTo>
                        <a:pt x="2580" y="552"/>
                      </a:lnTo>
                      <a:lnTo>
                        <a:pt x="2550" y="582"/>
                      </a:lnTo>
                      <a:lnTo>
                        <a:pt x="2478" y="618"/>
                      </a:lnTo>
                      <a:lnTo>
                        <a:pt x="2484" y="588"/>
                      </a:lnTo>
                      <a:lnTo>
                        <a:pt x="2478" y="582"/>
                      </a:lnTo>
                      <a:lnTo>
                        <a:pt x="2478" y="576"/>
                      </a:lnTo>
                      <a:lnTo>
                        <a:pt x="2472" y="570"/>
                      </a:lnTo>
                      <a:lnTo>
                        <a:pt x="2472" y="564"/>
                      </a:lnTo>
                      <a:lnTo>
                        <a:pt x="2478" y="552"/>
                      </a:lnTo>
                      <a:lnTo>
                        <a:pt x="2496" y="534"/>
                      </a:lnTo>
                      <a:lnTo>
                        <a:pt x="2502" y="522"/>
                      </a:lnTo>
                      <a:lnTo>
                        <a:pt x="2502" y="516"/>
                      </a:lnTo>
                      <a:lnTo>
                        <a:pt x="2496" y="510"/>
                      </a:lnTo>
                      <a:lnTo>
                        <a:pt x="2496" y="492"/>
                      </a:lnTo>
                      <a:lnTo>
                        <a:pt x="2502" y="480"/>
                      </a:lnTo>
                      <a:lnTo>
                        <a:pt x="2508" y="474"/>
                      </a:lnTo>
                      <a:lnTo>
                        <a:pt x="2514" y="462"/>
                      </a:lnTo>
                      <a:lnTo>
                        <a:pt x="2526" y="456"/>
                      </a:lnTo>
                      <a:lnTo>
                        <a:pt x="2532" y="450"/>
                      </a:lnTo>
                      <a:lnTo>
                        <a:pt x="2532" y="432"/>
                      </a:lnTo>
                      <a:lnTo>
                        <a:pt x="2538" y="432"/>
                      </a:lnTo>
                      <a:lnTo>
                        <a:pt x="2622" y="348"/>
                      </a:lnTo>
                      <a:lnTo>
                        <a:pt x="2592" y="354"/>
                      </a:lnTo>
                      <a:lnTo>
                        <a:pt x="2580" y="360"/>
                      </a:lnTo>
                      <a:lnTo>
                        <a:pt x="2574" y="366"/>
                      </a:lnTo>
                      <a:lnTo>
                        <a:pt x="2562" y="372"/>
                      </a:lnTo>
                      <a:lnTo>
                        <a:pt x="2556" y="378"/>
                      </a:lnTo>
                      <a:lnTo>
                        <a:pt x="2550" y="378"/>
                      </a:lnTo>
                      <a:lnTo>
                        <a:pt x="2550" y="372"/>
                      </a:lnTo>
                      <a:lnTo>
                        <a:pt x="2556" y="366"/>
                      </a:lnTo>
                      <a:lnTo>
                        <a:pt x="2568" y="360"/>
                      </a:lnTo>
                      <a:lnTo>
                        <a:pt x="2592" y="336"/>
                      </a:lnTo>
                      <a:lnTo>
                        <a:pt x="2604" y="330"/>
                      </a:lnTo>
                      <a:lnTo>
                        <a:pt x="2658" y="276"/>
                      </a:lnTo>
                      <a:lnTo>
                        <a:pt x="2670" y="288"/>
                      </a:lnTo>
                      <a:lnTo>
                        <a:pt x="2682" y="276"/>
                      </a:lnTo>
                      <a:lnTo>
                        <a:pt x="2682" y="288"/>
                      </a:lnTo>
                      <a:lnTo>
                        <a:pt x="2694" y="288"/>
                      </a:lnTo>
                      <a:lnTo>
                        <a:pt x="2700" y="282"/>
                      </a:lnTo>
                      <a:lnTo>
                        <a:pt x="2700" y="270"/>
                      </a:lnTo>
                      <a:lnTo>
                        <a:pt x="2724" y="276"/>
                      </a:lnTo>
                      <a:lnTo>
                        <a:pt x="2736" y="270"/>
                      </a:lnTo>
                      <a:lnTo>
                        <a:pt x="2742" y="270"/>
                      </a:lnTo>
                      <a:lnTo>
                        <a:pt x="2754" y="264"/>
                      </a:lnTo>
                      <a:lnTo>
                        <a:pt x="2772" y="264"/>
                      </a:lnTo>
                      <a:lnTo>
                        <a:pt x="2784" y="270"/>
                      </a:lnTo>
                      <a:lnTo>
                        <a:pt x="2790" y="276"/>
                      </a:lnTo>
                      <a:lnTo>
                        <a:pt x="2796" y="288"/>
                      </a:lnTo>
                      <a:lnTo>
                        <a:pt x="2772" y="294"/>
                      </a:lnTo>
                      <a:lnTo>
                        <a:pt x="2772" y="318"/>
                      </a:lnTo>
                      <a:lnTo>
                        <a:pt x="2742" y="318"/>
                      </a:lnTo>
                      <a:lnTo>
                        <a:pt x="2736" y="324"/>
                      </a:lnTo>
                      <a:lnTo>
                        <a:pt x="2736" y="360"/>
                      </a:lnTo>
                      <a:lnTo>
                        <a:pt x="2730" y="366"/>
                      </a:lnTo>
                      <a:lnTo>
                        <a:pt x="2718" y="366"/>
                      </a:lnTo>
                      <a:close/>
                    </a:path>
                  </a:pathLst>
                </a:custGeom>
                <a:solidFill>
                  <a:schemeClr val="accent1"/>
                </a:solidFill>
                <a:ln w="3175">
                  <a:solidFill>
                    <a:schemeClr val="bg1"/>
                  </a:solidFill>
                  <a:round/>
                  <a:headEnd/>
                  <a:tailEnd/>
                </a:ln>
                <a:effec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306" name="Uruguay"/>
                <p:cNvSpPr>
                  <a:spLocks/>
                </p:cNvSpPr>
                <p:nvPr/>
              </p:nvSpPr>
              <p:spPr bwMode="gray">
                <a:xfrm>
                  <a:off x="1648" y="2931"/>
                  <a:ext cx="94" cy="98"/>
                </a:xfrm>
                <a:custGeom>
                  <a:avLst/>
                  <a:gdLst>
                    <a:gd name="T0" fmla="*/ 2147483647 w 366"/>
                    <a:gd name="T1" fmla="*/ 2147483647 h 384"/>
                    <a:gd name="T2" fmla="*/ 2147483647 w 366"/>
                    <a:gd name="T3" fmla="*/ 2147483647 h 384"/>
                    <a:gd name="T4" fmla="*/ 2147483647 w 366"/>
                    <a:gd name="T5" fmla="*/ 2147483647 h 384"/>
                    <a:gd name="T6" fmla="*/ 2147483647 w 366"/>
                    <a:gd name="T7" fmla="*/ 2147483647 h 384"/>
                    <a:gd name="T8" fmla="*/ 2147483647 w 366"/>
                    <a:gd name="T9" fmla="*/ 2147483647 h 384"/>
                    <a:gd name="T10" fmla="*/ 2147483647 w 366"/>
                    <a:gd name="T11" fmla="*/ 2147483647 h 384"/>
                    <a:gd name="T12" fmla="*/ 2147483647 w 366"/>
                    <a:gd name="T13" fmla="*/ 2147483647 h 384"/>
                    <a:gd name="T14" fmla="*/ 2147483647 w 366"/>
                    <a:gd name="T15" fmla="*/ 2147483647 h 384"/>
                    <a:gd name="T16" fmla="*/ 2147483647 w 366"/>
                    <a:gd name="T17" fmla="*/ 2147483647 h 384"/>
                    <a:gd name="T18" fmla="*/ 2147483647 w 366"/>
                    <a:gd name="T19" fmla="*/ 2147483647 h 384"/>
                    <a:gd name="T20" fmla="*/ 2147483647 w 366"/>
                    <a:gd name="T21" fmla="*/ 2147483647 h 384"/>
                    <a:gd name="T22" fmla="*/ 2147483647 w 366"/>
                    <a:gd name="T23" fmla="*/ 2147483647 h 384"/>
                    <a:gd name="T24" fmla="*/ 2147483647 w 366"/>
                    <a:gd name="T25" fmla="*/ 2147483647 h 384"/>
                    <a:gd name="T26" fmla="*/ 2147483647 w 366"/>
                    <a:gd name="T27" fmla="*/ 2147483647 h 384"/>
                    <a:gd name="T28" fmla="*/ 2147483647 w 366"/>
                    <a:gd name="T29" fmla="*/ 2147483647 h 384"/>
                    <a:gd name="T30" fmla="*/ 2147483647 w 366"/>
                    <a:gd name="T31" fmla="*/ 2147483647 h 384"/>
                    <a:gd name="T32" fmla="*/ 2147483647 w 366"/>
                    <a:gd name="T33" fmla="*/ 2147483647 h 384"/>
                    <a:gd name="T34" fmla="*/ 2147483647 w 366"/>
                    <a:gd name="T35" fmla="*/ 2147483647 h 384"/>
                    <a:gd name="T36" fmla="*/ 2147483647 w 366"/>
                    <a:gd name="T37" fmla="*/ 2147483647 h 384"/>
                    <a:gd name="T38" fmla="*/ 2147483647 w 366"/>
                    <a:gd name="T39" fmla="*/ 2147483647 h 384"/>
                    <a:gd name="T40" fmla="*/ 2147483647 w 366"/>
                    <a:gd name="T41" fmla="*/ 2147483647 h 384"/>
                    <a:gd name="T42" fmla="*/ 2147483647 w 366"/>
                    <a:gd name="T43" fmla="*/ 2147483647 h 384"/>
                    <a:gd name="T44" fmla="*/ 2147483647 w 366"/>
                    <a:gd name="T45" fmla="*/ 0 h 384"/>
                    <a:gd name="T46" fmla="*/ 2147483647 w 366"/>
                    <a:gd name="T47" fmla="*/ 2147483647 h 384"/>
                    <a:gd name="T48" fmla="*/ 2147483647 w 366"/>
                    <a:gd name="T49" fmla="*/ 2147483647 h 384"/>
                    <a:gd name="T50" fmla="*/ 0 w 366"/>
                    <a:gd name="T51" fmla="*/ 2147483647 h 384"/>
                    <a:gd name="T52" fmla="*/ 2147483647 w 366"/>
                    <a:gd name="T53" fmla="*/ 2147483647 h 384"/>
                    <a:gd name="T54" fmla="*/ 2147483647 w 366"/>
                    <a:gd name="T55" fmla="*/ 2147483647 h 384"/>
                    <a:gd name="T56" fmla="*/ 2147483647 w 366"/>
                    <a:gd name="T57" fmla="*/ 2147483647 h 384"/>
                    <a:gd name="T58" fmla="*/ 2147483647 w 366"/>
                    <a:gd name="T59" fmla="*/ 2147483647 h 384"/>
                    <a:gd name="T60" fmla="*/ 2147483647 w 366"/>
                    <a:gd name="T61" fmla="*/ 2147483647 h 384"/>
                    <a:gd name="T62" fmla="*/ 2147483647 w 366"/>
                    <a:gd name="T63" fmla="*/ 2147483647 h 384"/>
                    <a:gd name="T64" fmla="*/ 2147483647 w 366"/>
                    <a:gd name="T65" fmla="*/ 2147483647 h 384"/>
                    <a:gd name="T66" fmla="*/ 2147483647 w 366"/>
                    <a:gd name="T67" fmla="*/ 2147483647 h 384"/>
                    <a:gd name="T68" fmla="*/ 2147483647 w 366"/>
                    <a:gd name="T69" fmla="*/ 2147483647 h 384"/>
                    <a:gd name="T70" fmla="*/ 2147483647 w 366"/>
                    <a:gd name="T71" fmla="*/ 2147483647 h 384"/>
                    <a:gd name="T72" fmla="*/ 2147483647 w 366"/>
                    <a:gd name="T73" fmla="*/ 2147483647 h 384"/>
                    <a:gd name="T74" fmla="*/ 2147483647 w 366"/>
                    <a:gd name="T75" fmla="*/ 2147483647 h 384"/>
                    <a:gd name="T76" fmla="*/ 2147483647 w 366"/>
                    <a:gd name="T77" fmla="*/ 2147483647 h 3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366"/>
                    <a:gd name="T118" fmla="*/ 0 h 384"/>
                    <a:gd name="T119" fmla="*/ 366 w 366"/>
                    <a:gd name="T120" fmla="*/ 384 h 384"/>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366" h="384">
                      <a:moveTo>
                        <a:pt x="138" y="372"/>
                      </a:moveTo>
                      <a:lnTo>
                        <a:pt x="174" y="372"/>
                      </a:lnTo>
                      <a:lnTo>
                        <a:pt x="198" y="378"/>
                      </a:lnTo>
                      <a:lnTo>
                        <a:pt x="228" y="378"/>
                      </a:lnTo>
                      <a:lnTo>
                        <a:pt x="288" y="384"/>
                      </a:lnTo>
                      <a:lnTo>
                        <a:pt x="330" y="366"/>
                      </a:lnTo>
                      <a:lnTo>
                        <a:pt x="342" y="354"/>
                      </a:lnTo>
                      <a:lnTo>
                        <a:pt x="360" y="300"/>
                      </a:lnTo>
                      <a:lnTo>
                        <a:pt x="366" y="294"/>
                      </a:lnTo>
                      <a:lnTo>
                        <a:pt x="348" y="294"/>
                      </a:lnTo>
                      <a:lnTo>
                        <a:pt x="348" y="264"/>
                      </a:lnTo>
                      <a:lnTo>
                        <a:pt x="342" y="264"/>
                      </a:lnTo>
                      <a:lnTo>
                        <a:pt x="342" y="240"/>
                      </a:lnTo>
                      <a:lnTo>
                        <a:pt x="348" y="234"/>
                      </a:lnTo>
                      <a:lnTo>
                        <a:pt x="360" y="210"/>
                      </a:lnTo>
                      <a:lnTo>
                        <a:pt x="360" y="198"/>
                      </a:lnTo>
                      <a:lnTo>
                        <a:pt x="354" y="198"/>
                      </a:lnTo>
                      <a:lnTo>
                        <a:pt x="342" y="192"/>
                      </a:lnTo>
                      <a:lnTo>
                        <a:pt x="336" y="192"/>
                      </a:lnTo>
                      <a:lnTo>
                        <a:pt x="318" y="174"/>
                      </a:lnTo>
                      <a:lnTo>
                        <a:pt x="312" y="162"/>
                      </a:lnTo>
                      <a:lnTo>
                        <a:pt x="306" y="156"/>
                      </a:lnTo>
                      <a:lnTo>
                        <a:pt x="300" y="144"/>
                      </a:lnTo>
                      <a:lnTo>
                        <a:pt x="288" y="144"/>
                      </a:lnTo>
                      <a:lnTo>
                        <a:pt x="270" y="138"/>
                      </a:lnTo>
                      <a:lnTo>
                        <a:pt x="258" y="132"/>
                      </a:lnTo>
                      <a:lnTo>
                        <a:pt x="252" y="126"/>
                      </a:lnTo>
                      <a:lnTo>
                        <a:pt x="252" y="114"/>
                      </a:lnTo>
                      <a:lnTo>
                        <a:pt x="246" y="114"/>
                      </a:lnTo>
                      <a:lnTo>
                        <a:pt x="228" y="96"/>
                      </a:lnTo>
                      <a:lnTo>
                        <a:pt x="210" y="96"/>
                      </a:lnTo>
                      <a:lnTo>
                        <a:pt x="192" y="78"/>
                      </a:lnTo>
                      <a:lnTo>
                        <a:pt x="186" y="66"/>
                      </a:lnTo>
                      <a:lnTo>
                        <a:pt x="174" y="60"/>
                      </a:lnTo>
                      <a:lnTo>
                        <a:pt x="168" y="60"/>
                      </a:lnTo>
                      <a:lnTo>
                        <a:pt x="156" y="72"/>
                      </a:lnTo>
                      <a:lnTo>
                        <a:pt x="156" y="78"/>
                      </a:lnTo>
                      <a:lnTo>
                        <a:pt x="144" y="78"/>
                      </a:lnTo>
                      <a:lnTo>
                        <a:pt x="144" y="66"/>
                      </a:lnTo>
                      <a:lnTo>
                        <a:pt x="132" y="54"/>
                      </a:lnTo>
                      <a:lnTo>
                        <a:pt x="126" y="42"/>
                      </a:lnTo>
                      <a:lnTo>
                        <a:pt x="120" y="36"/>
                      </a:lnTo>
                      <a:lnTo>
                        <a:pt x="108" y="30"/>
                      </a:lnTo>
                      <a:lnTo>
                        <a:pt x="102" y="18"/>
                      </a:lnTo>
                      <a:lnTo>
                        <a:pt x="78" y="6"/>
                      </a:lnTo>
                      <a:lnTo>
                        <a:pt x="72" y="0"/>
                      </a:lnTo>
                      <a:lnTo>
                        <a:pt x="60" y="0"/>
                      </a:lnTo>
                      <a:lnTo>
                        <a:pt x="48" y="6"/>
                      </a:lnTo>
                      <a:lnTo>
                        <a:pt x="42" y="12"/>
                      </a:lnTo>
                      <a:lnTo>
                        <a:pt x="18" y="12"/>
                      </a:lnTo>
                      <a:lnTo>
                        <a:pt x="0" y="30"/>
                      </a:lnTo>
                      <a:lnTo>
                        <a:pt x="0" y="36"/>
                      </a:lnTo>
                      <a:lnTo>
                        <a:pt x="24" y="60"/>
                      </a:lnTo>
                      <a:lnTo>
                        <a:pt x="30" y="60"/>
                      </a:lnTo>
                      <a:lnTo>
                        <a:pt x="6" y="72"/>
                      </a:lnTo>
                      <a:lnTo>
                        <a:pt x="6" y="108"/>
                      </a:lnTo>
                      <a:lnTo>
                        <a:pt x="30" y="126"/>
                      </a:lnTo>
                      <a:lnTo>
                        <a:pt x="12" y="126"/>
                      </a:lnTo>
                      <a:lnTo>
                        <a:pt x="0" y="138"/>
                      </a:lnTo>
                      <a:lnTo>
                        <a:pt x="6" y="144"/>
                      </a:lnTo>
                      <a:lnTo>
                        <a:pt x="12" y="156"/>
                      </a:lnTo>
                      <a:lnTo>
                        <a:pt x="24" y="168"/>
                      </a:lnTo>
                      <a:lnTo>
                        <a:pt x="12" y="186"/>
                      </a:lnTo>
                      <a:lnTo>
                        <a:pt x="18" y="192"/>
                      </a:lnTo>
                      <a:lnTo>
                        <a:pt x="24" y="204"/>
                      </a:lnTo>
                      <a:lnTo>
                        <a:pt x="36" y="210"/>
                      </a:lnTo>
                      <a:lnTo>
                        <a:pt x="42" y="222"/>
                      </a:lnTo>
                      <a:lnTo>
                        <a:pt x="42" y="228"/>
                      </a:lnTo>
                      <a:lnTo>
                        <a:pt x="36" y="228"/>
                      </a:lnTo>
                      <a:lnTo>
                        <a:pt x="30" y="234"/>
                      </a:lnTo>
                      <a:lnTo>
                        <a:pt x="6" y="234"/>
                      </a:lnTo>
                      <a:lnTo>
                        <a:pt x="6" y="282"/>
                      </a:lnTo>
                      <a:lnTo>
                        <a:pt x="36" y="318"/>
                      </a:lnTo>
                      <a:lnTo>
                        <a:pt x="42" y="318"/>
                      </a:lnTo>
                      <a:lnTo>
                        <a:pt x="54" y="324"/>
                      </a:lnTo>
                      <a:lnTo>
                        <a:pt x="78" y="348"/>
                      </a:lnTo>
                      <a:lnTo>
                        <a:pt x="90" y="354"/>
                      </a:lnTo>
                      <a:lnTo>
                        <a:pt x="126" y="354"/>
                      </a:lnTo>
                      <a:lnTo>
                        <a:pt x="138" y="372"/>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308" name="United Kingdom"/>
                <p:cNvSpPr>
                  <a:spLocks noEditPoints="1"/>
                </p:cNvSpPr>
                <p:nvPr/>
              </p:nvSpPr>
              <p:spPr bwMode="gray">
                <a:xfrm>
                  <a:off x="2558" y="1074"/>
                  <a:ext cx="148" cy="211"/>
                </a:xfrm>
                <a:custGeom>
                  <a:avLst/>
                  <a:gdLst>
                    <a:gd name="T0" fmla="*/ 2147483647 w 576"/>
                    <a:gd name="T1" fmla="*/ 2147483647 h 822"/>
                    <a:gd name="T2" fmla="*/ 2147483647 w 576"/>
                    <a:gd name="T3" fmla="*/ 2147483647 h 822"/>
                    <a:gd name="T4" fmla="*/ 2147483647 w 576"/>
                    <a:gd name="T5" fmla="*/ 2147483647 h 822"/>
                    <a:gd name="T6" fmla="*/ 2147483647 w 576"/>
                    <a:gd name="T7" fmla="*/ 2147483647 h 822"/>
                    <a:gd name="T8" fmla="*/ 2147483647 w 576"/>
                    <a:gd name="T9" fmla="*/ 2147483647 h 822"/>
                    <a:gd name="T10" fmla="*/ 2147483647 w 576"/>
                    <a:gd name="T11" fmla="*/ 2147483647 h 822"/>
                    <a:gd name="T12" fmla="*/ 2147483647 w 576"/>
                    <a:gd name="T13" fmla="*/ 2147483647 h 822"/>
                    <a:gd name="T14" fmla="*/ 2147483647 w 576"/>
                    <a:gd name="T15" fmla="*/ 0 h 822"/>
                    <a:gd name="T16" fmla="*/ 2147483647 w 576"/>
                    <a:gd name="T17" fmla="*/ 0 h 822"/>
                    <a:gd name="T18" fmla="*/ 2147483647 w 576"/>
                    <a:gd name="T19" fmla="*/ 2147483647 h 822"/>
                    <a:gd name="T20" fmla="*/ 2147483647 w 576"/>
                    <a:gd name="T21" fmla="*/ 2147483647 h 822"/>
                    <a:gd name="T22" fmla="*/ 2147483647 w 576"/>
                    <a:gd name="T23" fmla="*/ 2147483647 h 822"/>
                    <a:gd name="T24" fmla="*/ 2147483647 w 576"/>
                    <a:gd name="T25" fmla="*/ 2147483647 h 822"/>
                    <a:gd name="T26" fmla="*/ 2147483647 w 576"/>
                    <a:gd name="T27" fmla="*/ 2147483647 h 822"/>
                    <a:gd name="T28" fmla="*/ 2147483647 w 576"/>
                    <a:gd name="T29" fmla="*/ 2147483647 h 822"/>
                    <a:gd name="T30" fmla="*/ 2147483647 w 576"/>
                    <a:gd name="T31" fmla="*/ 2147483647 h 822"/>
                    <a:gd name="T32" fmla="*/ 2147483647 w 576"/>
                    <a:gd name="T33" fmla="*/ 2147483647 h 822"/>
                    <a:gd name="T34" fmla="*/ 2147483647 w 576"/>
                    <a:gd name="T35" fmla="*/ 2147483647 h 822"/>
                    <a:gd name="T36" fmla="*/ 2147483647 w 576"/>
                    <a:gd name="T37" fmla="*/ 2147483647 h 822"/>
                    <a:gd name="T38" fmla="*/ 2147483647 w 576"/>
                    <a:gd name="T39" fmla="*/ 2147483647 h 822"/>
                    <a:gd name="T40" fmla="*/ 2147483647 w 576"/>
                    <a:gd name="T41" fmla="*/ 2147483647 h 822"/>
                    <a:gd name="T42" fmla="*/ 2147483647 w 576"/>
                    <a:gd name="T43" fmla="*/ 2147483647 h 822"/>
                    <a:gd name="T44" fmla="*/ 2147483647 w 576"/>
                    <a:gd name="T45" fmla="*/ 2147483647 h 822"/>
                    <a:gd name="T46" fmla="*/ 2147483647 w 576"/>
                    <a:gd name="T47" fmla="*/ 2147483647 h 822"/>
                    <a:gd name="T48" fmla="*/ 2147483647 w 576"/>
                    <a:gd name="T49" fmla="*/ 2147483647 h 822"/>
                    <a:gd name="T50" fmla="*/ 2147483647 w 576"/>
                    <a:gd name="T51" fmla="*/ 2147483647 h 822"/>
                    <a:gd name="T52" fmla="*/ 2147483647 w 576"/>
                    <a:gd name="T53" fmla="*/ 2147483647 h 822"/>
                    <a:gd name="T54" fmla="*/ 2147483647 w 576"/>
                    <a:gd name="T55" fmla="*/ 2147483647 h 822"/>
                    <a:gd name="T56" fmla="*/ 2147483647 w 576"/>
                    <a:gd name="T57" fmla="*/ 2147483647 h 822"/>
                    <a:gd name="T58" fmla="*/ 2147483647 w 576"/>
                    <a:gd name="T59" fmla="*/ 2147483647 h 822"/>
                    <a:gd name="T60" fmla="*/ 2147483647 w 576"/>
                    <a:gd name="T61" fmla="*/ 2147483647 h 822"/>
                    <a:gd name="T62" fmla="*/ 2147483647 w 576"/>
                    <a:gd name="T63" fmla="*/ 2147483647 h 822"/>
                    <a:gd name="T64" fmla="*/ 2147483647 w 576"/>
                    <a:gd name="T65" fmla="*/ 2147483647 h 822"/>
                    <a:gd name="T66" fmla="*/ 2147483647 w 576"/>
                    <a:gd name="T67" fmla="*/ 2147483647 h 822"/>
                    <a:gd name="T68" fmla="*/ 2147483647 w 576"/>
                    <a:gd name="T69" fmla="*/ 2147483647 h 822"/>
                    <a:gd name="T70" fmla="*/ 2147483647 w 576"/>
                    <a:gd name="T71" fmla="*/ 2147483647 h 822"/>
                    <a:gd name="T72" fmla="*/ 2147483647 w 576"/>
                    <a:gd name="T73" fmla="*/ 2147483647 h 822"/>
                    <a:gd name="T74" fmla="*/ 2147483647 w 576"/>
                    <a:gd name="T75" fmla="*/ 2147483647 h 822"/>
                    <a:gd name="T76" fmla="*/ 2147483647 w 576"/>
                    <a:gd name="T77" fmla="*/ 2147483647 h 822"/>
                    <a:gd name="T78" fmla="*/ 2147483647 w 576"/>
                    <a:gd name="T79" fmla="*/ 2147483647 h 822"/>
                    <a:gd name="T80" fmla="*/ 2147483647 w 576"/>
                    <a:gd name="T81" fmla="*/ 2147483647 h 822"/>
                    <a:gd name="T82" fmla="*/ 2147483647 w 576"/>
                    <a:gd name="T83" fmla="*/ 2147483647 h 822"/>
                    <a:gd name="T84" fmla="*/ 2147483647 w 576"/>
                    <a:gd name="T85" fmla="*/ 2147483647 h 822"/>
                    <a:gd name="T86" fmla="*/ 2147483647 w 576"/>
                    <a:gd name="T87" fmla="*/ 2147483647 h 822"/>
                    <a:gd name="T88" fmla="*/ 2147483647 w 576"/>
                    <a:gd name="T89" fmla="*/ 2147483647 h 822"/>
                    <a:gd name="T90" fmla="*/ 2147483647 w 576"/>
                    <a:gd name="T91" fmla="*/ 2147483647 h 822"/>
                    <a:gd name="T92" fmla="*/ 2147483647 w 576"/>
                    <a:gd name="T93" fmla="*/ 2147483647 h 822"/>
                    <a:gd name="T94" fmla="*/ 2147483647 w 576"/>
                    <a:gd name="T95" fmla="*/ 2147483647 h 822"/>
                    <a:gd name="T96" fmla="*/ 2147483647 w 576"/>
                    <a:gd name="T97" fmla="*/ 2147483647 h 822"/>
                    <a:gd name="T98" fmla="*/ 2147483647 w 576"/>
                    <a:gd name="T99" fmla="*/ 2147483647 h 822"/>
                    <a:gd name="T100" fmla="*/ 2147483647 w 576"/>
                    <a:gd name="T101" fmla="*/ 2147483647 h 822"/>
                    <a:gd name="T102" fmla="*/ 2147483647 w 576"/>
                    <a:gd name="T103" fmla="*/ 2147483647 h 822"/>
                    <a:gd name="T104" fmla="*/ 2147483647 w 576"/>
                    <a:gd name="T105" fmla="*/ 2147483647 h 822"/>
                    <a:gd name="T106" fmla="*/ 2147483647 w 576"/>
                    <a:gd name="T107" fmla="*/ 2147483647 h 822"/>
                    <a:gd name="T108" fmla="*/ 2147483647 w 576"/>
                    <a:gd name="T109" fmla="*/ 2147483647 h 822"/>
                    <a:gd name="T110" fmla="*/ 2147483647 w 576"/>
                    <a:gd name="T111" fmla="*/ 2147483647 h 822"/>
                    <a:gd name="T112" fmla="*/ 2147483647 w 576"/>
                    <a:gd name="T113" fmla="*/ 2147483647 h 822"/>
                    <a:gd name="T114" fmla="*/ 2147483647 w 576"/>
                    <a:gd name="T115" fmla="*/ 2147483647 h 822"/>
                    <a:gd name="T116" fmla="*/ 2147483647 w 576"/>
                    <a:gd name="T117" fmla="*/ 2147483647 h 822"/>
                    <a:gd name="T118" fmla="*/ 2147483647 w 576"/>
                    <a:gd name="T119" fmla="*/ 2147483647 h 822"/>
                    <a:gd name="T120" fmla="*/ 2147483647 w 576"/>
                    <a:gd name="T121" fmla="*/ 2147483647 h 822"/>
                    <a:gd name="T122" fmla="*/ 2147483647 w 576"/>
                    <a:gd name="T123" fmla="*/ 2147483647 h 82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76"/>
                    <a:gd name="T187" fmla="*/ 0 h 822"/>
                    <a:gd name="T188" fmla="*/ 576 w 576"/>
                    <a:gd name="T189" fmla="*/ 822 h 82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76" h="822">
                      <a:moveTo>
                        <a:pt x="162" y="378"/>
                      </a:moveTo>
                      <a:lnTo>
                        <a:pt x="156" y="378"/>
                      </a:lnTo>
                      <a:lnTo>
                        <a:pt x="150" y="384"/>
                      </a:lnTo>
                      <a:lnTo>
                        <a:pt x="150" y="396"/>
                      </a:lnTo>
                      <a:lnTo>
                        <a:pt x="144" y="414"/>
                      </a:lnTo>
                      <a:lnTo>
                        <a:pt x="156" y="402"/>
                      </a:lnTo>
                      <a:lnTo>
                        <a:pt x="162" y="390"/>
                      </a:lnTo>
                      <a:lnTo>
                        <a:pt x="162" y="378"/>
                      </a:lnTo>
                      <a:close/>
                      <a:moveTo>
                        <a:pt x="132" y="312"/>
                      </a:moveTo>
                      <a:lnTo>
                        <a:pt x="126" y="312"/>
                      </a:lnTo>
                      <a:lnTo>
                        <a:pt x="126" y="336"/>
                      </a:lnTo>
                      <a:lnTo>
                        <a:pt x="132" y="336"/>
                      </a:lnTo>
                      <a:lnTo>
                        <a:pt x="138" y="330"/>
                      </a:lnTo>
                      <a:lnTo>
                        <a:pt x="150" y="330"/>
                      </a:lnTo>
                      <a:lnTo>
                        <a:pt x="144" y="318"/>
                      </a:lnTo>
                      <a:lnTo>
                        <a:pt x="138" y="312"/>
                      </a:lnTo>
                      <a:lnTo>
                        <a:pt x="132" y="312"/>
                      </a:lnTo>
                      <a:close/>
                      <a:moveTo>
                        <a:pt x="114" y="390"/>
                      </a:moveTo>
                      <a:lnTo>
                        <a:pt x="126" y="390"/>
                      </a:lnTo>
                      <a:lnTo>
                        <a:pt x="138" y="384"/>
                      </a:lnTo>
                      <a:lnTo>
                        <a:pt x="138" y="372"/>
                      </a:lnTo>
                      <a:lnTo>
                        <a:pt x="132" y="366"/>
                      </a:lnTo>
                      <a:lnTo>
                        <a:pt x="120" y="366"/>
                      </a:lnTo>
                      <a:lnTo>
                        <a:pt x="114" y="372"/>
                      </a:lnTo>
                      <a:lnTo>
                        <a:pt x="108" y="384"/>
                      </a:lnTo>
                      <a:lnTo>
                        <a:pt x="108" y="390"/>
                      </a:lnTo>
                      <a:lnTo>
                        <a:pt x="114" y="390"/>
                      </a:lnTo>
                      <a:close/>
                      <a:moveTo>
                        <a:pt x="330" y="120"/>
                      </a:moveTo>
                      <a:lnTo>
                        <a:pt x="324" y="120"/>
                      </a:lnTo>
                      <a:lnTo>
                        <a:pt x="318" y="126"/>
                      </a:lnTo>
                      <a:lnTo>
                        <a:pt x="318" y="138"/>
                      </a:lnTo>
                      <a:lnTo>
                        <a:pt x="330" y="138"/>
                      </a:lnTo>
                      <a:lnTo>
                        <a:pt x="336" y="126"/>
                      </a:lnTo>
                      <a:lnTo>
                        <a:pt x="330" y="120"/>
                      </a:lnTo>
                      <a:close/>
                      <a:moveTo>
                        <a:pt x="138" y="258"/>
                      </a:moveTo>
                      <a:lnTo>
                        <a:pt x="138" y="234"/>
                      </a:lnTo>
                      <a:lnTo>
                        <a:pt x="126" y="234"/>
                      </a:lnTo>
                      <a:lnTo>
                        <a:pt x="120" y="240"/>
                      </a:lnTo>
                      <a:lnTo>
                        <a:pt x="120" y="246"/>
                      </a:lnTo>
                      <a:lnTo>
                        <a:pt x="126" y="252"/>
                      </a:lnTo>
                      <a:lnTo>
                        <a:pt x="108" y="252"/>
                      </a:lnTo>
                      <a:lnTo>
                        <a:pt x="108" y="258"/>
                      </a:lnTo>
                      <a:lnTo>
                        <a:pt x="114" y="264"/>
                      </a:lnTo>
                      <a:lnTo>
                        <a:pt x="120" y="264"/>
                      </a:lnTo>
                      <a:lnTo>
                        <a:pt x="126" y="270"/>
                      </a:lnTo>
                      <a:lnTo>
                        <a:pt x="150" y="270"/>
                      </a:lnTo>
                      <a:lnTo>
                        <a:pt x="138" y="258"/>
                      </a:lnTo>
                      <a:close/>
                      <a:moveTo>
                        <a:pt x="474" y="0"/>
                      </a:moveTo>
                      <a:lnTo>
                        <a:pt x="468" y="0"/>
                      </a:lnTo>
                      <a:lnTo>
                        <a:pt x="456" y="12"/>
                      </a:lnTo>
                      <a:lnTo>
                        <a:pt x="474" y="12"/>
                      </a:lnTo>
                      <a:lnTo>
                        <a:pt x="474" y="6"/>
                      </a:lnTo>
                      <a:lnTo>
                        <a:pt x="480" y="0"/>
                      </a:lnTo>
                      <a:lnTo>
                        <a:pt x="474" y="0"/>
                      </a:lnTo>
                      <a:close/>
                      <a:moveTo>
                        <a:pt x="432" y="48"/>
                      </a:moveTo>
                      <a:lnTo>
                        <a:pt x="432" y="66"/>
                      </a:lnTo>
                      <a:lnTo>
                        <a:pt x="438" y="66"/>
                      </a:lnTo>
                      <a:lnTo>
                        <a:pt x="444" y="60"/>
                      </a:lnTo>
                      <a:lnTo>
                        <a:pt x="450" y="48"/>
                      </a:lnTo>
                      <a:lnTo>
                        <a:pt x="450" y="24"/>
                      </a:lnTo>
                      <a:lnTo>
                        <a:pt x="438" y="12"/>
                      </a:lnTo>
                      <a:lnTo>
                        <a:pt x="432" y="24"/>
                      </a:lnTo>
                      <a:lnTo>
                        <a:pt x="426" y="30"/>
                      </a:lnTo>
                      <a:lnTo>
                        <a:pt x="420" y="30"/>
                      </a:lnTo>
                      <a:lnTo>
                        <a:pt x="420" y="42"/>
                      </a:lnTo>
                      <a:lnTo>
                        <a:pt x="426" y="42"/>
                      </a:lnTo>
                      <a:lnTo>
                        <a:pt x="432" y="48"/>
                      </a:lnTo>
                      <a:close/>
                      <a:moveTo>
                        <a:pt x="342" y="138"/>
                      </a:moveTo>
                      <a:lnTo>
                        <a:pt x="342" y="150"/>
                      </a:lnTo>
                      <a:lnTo>
                        <a:pt x="354" y="138"/>
                      </a:lnTo>
                      <a:lnTo>
                        <a:pt x="342" y="138"/>
                      </a:lnTo>
                      <a:close/>
                      <a:moveTo>
                        <a:pt x="192" y="402"/>
                      </a:moveTo>
                      <a:lnTo>
                        <a:pt x="192" y="390"/>
                      </a:lnTo>
                      <a:lnTo>
                        <a:pt x="186" y="384"/>
                      </a:lnTo>
                      <a:lnTo>
                        <a:pt x="186" y="378"/>
                      </a:lnTo>
                      <a:lnTo>
                        <a:pt x="174" y="390"/>
                      </a:lnTo>
                      <a:lnTo>
                        <a:pt x="174" y="396"/>
                      </a:lnTo>
                      <a:lnTo>
                        <a:pt x="180" y="402"/>
                      </a:lnTo>
                      <a:lnTo>
                        <a:pt x="192" y="402"/>
                      </a:lnTo>
                      <a:close/>
                      <a:moveTo>
                        <a:pt x="504" y="588"/>
                      </a:moveTo>
                      <a:lnTo>
                        <a:pt x="498" y="594"/>
                      </a:lnTo>
                      <a:lnTo>
                        <a:pt x="498" y="600"/>
                      </a:lnTo>
                      <a:lnTo>
                        <a:pt x="480" y="600"/>
                      </a:lnTo>
                      <a:lnTo>
                        <a:pt x="480" y="588"/>
                      </a:lnTo>
                      <a:lnTo>
                        <a:pt x="486" y="576"/>
                      </a:lnTo>
                      <a:lnTo>
                        <a:pt x="498" y="564"/>
                      </a:lnTo>
                      <a:lnTo>
                        <a:pt x="492" y="558"/>
                      </a:lnTo>
                      <a:lnTo>
                        <a:pt x="456" y="540"/>
                      </a:lnTo>
                      <a:lnTo>
                        <a:pt x="450" y="540"/>
                      </a:lnTo>
                      <a:lnTo>
                        <a:pt x="444" y="534"/>
                      </a:lnTo>
                      <a:lnTo>
                        <a:pt x="450" y="534"/>
                      </a:lnTo>
                      <a:lnTo>
                        <a:pt x="456" y="528"/>
                      </a:lnTo>
                      <a:lnTo>
                        <a:pt x="480" y="528"/>
                      </a:lnTo>
                      <a:lnTo>
                        <a:pt x="468" y="516"/>
                      </a:lnTo>
                      <a:lnTo>
                        <a:pt x="468" y="510"/>
                      </a:lnTo>
                      <a:lnTo>
                        <a:pt x="456" y="498"/>
                      </a:lnTo>
                      <a:lnTo>
                        <a:pt x="450" y="486"/>
                      </a:lnTo>
                      <a:lnTo>
                        <a:pt x="432" y="468"/>
                      </a:lnTo>
                      <a:lnTo>
                        <a:pt x="420" y="468"/>
                      </a:lnTo>
                      <a:lnTo>
                        <a:pt x="414" y="456"/>
                      </a:lnTo>
                      <a:lnTo>
                        <a:pt x="402" y="450"/>
                      </a:lnTo>
                      <a:lnTo>
                        <a:pt x="390" y="438"/>
                      </a:lnTo>
                      <a:lnTo>
                        <a:pt x="390" y="414"/>
                      </a:lnTo>
                      <a:lnTo>
                        <a:pt x="396" y="402"/>
                      </a:lnTo>
                      <a:lnTo>
                        <a:pt x="396" y="390"/>
                      </a:lnTo>
                      <a:lnTo>
                        <a:pt x="384" y="390"/>
                      </a:lnTo>
                      <a:lnTo>
                        <a:pt x="378" y="384"/>
                      </a:lnTo>
                      <a:lnTo>
                        <a:pt x="372" y="372"/>
                      </a:lnTo>
                      <a:lnTo>
                        <a:pt x="360" y="360"/>
                      </a:lnTo>
                      <a:lnTo>
                        <a:pt x="342" y="354"/>
                      </a:lnTo>
                      <a:lnTo>
                        <a:pt x="324" y="354"/>
                      </a:lnTo>
                      <a:lnTo>
                        <a:pt x="306" y="360"/>
                      </a:lnTo>
                      <a:lnTo>
                        <a:pt x="294" y="366"/>
                      </a:lnTo>
                      <a:lnTo>
                        <a:pt x="288" y="366"/>
                      </a:lnTo>
                      <a:lnTo>
                        <a:pt x="270" y="348"/>
                      </a:lnTo>
                      <a:lnTo>
                        <a:pt x="282" y="348"/>
                      </a:lnTo>
                      <a:lnTo>
                        <a:pt x="294" y="354"/>
                      </a:lnTo>
                      <a:lnTo>
                        <a:pt x="306" y="354"/>
                      </a:lnTo>
                      <a:lnTo>
                        <a:pt x="330" y="342"/>
                      </a:lnTo>
                      <a:lnTo>
                        <a:pt x="336" y="336"/>
                      </a:lnTo>
                      <a:lnTo>
                        <a:pt x="330" y="336"/>
                      </a:lnTo>
                      <a:lnTo>
                        <a:pt x="324" y="330"/>
                      </a:lnTo>
                      <a:lnTo>
                        <a:pt x="306" y="330"/>
                      </a:lnTo>
                      <a:lnTo>
                        <a:pt x="330" y="324"/>
                      </a:lnTo>
                      <a:lnTo>
                        <a:pt x="336" y="318"/>
                      </a:lnTo>
                      <a:lnTo>
                        <a:pt x="348" y="312"/>
                      </a:lnTo>
                      <a:lnTo>
                        <a:pt x="360" y="300"/>
                      </a:lnTo>
                      <a:lnTo>
                        <a:pt x="360" y="288"/>
                      </a:lnTo>
                      <a:lnTo>
                        <a:pt x="366" y="276"/>
                      </a:lnTo>
                      <a:lnTo>
                        <a:pt x="372" y="270"/>
                      </a:lnTo>
                      <a:lnTo>
                        <a:pt x="378" y="258"/>
                      </a:lnTo>
                      <a:lnTo>
                        <a:pt x="384" y="252"/>
                      </a:lnTo>
                      <a:lnTo>
                        <a:pt x="396" y="246"/>
                      </a:lnTo>
                      <a:lnTo>
                        <a:pt x="402" y="246"/>
                      </a:lnTo>
                      <a:lnTo>
                        <a:pt x="402" y="240"/>
                      </a:lnTo>
                      <a:lnTo>
                        <a:pt x="396" y="234"/>
                      </a:lnTo>
                      <a:lnTo>
                        <a:pt x="318" y="234"/>
                      </a:lnTo>
                      <a:lnTo>
                        <a:pt x="318" y="228"/>
                      </a:lnTo>
                      <a:lnTo>
                        <a:pt x="288" y="228"/>
                      </a:lnTo>
                      <a:lnTo>
                        <a:pt x="276" y="234"/>
                      </a:lnTo>
                      <a:lnTo>
                        <a:pt x="264" y="234"/>
                      </a:lnTo>
                      <a:lnTo>
                        <a:pt x="258" y="240"/>
                      </a:lnTo>
                      <a:lnTo>
                        <a:pt x="252" y="240"/>
                      </a:lnTo>
                      <a:lnTo>
                        <a:pt x="264" y="228"/>
                      </a:lnTo>
                      <a:lnTo>
                        <a:pt x="252" y="216"/>
                      </a:lnTo>
                      <a:lnTo>
                        <a:pt x="270" y="210"/>
                      </a:lnTo>
                      <a:lnTo>
                        <a:pt x="300" y="192"/>
                      </a:lnTo>
                      <a:lnTo>
                        <a:pt x="312" y="186"/>
                      </a:lnTo>
                      <a:lnTo>
                        <a:pt x="324" y="162"/>
                      </a:lnTo>
                      <a:lnTo>
                        <a:pt x="318" y="156"/>
                      </a:lnTo>
                      <a:lnTo>
                        <a:pt x="288" y="156"/>
                      </a:lnTo>
                      <a:lnTo>
                        <a:pt x="276" y="162"/>
                      </a:lnTo>
                      <a:lnTo>
                        <a:pt x="258" y="168"/>
                      </a:lnTo>
                      <a:lnTo>
                        <a:pt x="240" y="168"/>
                      </a:lnTo>
                      <a:lnTo>
                        <a:pt x="228" y="162"/>
                      </a:lnTo>
                      <a:lnTo>
                        <a:pt x="216" y="162"/>
                      </a:lnTo>
                      <a:lnTo>
                        <a:pt x="210" y="168"/>
                      </a:lnTo>
                      <a:lnTo>
                        <a:pt x="210" y="174"/>
                      </a:lnTo>
                      <a:lnTo>
                        <a:pt x="216" y="180"/>
                      </a:lnTo>
                      <a:lnTo>
                        <a:pt x="204" y="180"/>
                      </a:lnTo>
                      <a:lnTo>
                        <a:pt x="192" y="192"/>
                      </a:lnTo>
                      <a:lnTo>
                        <a:pt x="192" y="210"/>
                      </a:lnTo>
                      <a:lnTo>
                        <a:pt x="198" y="216"/>
                      </a:lnTo>
                      <a:lnTo>
                        <a:pt x="156" y="222"/>
                      </a:lnTo>
                      <a:lnTo>
                        <a:pt x="156" y="234"/>
                      </a:lnTo>
                      <a:lnTo>
                        <a:pt x="168" y="240"/>
                      </a:lnTo>
                      <a:lnTo>
                        <a:pt x="180" y="264"/>
                      </a:lnTo>
                      <a:lnTo>
                        <a:pt x="162" y="282"/>
                      </a:lnTo>
                      <a:lnTo>
                        <a:pt x="162" y="294"/>
                      </a:lnTo>
                      <a:lnTo>
                        <a:pt x="144" y="300"/>
                      </a:lnTo>
                      <a:lnTo>
                        <a:pt x="156" y="312"/>
                      </a:lnTo>
                      <a:lnTo>
                        <a:pt x="168" y="312"/>
                      </a:lnTo>
                      <a:lnTo>
                        <a:pt x="180" y="306"/>
                      </a:lnTo>
                      <a:lnTo>
                        <a:pt x="186" y="300"/>
                      </a:lnTo>
                      <a:lnTo>
                        <a:pt x="186" y="318"/>
                      </a:lnTo>
                      <a:lnTo>
                        <a:pt x="180" y="318"/>
                      </a:lnTo>
                      <a:lnTo>
                        <a:pt x="168" y="330"/>
                      </a:lnTo>
                      <a:lnTo>
                        <a:pt x="156" y="336"/>
                      </a:lnTo>
                      <a:lnTo>
                        <a:pt x="156" y="360"/>
                      </a:lnTo>
                      <a:lnTo>
                        <a:pt x="162" y="372"/>
                      </a:lnTo>
                      <a:lnTo>
                        <a:pt x="168" y="366"/>
                      </a:lnTo>
                      <a:lnTo>
                        <a:pt x="198" y="366"/>
                      </a:lnTo>
                      <a:lnTo>
                        <a:pt x="210" y="360"/>
                      </a:lnTo>
                      <a:lnTo>
                        <a:pt x="216" y="354"/>
                      </a:lnTo>
                      <a:lnTo>
                        <a:pt x="198" y="372"/>
                      </a:lnTo>
                      <a:lnTo>
                        <a:pt x="210" y="402"/>
                      </a:lnTo>
                      <a:lnTo>
                        <a:pt x="204" y="408"/>
                      </a:lnTo>
                      <a:lnTo>
                        <a:pt x="198" y="420"/>
                      </a:lnTo>
                      <a:lnTo>
                        <a:pt x="186" y="426"/>
                      </a:lnTo>
                      <a:lnTo>
                        <a:pt x="180" y="438"/>
                      </a:lnTo>
                      <a:lnTo>
                        <a:pt x="180" y="450"/>
                      </a:lnTo>
                      <a:lnTo>
                        <a:pt x="186" y="456"/>
                      </a:lnTo>
                      <a:lnTo>
                        <a:pt x="204" y="456"/>
                      </a:lnTo>
                      <a:lnTo>
                        <a:pt x="216" y="450"/>
                      </a:lnTo>
                      <a:lnTo>
                        <a:pt x="240" y="450"/>
                      </a:lnTo>
                      <a:lnTo>
                        <a:pt x="252" y="444"/>
                      </a:lnTo>
                      <a:lnTo>
                        <a:pt x="258" y="438"/>
                      </a:lnTo>
                      <a:lnTo>
                        <a:pt x="270" y="432"/>
                      </a:lnTo>
                      <a:lnTo>
                        <a:pt x="300" y="438"/>
                      </a:lnTo>
                      <a:lnTo>
                        <a:pt x="288" y="444"/>
                      </a:lnTo>
                      <a:lnTo>
                        <a:pt x="264" y="468"/>
                      </a:lnTo>
                      <a:lnTo>
                        <a:pt x="264" y="474"/>
                      </a:lnTo>
                      <a:lnTo>
                        <a:pt x="282" y="492"/>
                      </a:lnTo>
                      <a:lnTo>
                        <a:pt x="294" y="492"/>
                      </a:lnTo>
                      <a:lnTo>
                        <a:pt x="300" y="498"/>
                      </a:lnTo>
                      <a:lnTo>
                        <a:pt x="306" y="498"/>
                      </a:lnTo>
                      <a:lnTo>
                        <a:pt x="312" y="516"/>
                      </a:lnTo>
                      <a:lnTo>
                        <a:pt x="294" y="534"/>
                      </a:lnTo>
                      <a:lnTo>
                        <a:pt x="294" y="564"/>
                      </a:lnTo>
                      <a:lnTo>
                        <a:pt x="222" y="564"/>
                      </a:lnTo>
                      <a:lnTo>
                        <a:pt x="216" y="558"/>
                      </a:lnTo>
                      <a:lnTo>
                        <a:pt x="198" y="558"/>
                      </a:lnTo>
                      <a:lnTo>
                        <a:pt x="192" y="564"/>
                      </a:lnTo>
                      <a:lnTo>
                        <a:pt x="210" y="582"/>
                      </a:lnTo>
                      <a:lnTo>
                        <a:pt x="186" y="600"/>
                      </a:lnTo>
                      <a:lnTo>
                        <a:pt x="228" y="594"/>
                      </a:lnTo>
                      <a:lnTo>
                        <a:pt x="228" y="618"/>
                      </a:lnTo>
                      <a:lnTo>
                        <a:pt x="216" y="642"/>
                      </a:lnTo>
                      <a:lnTo>
                        <a:pt x="210" y="648"/>
                      </a:lnTo>
                      <a:lnTo>
                        <a:pt x="198" y="654"/>
                      </a:lnTo>
                      <a:lnTo>
                        <a:pt x="180" y="660"/>
                      </a:lnTo>
                      <a:lnTo>
                        <a:pt x="168" y="666"/>
                      </a:lnTo>
                      <a:lnTo>
                        <a:pt x="162" y="666"/>
                      </a:lnTo>
                      <a:lnTo>
                        <a:pt x="162" y="690"/>
                      </a:lnTo>
                      <a:lnTo>
                        <a:pt x="168" y="696"/>
                      </a:lnTo>
                      <a:lnTo>
                        <a:pt x="174" y="696"/>
                      </a:lnTo>
                      <a:lnTo>
                        <a:pt x="180" y="690"/>
                      </a:lnTo>
                      <a:lnTo>
                        <a:pt x="192" y="684"/>
                      </a:lnTo>
                      <a:lnTo>
                        <a:pt x="198" y="678"/>
                      </a:lnTo>
                      <a:lnTo>
                        <a:pt x="204" y="684"/>
                      </a:lnTo>
                      <a:lnTo>
                        <a:pt x="204" y="690"/>
                      </a:lnTo>
                      <a:lnTo>
                        <a:pt x="210" y="696"/>
                      </a:lnTo>
                      <a:lnTo>
                        <a:pt x="234" y="696"/>
                      </a:lnTo>
                      <a:lnTo>
                        <a:pt x="240" y="702"/>
                      </a:lnTo>
                      <a:lnTo>
                        <a:pt x="252" y="708"/>
                      </a:lnTo>
                      <a:lnTo>
                        <a:pt x="258" y="708"/>
                      </a:lnTo>
                      <a:lnTo>
                        <a:pt x="276" y="702"/>
                      </a:lnTo>
                      <a:lnTo>
                        <a:pt x="288" y="696"/>
                      </a:lnTo>
                      <a:lnTo>
                        <a:pt x="294" y="690"/>
                      </a:lnTo>
                      <a:lnTo>
                        <a:pt x="318" y="690"/>
                      </a:lnTo>
                      <a:lnTo>
                        <a:pt x="312" y="696"/>
                      </a:lnTo>
                      <a:lnTo>
                        <a:pt x="300" y="702"/>
                      </a:lnTo>
                      <a:lnTo>
                        <a:pt x="294" y="714"/>
                      </a:lnTo>
                      <a:lnTo>
                        <a:pt x="282" y="720"/>
                      </a:lnTo>
                      <a:lnTo>
                        <a:pt x="276" y="726"/>
                      </a:lnTo>
                      <a:lnTo>
                        <a:pt x="210" y="726"/>
                      </a:lnTo>
                      <a:lnTo>
                        <a:pt x="210" y="738"/>
                      </a:lnTo>
                      <a:lnTo>
                        <a:pt x="198" y="738"/>
                      </a:lnTo>
                      <a:lnTo>
                        <a:pt x="186" y="744"/>
                      </a:lnTo>
                      <a:lnTo>
                        <a:pt x="180" y="750"/>
                      </a:lnTo>
                      <a:lnTo>
                        <a:pt x="180" y="768"/>
                      </a:lnTo>
                      <a:lnTo>
                        <a:pt x="174" y="774"/>
                      </a:lnTo>
                      <a:lnTo>
                        <a:pt x="144" y="774"/>
                      </a:lnTo>
                      <a:lnTo>
                        <a:pt x="144" y="780"/>
                      </a:lnTo>
                      <a:lnTo>
                        <a:pt x="138" y="786"/>
                      </a:lnTo>
                      <a:lnTo>
                        <a:pt x="138" y="792"/>
                      </a:lnTo>
                      <a:lnTo>
                        <a:pt x="126" y="804"/>
                      </a:lnTo>
                      <a:lnTo>
                        <a:pt x="114" y="810"/>
                      </a:lnTo>
                      <a:lnTo>
                        <a:pt x="108" y="810"/>
                      </a:lnTo>
                      <a:lnTo>
                        <a:pt x="108" y="816"/>
                      </a:lnTo>
                      <a:lnTo>
                        <a:pt x="114" y="816"/>
                      </a:lnTo>
                      <a:lnTo>
                        <a:pt x="120" y="822"/>
                      </a:lnTo>
                      <a:lnTo>
                        <a:pt x="150" y="822"/>
                      </a:lnTo>
                      <a:lnTo>
                        <a:pt x="156" y="810"/>
                      </a:lnTo>
                      <a:lnTo>
                        <a:pt x="174" y="792"/>
                      </a:lnTo>
                      <a:lnTo>
                        <a:pt x="210" y="792"/>
                      </a:lnTo>
                      <a:lnTo>
                        <a:pt x="216" y="798"/>
                      </a:lnTo>
                      <a:lnTo>
                        <a:pt x="228" y="804"/>
                      </a:lnTo>
                      <a:lnTo>
                        <a:pt x="240" y="804"/>
                      </a:lnTo>
                      <a:lnTo>
                        <a:pt x="246" y="792"/>
                      </a:lnTo>
                      <a:lnTo>
                        <a:pt x="252" y="786"/>
                      </a:lnTo>
                      <a:lnTo>
                        <a:pt x="258" y="774"/>
                      </a:lnTo>
                      <a:lnTo>
                        <a:pt x="270" y="762"/>
                      </a:lnTo>
                      <a:lnTo>
                        <a:pt x="288" y="762"/>
                      </a:lnTo>
                      <a:lnTo>
                        <a:pt x="300" y="774"/>
                      </a:lnTo>
                      <a:lnTo>
                        <a:pt x="330" y="774"/>
                      </a:lnTo>
                      <a:lnTo>
                        <a:pt x="354" y="762"/>
                      </a:lnTo>
                      <a:lnTo>
                        <a:pt x="360" y="762"/>
                      </a:lnTo>
                      <a:lnTo>
                        <a:pt x="366" y="768"/>
                      </a:lnTo>
                      <a:lnTo>
                        <a:pt x="378" y="768"/>
                      </a:lnTo>
                      <a:lnTo>
                        <a:pt x="390" y="774"/>
                      </a:lnTo>
                      <a:lnTo>
                        <a:pt x="396" y="774"/>
                      </a:lnTo>
                      <a:lnTo>
                        <a:pt x="396" y="768"/>
                      </a:lnTo>
                      <a:lnTo>
                        <a:pt x="390" y="762"/>
                      </a:lnTo>
                      <a:lnTo>
                        <a:pt x="390" y="750"/>
                      </a:lnTo>
                      <a:lnTo>
                        <a:pt x="396" y="750"/>
                      </a:lnTo>
                      <a:lnTo>
                        <a:pt x="408" y="756"/>
                      </a:lnTo>
                      <a:lnTo>
                        <a:pt x="414" y="762"/>
                      </a:lnTo>
                      <a:lnTo>
                        <a:pt x="426" y="756"/>
                      </a:lnTo>
                      <a:lnTo>
                        <a:pt x="498" y="756"/>
                      </a:lnTo>
                      <a:lnTo>
                        <a:pt x="522" y="750"/>
                      </a:lnTo>
                      <a:lnTo>
                        <a:pt x="534" y="744"/>
                      </a:lnTo>
                      <a:lnTo>
                        <a:pt x="540" y="732"/>
                      </a:lnTo>
                      <a:lnTo>
                        <a:pt x="546" y="726"/>
                      </a:lnTo>
                      <a:lnTo>
                        <a:pt x="552" y="714"/>
                      </a:lnTo>
                      <a:lnTo>
                        <a:pt x="498" y="708"/>
                      </a:lnTo>
                      <a:lnTo>
                        <a:pt x="522" y="702"/>
                      </a:lnTo>
                      <a:lnTo>
                        <a:pt x="516" y="684"/>
                      </a:lnTo>
                      <a:lnTo>
                        <a:pt x="528" y="672"/>
                      </a:lnTo>
                      <a:lnTo>
                        <a:pt x="540" y="666"/>
                      </a:lnTo>
                      <a:lnTo>
                        <a:pt x="546" y="666"/>
                      </a:lnTo>
                      <a:lnTo>
                        <a:pt x="558" y="660"/>
                      </a:lnTo>
                      <a:lnTo>
                        <a:pt x="564" y="654"/>
                      </a:lnTo>
                      <a:lnTo>
                        <a:pt x="576" y="618"/>
                      </a:lnTo>
                      <a:lnTo>
                        <a:pt x="570" y="606"/>
                      </a:lnTo>
                      <a:lnTo>
                        <a:pt x="564" y="600"/>
                      </a:lnTo>
                      <a:lnTo>
                        <a:pt x="552" y="594"/>
                      </a:lnTo>
                      <a:lnTo>
                        <a:pt x="540" y="594"/>
                      </a:lnTo>
                      <a:lnTo>
                        <a:pt x="528" y="588"/>
                      </a:lnTo>
                      <a:lnTo>
                        <a:pt x="504" y="588"/>
                      </a:lnTo>
                      <a:close/>
                      <a:moveTo>
                        <a:pt x="222" y="486"/>
                      </a:moveTo>
                      <a:lnTo>
                        <a:pt x="216" y="480"/>
                      </a:lnTo>
                      <a:lnTo>
                        <a:pt x="204" y="480"/>
                      </a:lnTo>
                      <a:lnTo>
                        <a:pt x="204" y="486"/>
                      </a:lnTo>
                      <a:lnTo>
                        <a:pt x="198" y="498"/>
                      </a:lnTo>
                      <a:lnTo>
                        <a:pt x="192" y="504"/>
                      </a:lnTo>
                      <a:lnTo>
                        <a:pt x="210" y="504"/>
                      </a:lnTo>
                      <a:lnTo>
                        <a:pt x="222" y="492"/>
                      </a:lnTo>
                      <a:lnTo>
                        <a:pt x="222" y="486"/>
                      </a:lnTo>
                      <a:close/>
                      <a:moveTo>
                        <a:pt x="126" y="504"/>
                      </a:moveTo>
                      <a:lnTo>
                        <a:pt x="132" y="498"/>
                      </a:lnTo>
                      <a:lnTo>
                        <a:pt x="132" y="492"/>
                      </a:lnTo>
                      <a:lnTo>
                        <a:pt x="144" y="492"/>
                      </a:lnTo>
                      <a:lnTo>
                        <a:pt x="150" y="480"/>
                      </a:lnTo>
                      <a:lnTo>
                        <a:pt x="156" y="474"/>
                      </a:lnTo>
                      <a:lnTo>
                        <a:pt x="156" y="462"/>
                      </a:lnTo>
                      <a:lnTo>
                        <a:pt x="138" y="444"/>
                      </a:lnTo>
                      <a:lnTo>
                        <a:pt x="138" y="432"/>
                      </a:lnTo>
                      <a:lnTo>
                        <a:pt x="132" y="438"/>
                      </a:lnTo>
                      <a:lnTo>
                        <a:pt x="126" y="426"/>
                      </a:lnTo>
                      <a:lnTo>
                        <a:pt x="120" y="420"/>
                      </a:lnTo>
                      <a:lnTo>
                        <a:pt x="78" y="420"/>
                      </a:lnTo>
                      <a:lnTo>
                        <a:pt x="72" y="426"/>
                      </a:lnTo>
                      <a:lnTo>
                        <a:pt x="30" y="450"/>
                      </a:lnTo>
                      <a:lnTo>
                        <a:pt x="30" y="462"/>
                      </a:lnTo>
                      <a:lnTo>
                        <a:pt x="24" y="462"/>
                      </a:lnTo>
                      <a:lnTo>
                        <a:pt x="18" y="468"/>
                      </a:lnTo>
                      <a:lnTo>
                        <a:pt x="12" y="468"/>
                      </a:lnTo>
                      <a:lnTo>
                        <a:pt x="0" y="480"/>
                      </a:lnTo>
                      <a:lnTo>
                        <a:pt x="6" y="486"/>
                      </a:lnTo>
                      <a:lnTo>
                        <a:pt x="30" y="498"/>
                      </a:lnTo>
                      <a:lnTo>
                        <a:pt x="42" y="498"/>
                      </a:lnTo>
                      <a:lnTo>
                        <a:pt x="66" y="474"/>
                      </a:lnTo>
                      <a:lnTo>
                        <a:pt x="84" y="498"/>
                      </a:lnTo>
                      <a:lnTo>
                        <a:pt x="120" y="504"/>
                      </a:lnTo>
                      <a:lnTo>
                        <a:pt x="126" y="504"/>
                      </a:lnTo>
                      <a:close/>
                      <a:moveTo>
                        <a:pt x="78" y="228"/>
                      </a:moveTo>
                      <a:lnTo>
                        <a:pt x="72" y="228"/>
                      </a:lnTo>
                      <a:lnTo>
                        <a:pt x="66" y="234"/>
                      </a:lnTo>
                      <a:lnTo>
                        <a:pt x="66" y="240"/>
                      </a:lnTo>
                      <a:lnTo>
                        <a:pt x="84" y="240"/>
                      </a:lnTo>
                      <a:lnTo>
                        <a:pt x="84" y="228"/>
                      </a:lnTo>
                      <a:lnTo>
                        <a:pt x="78" y="228"/>
                      </a:lnTo>
                      <a:close/>
                      <a:moveTo>
                        <a:pt x="108" y="210"/>
                      </a:moveTo>
                      <a:lnTo>
                        <a:pt x="126" y="210"/>
                      </a:lnTo>
                      <a:lnTo>
                        <a:pt x="132" y="204"/>
                      </a:lnTo>
                      <a:lnTo>
                        <a:pt x="132" y="198"/>
                      </a:lnTo>
                      <a:lnTo>
                        <a:pt x="138" y="186"/>
                      </a:lnTo>
                      <a:lnTo>
                        <a:pt x="150" y="174"/>
                      </a:lnTo>
                      <a:lnTo>
                        <a:pt x="150" y="168"/>
                      </a:lnTo>
                      <a:lnTo>
                        <a:pt x="138" y="174"/>
                      </a:lnTo>
                      <a:lnTo>
                        <a:pt x="132" y="174"/>
                      </a:lnTo>
                      <a:lnTo>
                        <a:pt x="114" y="192"/>
                      </a:lnTo>
                      <a:lnTo>
                        <a:pt x="108" y="186"/>
                      </a:lnTo>
                      <a:lnTo>
                        <a:pt x="96" y="186"/>
                      </a:lnTo>
                      <a:lnTo>
                        <a:pt x="90" y="192"/>
                      </a:lnTo>
                      <a:lnTo>
                        <a:pt x="90" y="210"/>
                      </a:lnTo>
                      <a:lnTo>
                        <a:pt x="96" y="216"/>
                      </a:lnTo>
                      <a:lnTo>
                        <a:pt x="96" y="228"/>
                      </a:lnTo>
                      <a:lnTo>
                        <a:pt x="108" y="210"/>
                      </a:lnTo>
                      <a:close/>
                      <a:moveTo>
                        <a:pt x="72" y="252"/>
                      </a:moveTo>
                      <a:lnTo>
                        <a:pt x="60" y="282"/>
                      </a:lnTo>
                      <a:lnTo>
                        <a:pt x="78" y="258"/>
                      </a:lnTo>
                      <a:lnTo>
                        <a:pt x="72" y="252"/>
                      </a:lnTo>
                      <a:close/>
                    </a:path>
                  </a:pathLst>
                </a:custGeom>
                <a:solidFill>
                  <a:schemeClr val="accent1"/>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331" name="United Arab Emirates"/>
                <p:cNvSpPr>
                  <a:spLocks/>
                </p:cNvSpPr>
                <p:nvPr/>
              </p:nvSpPr>
              <p:spPr bwMode="gray">
                <a:xfrm>
                  <a:off x="3573" y="1763"/>
                  <a:ext cx="86" cy="82"/>
                </a:xfrm>
                <a:custGeom>
                  <a:avLst/>
                  <a:gdLst>
                    <a:gd name="T0" fmla="*/ 2147483647 w 336"/>
                    <a:gd name="T1" fmla="*/ 2147483647 h 318"/>
                    <a:gd name="T2" fmla="*/ 2147483647 w 336"/>
                    <a:gd name="T3" fmla="*/ 2147483647 h 318"/>
                    <a:gd name="T4" fmla="*/ 2147483647 w 336"/>
                    <a:gd name="T5" fmla="*/ 2147483647 h 318"/>
                    <a:gd name="T6" fmla="*/ 2147483647 w 336"/>
                    <a:gd name="T7" fmla="*/ 2147483647 h 318"/>
                    <a:gd name="T8" fmla="*/ 2147483647 w 336"/>
                    <a:gd name="T9" fmla="*/ 2147483647 h 318"/>
                    <a:gd name="T10" fmla="*/ 2147483647 w 336"/>
                    <a:gd name="T11" fmla="*/ 0 h 318"/>
                    <a:gd name="T12" fmla="*/ 2147483647 w 336"/>
                    <a:gd name="T13" fmla="*/ 2147483647 h 318"/>
                    <a:gd name="T14" fmla="*/ 2147483647 w 336"/>
                    <a:gd name="T15" fmla="*/ 2147483647 h 318"/>
                    <a:gd name="T16" fmla="*/ 2147483647 w 336"/>
                    <a:gd name="T17" fmla="*/ 2147483647 h 318"/>
                    <a:gd name="T18" fmla="*/ 2147483647 w 336"/>
                    <a:gd name="T19" fmla="*/ 2147483647 h 318"/>
                    <a:gd name="T20" fmla="*/ 2147483647 w 336"/>
                    <a:gd name="T21" fmla="*/ 2147483647 h 318"/>
                    <a:gd name="T22" fmla="*/ 2147483647 w 336"/>
                    <a:gd name="T23" fmla="*/ 2147483647 h 318"/>
                    <a:gd name="T24" fmla="*/ 2147483647 w 336"/>
                    <a:gd name="T25" fmla="*/ 2147483647 h 318"/>
                    <a:gd name="T26" fmla="*/ 2147483647 w 336"/>
                    <a:gd name="T27" fmla="*/ 2147483647 h 318"/>
                    <a:gd name="T28" fmla="*/ 2147483647 w 336"/>
                    <a:gd name="T29" fmla="*/ 2147483647 h 318"/>
                    <a:gd name="T30" fmla="*/ 2147483647 w 336"/>
                    <a:gd name="T31" fmla="*/ 2147483647 h 318"/>
                    <a:gd name="T32" fmla="*/ 2147483647 w 336"/>
                    <a:gd name="T33" fmla="*/ 2147483647 h 318"/>
                    <a:gd name="T34" fmla="*/ 2147483647 w 336"/>
                    <a:gd name="T35" fmla="*/ 2147483647 h 318"/>
                    <a:gd name="T36" fmla="*/ 0 w 336"/>
                    <a:gd name="T37" fmla="*/ 2147483647 h 318"/>
                    <a:gd name="T38" fmla="*/ 2147483647 w 336"/>
                    <a:gd name="T39" fmla="*/ 2147483647 h 318"/>
                    <a:gd name="T40" fmla="*/ 2147483647 w 336"/>
                    <a:gd name="T41" fmla="*/ 2147483647 h 318"/>
                    <a:gd name="T42" fmla="*/ 2147483647 w 336"/>
                    <a:gd name="T43" fmla="*/ 2147483647 h 318"/>
                    <a:gd name="T44" fmla="*/ 2147483647 w 336"/>
                    <a:gd name="T45" fmla="*/ 2147483647 h 318"/>
                    <a:gd name="T46" fmla="*/ 2147483647 w 336"/>
                    <a:gd name="T47" fmla="*/ 2147483647 h 318"/>
                    <a:gd name="T48" fmla="*/ 2147483647 w 336"/>
                    <a:gd name="T49" fmla="*/ 2147483647 h 318"/>
                    <a:gd name="T50" fmla="*/ 2147483647 w 336"/>
                    <a:gd name="T51" fmla="*/ 2147483647 h 318"/>
                    <a:gd name="T52" fmla="*/ 2147483647 w 336"/>
                    <a:gd name="T53" fmla="*/ 2147483647 h 318"/>
                    <a:gd name="T54" fmla="*/ 2147483647 w 336"/>
                    <a:gd name="T55" fmla="*/ 2147483647 h 318"/>
                    <a:gd name="T56" fmla="*/ 2147483647 w 336"/>
                    <a:gd name="T57" fmla="*/ 2147483647 h 318"/>
                    <a:gd name="T58" fmla="*/ 2147483647 w 336"/>
                    <a:gd name="T59" fmla="*/ 2147483647 h 318"/>
                    <a:gd name="T60" fmla="*/ 2147483647 w 336"/>
                    <a:gd name="T61" fmla="*/ 2147483647 h 318"/>
                    <a:gd name="T62" fmla="*/ 2147483647 w 336"/>
                    <a:gd name="T63" fmla="*/ 2147483647 h 318"/>
                    <a:gd name="T64" fmla="*/ 2147483647 w 336"/>
                    <a:gd name="T65" fmla="*/ 2147483647 h 318"/>
                    <a:gd name="T66" fmla="*/ 2147483647 w 336"/>
                    <a:gd name="T67" fmla="*/ 2147483647 h 318"/>
                    <a:gd name="T68" fmla="*/ 2147483647 w 336"/>
                    <a:gd name="T69" fmla="*/ 2147483647 h 31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36"/>
                    <a:gd name="T106" fmla="*/ 0 h 318"/>
                    <a:gd name="T107" fmla="*/ 336 w 336"/>
                    <a:gd name="T108" fmla="*/ 318 h 31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36" h="318">
                      <a:moveTo>
                        <a:pt x="300" y="120"/>
                      </a:moveTo>
                      <a:lnTo>
                        <a:pt x="306" y="120"/>
                      </a:lnTo>
                      <a:lnTo>
                        <a:pt x="306" y="126"/>
                      </a:lnTo>
                      <a:lnTo>
                        <a:pt x="312" y="138"/>
                      </a:lnTo>
                      <a:lnTo>
                        <a:pt x="336" y="132"/>
                      </a:lnTo>
                      <a:lnTo>
                        <a:pt x="330" y="120"/>
                      </a:lnTo>
                      <a:lnTo>
                        <a:pt x="324" y="102"/>
                      </a:lnTo>
                      <a:lnTo>
                        <a:pt x="324" y="60"/>
                      </a:lnTo>
                      <a:lnTo>
                        <a:pt x="330" y="42"/>
                      </a:lnTo>
                      <a:lnTo>
                        <a:pt x="330" y="6"/>
                      </a:lnTo>
                      <a:lnTo>
                        <a:pt x="324" y="0"/>
                      </a:lnTo>
                      <a:lnTo>
                        <a:pt x="318" y="0"/>
                      </a:lnTo>
                      <a:lnTo>
                        <a:pt x="312" y="6"/>
                      </a:lnTo>
                      <a:lnTo>
                        <a:pt x="306" y="18"/>
                      </a:lnTo>
                      <a:lnTo>
                        <a:pt x="300" y="36"/>
                      </a:lnTo>
                      <a:lnTo>
                        <a:pt x="288" y="60"/>
                      </a:lnTo>
                      <a:lnTo>
                        <a:pt x="282" y="66"/>
                      </a:lnTo>
                      <a:lnTo>
                        <a:pt x="282" y="72"/>
                      </a:lnTo>
                      <a:lnTo>
                        <a:pt x="276" y="72"/>
                      </a:lnTo>
                      <a:lnTo>
                        <a:pt x="264" y="78"/>
                      </a:lnTo>
                      <a:lnTo>
                        <a:pt x="234" y="108"/>
                      </a:lnTo>
                      <a:lnTo>
                        <a:pt x="228" y="120"/>
                      </a:lnTo>
                      <a:lnTo>
                        <a:pt x="216" y="132"/>
                      </a:lnTo>
                      <a:lnTo>
                        <a:pt x="204" y="138"/>
                      </a:lnTo>
                      <a:lnTo>
                        <a:pt x="198" y="150"/>
                      </a:lnTo>
                      <a:lnTo>
                        <a:pt x="198" y="168"/>
                      </a:lnTo>
                      <a:lnTo>
                        <a:pt x="192" y="180"/>
                      </a:lnTo>
                      <a:lnTo>
                        <a:pt x="192" y="186"/>
                      </a:lnTo>
                      <a:lnTo>
                        <a:pt x="186" y="192"/>
                      </a:lnTo>
                      <a:lnTo>
                        <a:pt x="150" y="192"/>
                      </a:lnTo>
                      <a:lnTo>
                        <a:pt x="132" y="186"/>
                      </a:lnTo>
                      <a:lnTo>
                        <a:pt x="90" y="186"/>
                      </a:lnTo>
                      <a:lnTo>
                        <a:pt x="72" y="192"/>
                      </a:lnTo>
                      <a:lnTo>
                        <a:pt x="48" y="204"/>
                      </a:lnTo>
                      <a:lnTo>
                        <a:pt x="24" y="204"/>
                      </a:lnTo>
                      <a:lnTo>
                        <a:pt x="12" y="192"/>
                      </a:lnTo>
                      <a:lnTo>
                        <a:pt x="0" y="186"/>
                      </a:lnTo>
                      <a:lnTo>
                        <a:pt x="0" y="198"/>
                      </a:lnTo>
                      <a:lnTo>
                        <a:pt x="18" y="216"/>
                      </a:lnTo>
                      <a:lnTo>
                        <a:pt x="30" y="240"/>
                      </a:lnTo>
                      <a:lnTo>
                        <a:pt x="54" y="264"/>
                      </a:lnTo>
                      <a:lnTo>
                        <a:pt x="60" y="276"/>
                      </a:lnTo>
                      <a:lnTo>
                        <a:pt x="72" y="282"/>
                      </a:lnTo>
                      <a:lnTo>
                        <a:pt x="78" y="294"/>
                      </a:lnTo>
                      <a:lnTo>
                        <a:pt x="96" y="294"/>
                      </a:lnTo>
                      <a:lnTo>
                        <a:pt x="132" y="300"/>
                      </a:lnTo>
                      <a:lnTo>
                        <a:pt x="228" y="312"/>
                      </a:lnTo>
                      <a:lnTo>
                        <a:pt x="270" y="318"/>
                      </a:lnTo>
                      <a:lnTo>
                        <a:pt x="264" y="306"/>
                      </a:lnTo>
                      <a:lnTo>
                        <a:pt x="258" y="300"/>
                      </a:lnTo>
                      <a:lnTo>
                        <a:pt x="252" y="288"/>
                      </a:lnTo>
                      <a:lnTo>
                        <a:pt x="252" y="276"/>
                      </a:lnTo>
                      <a:lnTo>
                        <a:pt x="258" y="270"/>
                      </a:lnTo>
                      <a:lnTo>
                        <a:pt x="264" y="258"/>
                      </a:lnTo>
                      <a:lnTo>
                        <a:pt x="270" y="252"/>
                      </a:lnTo>
                      <a:lnTo>
                        <a:pt x="276" y="240"/>
                      </a:lnTo>
                      <a:lnTo>
                        <a:pt x="276" y="228"/>
                      </a:lnTo>
                      <a:lnTo>
                        <a:pt x="282" y="216"/>
                      </a:lnTo>
                      <a:lnTo>
                        <a:pt x="282" y="204"/>
                      </a:lnTo>
                      <a:lnTo>
                        <a:pt x="288" y="198"/>
                      </a:lnTo>
                      <a:lnTo>
                        <a:pt x="288" y="192"/>
                      </a:lnTo>
                      <a:lnTo>
                        <a:pt x="300" y="192"/>
                      </a:lnTo>
                      <a:lnTo>
                        <a:pt x="300" y="198"/>
                      </a:lnTo>
                      <a:lnTo>
                        <a:pt x="306" y="198"/>
                      </a:lnTo>
                      <a:lnTo>
                        <a:pt x="306" y="192"/>
                      </a:lnTo>
                      <a:lnTo>
                        <a:pt x="288" y="174"/>
                      </a:lnTo>
                      <a:lnTo>
                        <a:pt x="288" y="144"/>
                      </a:lnTo>
                      <a:lnTo>
                        <a:pt x="294" y="132"/>
                      </a:lnTo>
                      <a:lnTo>
                        <a:pt x="294" y="126"/>
                      </a:lnTo>
                      <a:lnTo>
                        <a:pt x="300" y="12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534" name="Ukraine"/>
                <p:cNvSpPr>
                  <a:spLocks/>
                </p:cNvSpPr>
                <p:nvPr/>
              </p:nvSpPr>
              <p:spPr bwMode="gray">
                <a:xfrm>
                  <a:off x="3029" y="1237"/>
                  <a:ext cx="286" cy="160"/>
                </a:xfrm>
                <a:custGeom>
                  <a:avLst/>
                  <a:gdLst>
                    <a:gd name="T0" fmla="*/ 2147483647 w 1116"/>
                    <a:gd name="T1" fmla="*/ 2147483647 h 624"/>
                    <a:gd name="T2" fmla="*/ 2147483647 w 1116"/>
                    <a:gd name="T3" fmla="*/ 2147483647 h 624"/>
                    <a:gd name="T4" fmla="*/ 2147483647 w 1116"/>
                    <a:gd name="T5" fmla="*/ 2147483647 h 624"/>
                    <a:gd name="T6" fmla="*/ 2147483647 w 1116"/>
                    <a:gd name="T7" fmla="*/ 2147483647 h 624"/>
                    <a:gd name="T8" fmla="*/ 2147483647 w 1116"/>
                    <a:gd name="T9" fmla="*/ 2147483647 h 624"/>
                    <a:gd name="T10" fmla="*/ 2147483647 w 1116"/>
                    <a:gd name="T11" fmla="*/ 2147483647 h 624"/>
                    <a:gd name="T12" fmla="*/ 2147483647 w 1116"/>
                    <a:gd name="T13" fmla="*/ 2147483647 h 624"/>
                    <a:gd name="T14" fmla="*/ 2147483647 w 1116"/>
                    <a:gd name="T15" fmla="*/ 2147483647 h 624"/>
                    <a:gd name="T16" fmla="*/ 2147483647 w 1116"/>
                    <a:gd name="T17" fmla="*/ 2147483647 h 624"/>
                    <a:gd name="T18" fmla="*/ 2147483647 w 1116"/>
                    <a:gd name="T19" fmla="*/ 2147483647 h 624"/>
                    <a:gd name="T20" fmla="*/ 2147483647 w 1116"/>
                    <a:gd name="T21" fmla="*/ 2147483647 h 624"/>
                    <a:gd name="T22" fmla="*/ 2147483647 w 1116"/>
                    <a:gd name="T23" fmla="*/ 2147483647 h 624"/>
                    <a:gd name="T24" fmla="*/ 2147483647 w 1116"/>
                    <a:gd name="T25" fmla="*/ 2147483647 h 624"/>
                    <a:gd name="T26" fmla="*/ 2147483647 w 1116"/>
                    <a:gd name="T27" fmla="*/ 2147483647 h 624"/>
                    <a:gd name="T28" fmla="*/ 2147483647 w 1116"/>
                    <a:gd name="T29" fmla="*/ 2147483647 h 624"/>
                    <a:gd name="T30" fmla="*/ 2147483647 w 1116"/>
                    <a:gd name="T31" fmla="*/ 2147483647 h 624"/>
                    <a:gd name="T32" fmla="*/ 2147483647 w 1116"/>
                    <a:gd name="T33" fmla="*/ 2147483647 h 624"/>
                    <a:gd name="T34" fmla="*/ 2147483647 w 1116"/>
                    <a:gd name="T35" fmla="*/ 2147483647 h 624"/>
                    <a:gd name="T36" fmla="*/ 2147483647 w 1116"/>
                    <a:gd name="T37" fmla="*/ 2147483647 h 624"/>
                    <a:gd name="T38" fmla="*/ 2147483647 w 1116"/>
                    <a:gd name="T39" fmla="*/ 2147483647 h 624"/>
                    <a:gd name="T40" fmla="*/ 2147483647 w 1116"/>
                    <a:gd name="T41" fmla="*/ 2147483647 h 624"/>
                    <a:gd name="T42" fmla="*/ 2147483647 w 1116"/>
                    <a:gd name="T43" fmla="*/ 2147483647 h 624"/>
                    <a:gd name="T44" fmla="*/ 2147483647 w 1116"/>
                    <a:gd name="T45" fmla="*/ 2147483647 h 624"/>
                    <a:gd name="T46" fmla="*/ 2147483647 w 1116"/>
                    <a:gd name="T47" fmla="*/ 2147483647 h 624"/>
                    <a:gd name="T48" fmla="*/ 2147483647 w 1116"/>
                    <a:gd name="T49" fmla="*/ 2147483647 h 624"/>
                    <a:gd name="T50" fmla="*/ 2147483647 w 1116"/>
                    <a:gd name="T51" fmla="*/ 2147483647 h 624"/>
                    <a:gd name="T52" fmla="*/ 2147483647 w 1116"/>
                    <a:gd name="T53" fmla="*/ 2147483647 h 624"/>
                    <a:gd name="T54" fmla="*/ 2147483647 w 1116"/>
                    <a:gd name="T55" fmla="*/ 2147483647 h 624"/>
                    <a:gd name="T56" fmla="*/ 2147483647 w 1116"/>
                    <a:gd name="T57" fmla="*/ 2147483647 h 624"/>
                    <a:gd name="T58" fmla="*/ 2147483647 w 1116"/>
                    <a:gd name="T59" fmla="*/ 2147483647 h 624"/>
                    <a:gd name="T60" fmla="*/ 2147483647 w 1116"/>
                    <a:gd name="T61" fmla="*/ 2147483647 h 624"/>
                    <a:gd name="T62" fmla="*/ 2147483647 w 1116"/>
                    <a:gd name="T63" fmla="*/ 2147483647 h 624"/>
                    <a:gd name="T64" fmla="*/ 2147483647 w 1116"/>
                    <a:gd name="T65" fmla="*/ 2147483647 h 624"/>
                    <a:gd name="T66" fmla="*/ 2147483647 w 1116"/>
                    <a:gd name="T67" fmla="*/ 2147483647 h 624"/>
                    <a:gd name="T68" fmla="*/ 2147483647 w 1116"/>
                    <a:gd name="T69" fmla="*/ 2147483647 h 624"/>
                    <a:gd name="T70" fmla="*/ 2147483647 w 1116"/>
                    <a:gd name="T71" fmla="*/ 2147483647 h 624"/>
                    <a:gd name="T72" fmla="*/ 2147483647 w 1116"/>
                    <a:gd name="T73" fmla="*/ 2147483647 h 624"/>
                    <a:gd name="T74" fmla="*/ 2147483647 w 1116"/>
                    <a:gd name="T75" fmla="*/ 2147483647 h 624"/>
                    <a:gd name="T76" fmla="*/ 2147483647 w 1116"/>
                    <a:gd name="T77" fmla="*/ 2147483647 h 624"/>
                    <a:gd name="T78" fmla="*/ 2147483647 w 1116"/>
                    <a:gd name="T79" fmla="*/ 2147483647 h 624"/>
                    <a:gd name="T80" fmla="*/ 2147483647 w 1116"/>
                    <a:gd name="T81" fmla="*/ 2147483647 h 624"/>
                    <a:gd name="T82" fmla="*/ 2147483647 w 1116"/>
                    <a:gd name="T83" fmla="*/ 2147483647 h 624"/>
                    <a:gd name="T84" fmla="*/ 2147483647 w 1116"/>
                    <a:gd name="T85" fmla="*/ 2147483647 h 624"/>
                    <a:gd name="T86" fmla="*/ 2147483647 w 1116"/>
                    <a:gd name="T87" fmla="*/ 2147483647 h 624"/>
                    <a:gd name="T88" fmla="*/ 2147483647 w 1116"/>
                    <a:gd name="T89" fmla="*/ 0 h 624"/>
                    <a:gd name="T90" fmla="*/ 2147483647 w 1116"/>
                    <a:gd name="T91" fmla="*/ 2147483647 h 624"/>
                    <a:gd name="T92" fmla="*/ 2147483647 w 1116"/>
                    <a:gd name="T93" fmla="*/ 2147483647 h 624"/>
                    <a:gd name="T94" fmla="*/ 2147483647 w 1116"/>
                    <a:gd name="T95" fmla="*/ 2147483647 h 624"/>
                    <a:gd name="T96" fmla="*/ 2147483647 w 1116"/>
                    <a:gd name="T97" fmla="*/ 2147483647 h 624"/>
                    <a:gd name="T98" fmla="*/ 2147483647 w 1116"/>
                    <a:gd name="T99" fmla="*/ 2147483647 h 624"/>
                    <a:gd name="T100" fmla="*/ 2147483647 w 1116"/>
                    <a:gd name="T101" fmla="*/ 2147483647 h 624"/>
                    <a:gd name="T102" fmla="*/ 2147483647 w 1116"/>
                    <a:gd name="T103" fmla="*/ 2147483647 h 624"/>
                    <a:gd name="T104" fmla="*/ 2147483647 w 1116"/>
                    <a:gd name="T105" fmla="*/ 2147483647 h 624"/>
                    <a:gd name="T106" fmla="*/ 2147483647 w 1116"/>
                    <a:gd name="T107" fmla="*/ 2147483647 h 624"/>
                    <a:gd name="T108" fmla="*/ 2147483647 w 1116"/>
                    <a:gd name="T109" fmla="*/ 2147483647 h 624"/>
                    <a:gd name="T110" fmla="*/ 2147483647 w 1116"/>
                    <a:gd name="T111" fmla="*/ 2147483647 h 624"/>
                    <a:gd name="T112" fmla="*/ 2147483647 w 1116"/>
                    <a:gd name="T113" fmla="*/ 2147483647 h 624"/>
                    <a:gd name="T114" fmla="*/ 2147483647 w 1116"/>
                    <a:gd name="T115" fmla="*/ 2147483647 h 624"/>
                    <a:gd name="T116" fmla="*/ 2147483647 w 1116"/>
                    <a:gd name="T117" fmla="*/ 2147483647 h 62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116"/>
                    <a:gd name="T178" fmla="*/ 0 h 624"/>
                    <a:gd name="T179" fmla="*/ 1116 w 1116"/>
                    <a:gd name="T180" fmla="*/ 624 h 62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116" h="624">
                      <a:moveTo>
                        <a:pt x="24" y="324"/>
                      </a:moveTo>
                      <a:lnTo>
                        <a:pt x="30" y="324"/>
                      </a:lnTo>
                      <a:lnTo>
                        <a:pt x="36" y="330"/>
                      </a:lnTo>
                      <a:lnTo>
                        <a:pt x="48" y="330"/>
                      </a:lnTo>
                      <a:lnTo>
                        <a:pt x="54" y="336"/>
                      </a:lnTo>
                      <a:lnTo>
                        <a:pt x="78" y="336"/>
                      </a:lnTo>
                      <a:lnTo>
                        <a:pt x="84" y="342"/>
                      </a:lnTo>
                      <a:lnTo>
                        <a:pt x="108" y="342"/>
                      </a:lnTo>
                      <a:lnTo>
                        <a:pt x="114" y="348"/>
                      </a:lnTo>
                      <a:lnTo>
                        <a:pt x="126" y="342"/>
                      </a:lnTo>
                      <a:lnTo>
                        <a:pt x="132" y="342"/>
                      </a:lnTo>
                      <a:lnTo>
                        <a:pt x="144" y="336"/>
                      </a:lnTo>
                      <a:lnTo>
                        <a:pt x="150" y="336"/>
                      </a:lnTo>
                      <a:lnTo>
                        <a:pt x="174" y="360"/>
                      </a:lnTo>
                      <a:lnTo>
                        <a:pt x="186" y="360"/>
                      </a:lnTo>
                      <a:lnTo>
                        <a:pt x="198" y="348"/>
                      </a:lnTo>
                      <a:lnTo>
                        <a:pt x="198" y="342"/>
                      </a:lnTo>
                      <a:lnTo>
                        <a:pt x="222" y="348"/>
                      </a:lnTo>
                      <a:lnTo>
                        <a:pt x="228" y="336"/>
                      </a:lnTo>
                      <a:lnTo>
                        <a:pt x="234" y="342"/>
                      </a:lnTo>
                      <a:lnTo>
                        <a:pt x="252" y="342"/>
                      </a:lnTo>
                      <a:lnTo>
                        <a:pt x="258" y="336"/>
                      </a:lnTo>
                      <a:lnTo>
                        <a:pt x="258" y="330"/>
                      </a:lnTo>
                      <a:lnTo>
                        <a:pt x="270" y="318"/>
                      </a:lnTo>
                      <a:lnTo>
                        <a:pt x="282" y="318"/>
                      </a:lnTo>
                      <a:lnTo>
                        <a:pt x="288" y="306"/>
                      </a:lnTo>
                      <a:lnTo>
                        <a:pt x="294" y="306"/>
                      </a:lnTo>
                      <a:lnTo>
                        <a:pt x="306" y="312"/>
                      </a:lnTo>
                      <a:lnTo>
                        <a:pt x="318" y="312"/>
                      </a:lnTo>
                      <a:lnTo>
                        <a:pt x="318" y="306"/>
                      </a:lnTo>
                      <a:lnTo>
                        <a:pt x="324" y="306"/>
                      </a:lnTo>
                      <a:lnTo>
                        <a:pt x="336" y="300"/>
                      </a:lnTo>
                      <a:lnTo>
                        <a:pt x="342" y="300"/>
                      </a:lnTo>
                      <a:lnTo>
                        <a:pt x="354" y="312"/>
                      </a:lnTo>
                      <a:lnTo>
                        <a:pt x="360" y="312"/>
                      </a:lnTo>
                      <a:lnTo>
                        <a:pt x="360" y="318"/>
                      </a:lnTo>
                      <a:lnTo>
                        <a:pt x="402" y="318"/>
                      </a:lnTo>
                      <a:lnTo>
                        <a:pt x="408" y="324"/>
                      </a:lnTo>
                      <a:lnTo>
                        <a:pt x="408" y="336"/>
                      </a:lnTo>
                      <a:lnTo>
                        <a:pt x="426" y="336"/>
                      </a:lnTo>
                      <a:lnTo>
                        <a:pt x="438" y="342"/>
                      </a:lnTo>
                      <a:lnTo>
                        <a:pt x="444" y="348"/>
                      </a:lnTo>
                      <a:lnTo>
                        <a:pt x="450" y="360"/>
                      </a:lnTo>
                      <a:lnTo>
                        <a:pt x="444" y="366"/>
                      </a:lnTo>
                      <a:lnTo>
                        <a:pt x="444" y="390"/>
                      </a:lnTo>
                      <a:lnTo>
                        <a:pt x="456" y="384"/>
                      </a:lnTo>
                      <a:lnTo>
                        <a:pt x="462" y="384"/>
                      </a:lnTo>
                      <a:lnTo>
                        <a:pt x="468" y="390"/>
                      </a:lnTo>
                      <a:lnTo>
                        <a:pt x="462" y="396"/>
                      </a:lnTo>
                      <a:lnTo>
                        <a:pt x="462" y="414"/>
                      </a:lnTo>
                      <a:lnTo>
                        <a:pt x="474" y="414"/>
                      </a:lnTo>
                      <a:lnTo>
                        <a:pt x="480" y="420"/>
                      </a:lnTo>
                      <a:lnTo>
                        <a:pt x="492" y="420"/>
                      </a:lnTo>
                      <a:lnTo>
                        <a:pt x="498" y="426"/>
                      </a:lnTo>
                      <a:lnTo>
                        <a:pt x="498" y="456"/>
                      </a:lnTo>
                      <a:lnTo>
                        <a:pt x="492" y="456"/>
                      </a:lnTo>
                      <a:lnTo>
                        <a:pt x="480" y="462"/>
                      </a:lnTo>
                      <a:lnTo>
                        <a:pt x="462" y="462"/>
                      </a:lnTo>
                      <a:lnTo>
                        <a:pt x="456" y="456"/>
                      </a:lnTo>
                      <a:lnTo>
                        <a:pt x="438" y="456"/>
                      </a:lnTo>
                      <a:lnTo>
                        <a:pt x="432" y="462"/>
                      </a:lnTo>
                      <a:lnTo>
                        <a:pt x="432" y="468"/>
                      </a:lnTo>
                      <a:lnTo>
                        <a:pt x="438" y="468"/>
                      </a:lnTo>
                      <a:lnTo>
                        <a:pt x="450" y="474"/>
                      </a:lnTo>
                      <a:lnTo>
                        <a:pt x="456" y="480"/>
                      </a:lnTo>
                      <a:lnTo>
                        <a:pt x="438" y="492"/>
                      </a:lnTo>
                      <a:lnTo>
                        <a:pt x="432" y="498"/>
                      </a:lnTo>
                      <a:lnTo>
                        <a:pt x="420" y="504"/>
                      </a:lnTo>
                      <a:lnTo>
                        <a:pt x="414" y="504"/>
                      </a:lnTo>
                      <a:lnTo>
                        <a:pt x="414" y="516"/>
                      </a:lnTo>
                      <a:lnTo>
                        <a:pt x="420" y="522"/>
                      </a:lnTo>
                      <a:lnTo>
                        <a:pt x="420" y="534"/>
                      </a:lnTo>
                      <a:lnTo>
                        <a:pt x="396" y="540"/>
                      </a:lnTo>
                      <a:lnTo>
                        <a:pt x="390" y="528"/>
                      </a:lnTo>
                      <a:lnTo>
                        <a:pt x="390" y="516"/>
                      </a:lnTo>
                      <a:lnTo>
                        <a:pt x="390" y="528"/>
                      </a:lnTo>
                      <a:lnTo>
                        <a:pt x="396" y="540"/>
                      </a:lnTo>
                      <a:lnTo>
                        <a:pt x="396" y="546"/>
                      </a:lnTo>
                      <a:lnTo>
                        <a:pt x="408" y="552"/>
                      </a:lnTo>
                      <a:lnTo>
                        <a:pt x="438" y="552"/>
                      </a:lnTo>
                      <a:lnTo>
                        <a:pt x="444" y="546"/>
                      </a:lnTo>
                      <a:lnTo>
                        <a:pt x="450" y="546"/>
                      </a:lnTo>
                      <a:lnTo>
                        <a:pt x="456" y="540"/>
                      </a:lnTo>
                      <a:lnTo>
                        <a:pt x="474" y="540"/>
                      </a:lnTo>
                      <a:lnTo>
                        <a:pt x="480" y="534"/>
                      </a:lnTo>
                      <a:lnTo>
                        <a:pt x="486" y="534"/>
                      </a:lnTo>
                      <a:lnTo>
                        <a:pt x="480" y="528"/>
                      </a:lnTo>
                      <a:lnTo>
                        <a:pt x="486" y="528"/>
                      </a:lnTo>
                      <a:lnTo>
                        <a:pt x="492" y="522"/>
                      </a:lnTo>
                      <a:lnTo>
                        <a:pt x="510" y="516"/>
                      </a:lnTo>
                      <a:lnTo>
                        <a:pt x="522" y="510"/>
                      </a:lnTo>
                      <a:lnTo>
                        <a:pt x="528" y="504"/>
                      </a:lnTo>
                      <a:lnTo>
                        <a:pt x="534" y="492"/>
                      </a:lnTo>
                      <a:lnTo>
                        <a:pt x="540" y="486"/>
                      </a:lnTo>
                      <a:lnTo>
                        <a:pt x="546" y="474"/>
                      </a:lnTo>
                      <a:lnTo>
                        <a:pt x="552" y="468"/>
                      </a:lnTo>
                      <a:lnTo>
                        <a:pt x="552" y="462"/>
                      </a:lnTo>
                      <a:lnTo>
                        <a:pt x="582" y="450"/>
                      </a:lnTo>
                      <a:lnTo>
                        <a:pt x="600" y="438"/>
                      </a:lnTo>
                      <a:lnTo>
                        <a:pt x="612" y="444"/>
                      </a:lnTo>
                      <a:lnTo>
                        <a:pt x="624" y="444"/>
                      </a:lnTo>
                      <a:lnTo>
                        <a:pt x="636" y="450"/>
                      </a:lnTo>
                      <a:lnTo>
                        <a:pt x="654" y="450"/>
                      </a:lnTo>
                      <a:lnTo>
                        <a:pt x="666" y="438"/>
                      </a:lnTo>
                      <a:lnTo>
                        <a:pt x="648" y="462"/>
                      </a:lnTo>
                      <a:lnTo>
                        <a:pt x="624" y="462"/>
                      </a:lnTo>
                      <a:lnTo>
                        <a:pt x="630" y="468"/>
                      </a:lnTo>
                      <a:lnTo>
                        <a:pt x="642" y="474"/>
                      </a:lnTo>
                      <a:lnTo>
                        <a:pt x="654" y="486"/>
                      </a:lnTo>
                      <a:lnTo>
                        <a:pt x="726" y="486"/>
                      </a:lnTo>
                      <a:lnTo>
                        <a:pt x="738" y="504"/>
                      </a:lnTo>
                      <a:lnTo>
                        <a:pt x="726" y="510"/>
                      </a:lnTo>
                      <a:lnTo>
                        <a:pt x="720" y="516"/>
                      </a:lnTo>
                      <a:lnTo>
                        <a:pt x="684" y="534"/>
                      </a:lnTo>
                      <a:lnTo>
                        <a:pt x="678" y="540"/>
                      </a:lnTo>
                      <a:lnTo>
                        <a:pt x="678" y="546"/>
                      </a:lnTo>
                      <a:lnTo>
                        <a:pt x="684" y="546"/>
                      </a:lnTo>
                      <a:lnTo>
                        <a:pt x="690" y="552"/>
                      </a:lnTo>
                      <a:lnTo>
                        <a:pt x="720" y="552"/>
                      </a:lnTo>
                      <a:lnTo>
                        <a:pt x="732" y="558"/>
                      </a:lnTo>
                      <a:lnTo>
                        <a:pt x="744" y="570"/>
                      </a:lnTo>
                      <a:lnTo>
                        <a:pt x="744" y="594"/>
                      </a:lnTo>
                      <a:lnTo>
                        <a:pt x="738" y="606"/>
                      </a:lnTo>
                      <a:lnTo>
                        <a:pt x="738" y="618"/>
                      </a:lnTo>
                      <a:lnTo>
                        <a:pt x="756" y="618"/>
                      </a:lnTo>
                      <a:lnTo>
                        <a:pt x="768" y="624"/>
                      </a:lnTo>
                      <a:lnTo>
                        <a:pt x="780" y="624"/>
                      </a:lnTo>
                      <a:lnTo>
                        <a:pt x="780" y="618"/>
                      </a:lnTo>
                      <a:lnTo>
                        <a:pt x="792" y="606"/>
                      </a:lnTo>
                      <a:lnTo>
                        <a:pt x="804" y="600"/>
                      </a:lnTo>
                      <a:lnTo>
                        <a:pt x="810" y="594"/>
                      </a:lnTo>
                      <a:lnTo>
                        <a:pt x="840" y="594"/>
                      </a:lnTo>
                      <a:lnTo>
                        <a:pt x="858" y="576"/>
                      </a:lnTo>
                      <a:lnTo>
                        <a:pt x="858" y="570"/>
                      </a:lnTo>
                      <a:lnTo>
                        <a:pt x="864" y="564"/>
                      </a:lnTo>
                      <a:lnTo>
                        <a:pt x="870" y="564"/>
                      </a:lnTo>
                      <a:lnTo>
                        <a:pt x="882" y="576"/>
                      </a:lnTo>
                      <a:lnTo>
                        <a:pt x="918" y="570"/>
                      </a:lnTo>
                      <a:lnTo>
                        <a:pt x="918" y="552"/>
                      </a:lnTo>
                      <a:lnTo>
                        <a:pt x="930" y="540"/>
                      </a:lnTo>
                      <a:lnTo>
                        <a:pt x="900" y="540"/>
                      </a:lnTo>
                      <a:lnTo>
                        <a:pt x="894" y="546"/>
                      </a:lnTo>
                      <a:lnTo>
                        <a:pt x="882" y="552"/>
                      </a:lnTo>
                      <a:lnTo>
                        <a:pt x="852" y="552"/>
                      </a:lnTo>
                      <a:lnTo>
                        <a:pt x="846" y="546"/>
                      </a:lnTo>
                      <a:lnTo>
                        <a:pt x="834" y="540"/>
                      </a:lnTo>
                      <a:lnTo>
                        <a:pt x="828" y="534"/>
                      </a:lnTo>
                      <a:lnTo>
                        <a:pt x="828" y="522"/>
                      </a:lnTo>
                      <a:lnTo>
                        <a:pt x="822" y="516"/>
                      </a:lnTo>
                      <a:lnTo>
                        <a:pt x="810" y="516"/>
                      </a:lnTo>
                      <a:lnTo>
                        <a:pt x="786" y="498"/>
                      </a:lnTo>
                      <a:lnTo>
                        <a:pt x="750" y="492"/>
                      </a:lnTo>
                      <a:lnTo>
                        <a:pt x="744" y="480"/>
                      </a:lnTo>
                      <a:lnTo>
                        <a:pt x="810" y="480"/>
                      </a:lnTo>
                      <a:lnTo>
                        <a:pt x="822" y="474"/>
                      </a:lnTo>
                      <a:lnTo>
                        <a:pt x="834" y="462"/>
                      </a:lnTo>
                      <a:lnTo>
                        <a:pt x="846" y="468"/>
                      </a:lnTo>
                      <a:lnTo>
                        <a:pt x="852" y="462"/>
                      </a:lnTo>
                      <a:lnTo>
                        <a:pt x="864" y="456"/>
                      </a:lnTo>
                      <a:lnTo>
                        <a:pt x="870" y="450"/>
                      </a:lnTo>
                      <a:lnTo>
                        <a:pt x="882" y="444"/>
                      </a:lnTo>
                      <a:lnTo>
                        <a:pt x="906" y="444"/>
                      </a:lnTo>
                      <a:lnTo>
                        <a:pt x="918" y="438"/>
                      </a:lnTo>
                      <a:lnTo>
                        <a:pt x="930" y="438"/>
                      </a:lnTo>
                      <a:lnTo>
                        <a:pt x="978" y="408"/>
                      </a:lnTo>
                      <a:lnTo>
                        <a:pt x="1014" y="408"/>
                      </a:lnTo>
                      <a:lnTo>
                        <a:pt x="1014" y="372"/>
                      </a:lnTo>
                      <a:lnTo>
                        <a:pt x="1032" y="372"/>
                      </a:lnTo>
                      <a:lnTo>
                        <a:pt x="1038" y="366"/>
                      </a:lnTo>
                      <a:lnTo>
                        <a:pt x="1038" y="360"/>
                      </a:lnTo>
                      <a:lnTo>
                        <a:pt x="1050" y="348"/>
                      </a:lnTo>
                      <a:lnTo>
                        <a:pt x="1080" y="348"/>
                      </a:lnTo>
                      <a:lnTo>
                        <a:pt x="1092" y="342"/>
                      </a:lnTo>
                      <a:lnTo>
                        <a:pt x="1104" y="342"/>
                      </a:lnTo>
                      <a:lnTo>
                        <a:pt x="1116" y="330"/>
                      </a:lnTo>
                      <a:lnTo>
                        <a:pt x="1116" y="324"/>
                      </a:lnTo>
                      <a:lnTo>
                        <a:pt x="1110" y="312"/>
                      </a:lnTo>
                      <a:lnTo>
                        <a:pt x="1110" y="300"/>
                      </a:lnTo>
                      <a:lnTo>
                        <a:pt x="1098" y="294"/>
                      </a:lnTo>
                      <a:lnTo>
                        <a:pt x="1086" y="282"/>
                      </a:lnTo>
                      <a:lnTo>
                        <a:pt x="1092" y="276"/>
                      </a:lnTo>
                      <a:lnTo>
                        <a:pt x="1110" y="276"/>
                      </a:lnTo>
                      <a:lnTo>
                        <a:pt x="1116" y="270"/>
                      </a:lnTo>
                      <a:lnTo>
                        <a:pt x="1110" y="264"/>
                      </a:lnTo>
                      <a:lnTo>
                        <a:pt x="1104" y="264"/>
                      </a:lnTo>
                      <a:lnTo>
                        <a:pt x="1098" y="258"/>
                      </a:lnTo>
                      <a:lnTo>
                        <a:pt x="1092" y="258"/>
                      </a:lnTo>
                      <a:lnTo>
                        <a:pt x="1110" y="246"/>
                      </a:lnTo>
                      <a:lnTo>
                        <a:pt x="1110" y="222"/>
                      </a:lnTo>
                      <a:lnTo>
                        <a:pt x="1104" y="216"/>
                      </a:lnTo>
                      <a:lnTo>
                        <a:pt x="1080" y="216"/>
                      </a:lnTo>
                      <a:lnTo>
                        <a:pt x="1062" y="204"/>
                      </a:lnTo>
                      <a:lnTo>
                        <a:pt x="1056" y="198"/>
                      </a:lnTo>
                      <a:lnTo>
                        <a:pt x="1056" y="192"/>
                      </a:lnTo>
                      <a:lnTo>
                        <a:pt x="1014" y="192"/>
                      </a:lnTo>
                      <a:lnTo>
                        <a:pt x="1002" y="186"/>
                      </a:lnTo>
                      <a:lnTo>
                        <a:pt x="996" y="180"/>
                      </a:lnTo>
                      <a:lnTo>
                        <a:pt x="978" y="180"/>
                      </a:lnTo>
                      <a:lnTo>
                        <a:pt x="966" y="186"/>
                      </a:lnTo>
                      <a:lnTo>
                        <a:pt x="942" y="162"/>
                      </a:lnTo>
                      <a:lnTo>
                        <a:pt x="936" y="150"/>
                      </a:lnTo>
                      <a:lnTo>
                        <a:pt x="924" y="150"/>
                      </a:lnTo>
                      <a:lnTo>
                        <a:pt x="918" y="156"/>
                      </a:lnTo>
                      <a:lnTo>
                        <a:pt x="918" y="162"/>
                      </a:lnTo>
                      <a:lnTo>
                        <a:pt x="912" y="156"/>
                      </a:lnTo>
                      <a:lnTo>
                        <a:pt x="864" y="156"/>
                      </a:lnTo>
                      <a:lnTo>
                        <a:pt x="858" y="150"/>
                      </a:lnTo>
                      <a:lnTo>
                        <a:pt x="846" y="150"/>
                      </a:lnTo>
                      <a:lnTo>
                        <a:pt x="840" y="144"/>
                      </a:lnTo>
                      <a:lnTo>
                        <a:pt x="816" y="150"/>
                      </a:lnTo>
                      <a:lnTo>
                        <a:pt x="810" y="150"/>
                      </a:lnTo>
                      <a:lnTo>
                        <a:pt x="798" y="102"/>
                      </a:lnTo>
                      <a:lnTo>
                        <a:pt x="756" y="84"/>
                      </a:lnTo>
                      <a:lnTo>
                        <a:pt x="720" y="84"/>
                      </a:lnTo>
                      <a:lnTo>
                        <a:pt x="720" y="66"/>
                      </a:lnTo>
                      <a:lnTo>
                        <a:pt x="714" y="48"/>
                      </a:lnTo>
                      <a:lnTo>
                        <a:pt x="720" y="48"/>
                      </a:lnTo>
                      <a:lnTo>
                        <a:pt x="726" y="42"/>
                      </a:lnTo>
                      <a:lnTo>
                        <a:pt x="726" y="30"/>
                      </a:lnTo>
                      <a:lnTo>
                        <a:pt x="720" y="30"/>
                      </a:lnTo>
                      <a:lnTo>
                        <a:pt x="708" y="24"/>
                      </a:lnTo>
                      <a:lnTo>
                        <a:pt x="702" y="18"/>
                      </a:lnTo>
                      <a:lnTo>
                        <a:pt x="696" y="18"/>
                      </a:lnTo>
                      <a:lnTo>
                        <a:pt x="690" y="0"/>
                      </a:lnTo>
                      <a:lnTo>
                        <a:pt x="642" y="0"/>
                      </a:lnTo>
                      <a:lnTo>
                        <a:pt x="630" y="6"/>
                      </a:lnTo>
                      <a:lnTo>
                        <a:pt x="600" y="6"/>
                      </a:lnTo>
                      <a:lnTo>
                        <a:pt x="600" y="18"/>
                      </a:lnTo>
                      <a:lnTo>
                        <a:pt x="594" y="24"/>
                      </a:lnTo>
                      <a:lnTo>
                        <a:pt x="558" y="24"/>
                      </a:lnTo>
                      <a:lnTo>
                        <a:pt x="546" y="18"/>
                      </a:lnTo>
                      <a:lnTo>
                        <a:pt x="516" y="18"/>
                      </a:lnTo>
                      <a:lnTo>
                        <a:pt x="510" y="30"/>
                      </a:lnTo>
                      <a:lnTo>
                        <a:pt x="498" y="36"/>
                      </a:lnTo>
                      <a:lnTo>
                        <a:pt x="492" y="42"/>
                      </a:lnTo>
                      <a:lnTo>
                        <a:pt x="486" y="54"/>
                      </a:lnTo>
                      <a:lnTo>
                        <a:pt x="492" y="60"/>
                      </a:lnTo>
                      <a:lnTo>
                        <a:pt x="492" y="72"/>
                      </a:lnTo>
                      <a:lnTo>
                        <a:pt x="486" y="78"/>
                      </a:lnTo>
                      <a:lnTo>
                        <a:pt x="468" y="78"/>
                      </a:lnTo>
                      <a:lnTo>
                        <a:pt x="462" y="72"/>
                      </a:lnTo>
                      <a:lnTo>
                        <a:pt x="438" y="72"/>
                      </a:lnTo>
                      <a:lnTo>
                        <a:pt x="426" y="78"/>
                      </a:lnTo>
                      <a:lnTo>
                        <a:pt x="420" y="78"/>
                      </a:lnTo>
                      <a:lnTo>
                        <a:pt x="420" y="66"/>
                      </a:lnTo>
                      <a:lnTo>
                        <a:pt x="414" y="60"/>
                      </a:lnTo>
                      <a:lnTo>
                        <a:pt x="396" y="60"/>
                      </a:lnTo>
                      <a:lnTo>
                        <a:pt x="390" y="66"/>
                      </a:lnTo>
                      <a:lnTo>
                        <a:pt x="390" y="72"/>
                      </a:lnTo>
                      <a:lnTo>
                        <a:pt x="378" y="60"/>
                      </a:lnTo>
                      <a:lnTo>
                        <a:pt x="366" y="66"/>
                      </a:lnTo>
                      <a:lnTo>
                        <a:pt x="360" y="60"/>
                      </a:lnTo>
                      <a:lnTo>
                        <a:pt x="342" y="66"/>
                      </a:lnTo>
                      <a:lnTo>
                        <a:pt x="336" y="54"/>
                      </a:lnTo>
                      <a:lnTo>
                        <a:pt x="324" y="66"/>
                      </a:lnTo>
                      <a:lnTo>
                        <a:pt x="306" y="54"/>
                      </a:lnTo>
                      <a:lnTo>
                        <a:pt x="300" y="60"/>
                      </a:lnTo>
                      <a:lnTo>
                        <a:pt x="282" y="48"/>
                      </a:lnTo>
                      <a:lnTo>
                        <a:pt x="258" y="42"/>
                      </a:lnTo>
                      <a:lnTo>
                        <a:pt x="222" y="42"/>
                      </a:lnTo>
                      <a:lnTo>
                        <a:pt x="216" y="36"/>
                      </a:lnTo>
                      <a:lnTo>
                        <a:pt x="216" y="30"/>
                      </a:lnTo>
                      <a:lnTo>
                        <a:pt x="168" y="30"/>
                      </a:lnTo>
                      <a:lnTo>
                        <a:pt x="162" y="36"/>
                      </a:lnTo>
                      <a:lnTo>
                        <a:pt x="150" y="42"/>
                      </a:lnTo>
                      <a:lnTo>
                        <a:pt x="114" y="42"/>
                      </a:lnTo>
                      <a:lnTo>
                        <a:pt x="114" y="48"/>
                      </a:lnTo>
                      <a:lnTo>
                        <a:pt x="96" y="66"/>
                      </a:lnTo>
                      <a:lnTo>
                        <a:pt x="78" y="66"/>
                      </a:lnTo>
                      <a:lnTo>
                        <a:pt x="66" y="60"/>
                      </a:lnTo>
                      <a:lnTo>
                        <a:pt x="72" y="78"/>
                      </a:lnTo>
                      <a:lnTo>
                        <a:pt x="90" y="96"/>
                      </a:lnTo>
                      <a:lnTo>
                        <a:pt x="90" y="102"/>
                      </a:lnTo>
                      <a:lnTo>
                        <a:pt x="102" y="108"/>
                      </a:lnTo>
                      <a:lnTo>
                        <a:pt x="108" y="114"/>
                      </a:lnTo>
                      <a:lnTo>
                        <a:pt x="102" y="126"/>
                      </a:lnTo>
                      <a:lnTo>
                        <a:pt x="108" y="132"/>
                      </a:lnTo>
                      <a:lnTo>
                        <a:pt x="108" y="138"/>
                      </a:lnTo>
                      <a:lnTo>
                        <a:pt x="114" y="144"/>
                      </a:lnTo>
                      <a:lnTo>
                        <a:pt x="108" y="150"/>
                      </a:lnTo>
                      <a:lnTo>
                        <a:pt x="102" y="150"/>
                      </a:lnTo>
                      <a:lnTo>
                        <a:pt x="96" y="156"/>
                      </a:lnTo>
                      <a:lnTo>
                        <a:pt x="84" y="156"/>
                      </a:lnTo>
                      <a:lnTo>
                        <a:pt x="30" y="204"/>
                      </a:lnTo>
                      <a:lnTo>
                        <a:pt x="30" y="246"/>
                      </a:lnTo>
                      <a:lnTo>
                        <a:pt x="42" y="258"/>
                      </a:lnTo>
                      <a:lnTo>
                        <a:pt x="18" y="258"/>
                      </a:lnTo>
                      <a:lnTo>
                        <a:pt x="18" y="270"/>
                      </a:lnTo>
                      <a:lnTo>
                        <a:pt x="12" y="276"/>
                      </a:lnTo>
                      <a:lnTo>
                        <a:pt x="12" y="282"/>
                      </a:lnTo>
                      <a:lnTo>
                        <a:pt x="6" y="288"/>
                      </a:lnTo>
                      <a:lnTo>
                        <a:pt x="0" y="288"/>
                      </a:lnTo>
                      <a:lnTo>
                        <a:pt x="0" y="306"/>
                      </a:lnTo>
                      <a:lnTo>
                        <a:pt x="6" y="306"/>
                      </a:lnTo>
                      <a:lnTo>
                        <a:pt x="24" y="324"/>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535" name="Uganda"/>
                <p:cNvSpPr>
                  <a:spLocks noEditPoints="1"/>
                </p:cNvSpPr>
                <p:nvPr/>
              </p:nvSpPr>
              <p:spPr bwMode="gray">
                <a:xfrm>
                  <a:off x="3192" y="2224"/>
                  <a:ext cx="100" cy="118"/>
                </a:xfrm>
                <a:custGeom>
                  <a:avLst/>
                  <a:gdLst>
                    <a:gd name="T0" fmla="*/ 2147483647 w 390"/>
                    <a:gd name="T1" fmla="*/ 2147483647 h 462"/>
                    <a:gd name="T2" fmla="*/ 2147483647 w 390"/>
                    <a:gd name="T3" fmla="*/ 2147483647 h 462"/>
                    <a:gd name="T4" fmla="*/ 2147483647 w 390"/>
                    <a:gd name="T5" fmla="*/ 2147483647 h 462"/>
                    <a:gd name="T6" fmla="*/ 2147483647 w 390"/>
                    <a:gd name="T7" fmla="*/ 2147483647 h 462"/>
                    <a:gd name="T8" fmla="*/ 2147483647 w 390"/>
                    <a:gd name="T9" fmla="*/ 2147483647 h 462"/>
                    <a:gd name="T10" fmla="*/ 2147483647 w 390"/>
                    <a:gd name="T11" fmla="*/ 2147483647 h 462"/>
                    <a:gd name="T12" fmla="*/ 2147483647 w 390"/>
                    <a:gd name="T13" fmla="*/ 2147483647 h 462"/>
                    <a:gd name="T14" fmla="*/ 2147483647 w 390"/>
                    <a:gd name="T15" fmla="*/ 2147483647 h 462"/>
                    <a:gd name="T16" fmla="*/ 2147483647 w 390"/>
                    <a:gd name="T17" fmla="*/ 2147483647 h 462"/>
                    <a:gd name="T18" fmla="*/ 2147483647 w 390"/>
                    <a:gd name="T19" fmla="*/ 2147483647 h 462"/>
                    <a:gd name="T20" fmla="*/ 2147483647 w 390"/>
                    <a:gd name="T21" fmla="*/ 2147483647 h 462"/>
                    <a:gd name="T22" fmla="*/ 2147483647 w 390"/>
                    <a:gd name="T23" fmla="*/ 2147483647 h 462"/>
                    <a:gd name="T24" fmla="*/ 2147483647 w 390"/>
                    <a:gd name="T25" fmla="*/ 0 h 462"/>
                    <a:gd name="T26" fmla="*/ 2147483647 w 390"/>
                    <a:gd name="T27" fmla="*/ 2147483647 h 462"/>
                    <a:gd name="T28" fmla="*/ 2147483647 w 390"/>
                    <a:gd name="T29" fmla="*/ 2147483647 h 462"/>
                    <a:gd name="T30" fmla="*/ 2147483647 w 390"/>
                    <a:gd name="T31" fmla="*/ 2147483647 h 462"/>
                    <a:gd name="T32" fmla="*/ 2147483647 w 390"/>
                    <a:gd name="T33" fmla="*/ 2147483647 h 462"/>
                    <a:gd name="T34" fmla="*/ 2147483647 w 390"/>
                    <a:gd name="T35" fmla="*/ 2147483647 h 462"/>
                    <a:gd name="T36" fmla="*/ 2147483647 w 390"/>
                    <a:gd name="T37" fmla="*/ 2147483647 h 462"/>
                    <a:gd name="T38" fmla="*/ 2147483647 w 390"/>
                    <a:gd name="T39" fmla="*/ 2147483647 h 462"/>
                    <a:gd name="T40" fmla="*/ 2147483647 w 390"/>
                    <a:gd name="T41" fmla="*/ 2147483647 h 462"/>
                    <a:gd name="T42" fmla="*/ 2147483647 w 390"/>
                    <a:gd name="T43" fmla="*/ 2147483647 h 462"/>
                    <a:gd name="T44" fmla="*/ 2147483647 w 390"/>
                    <a:gd name="T45" fmla="*/ 2147483647 h 462"/>
                    <a:gd name="T46" fmla="*/ 2147483647 w 390"/>
                    <a:gd name="T47" fmla="*/ 2147483647 h 462"/>
                    <a:gd name="T48" fmla="*/ 2147483647 w 390"/>
                    <a:gd name="T49" fmla="*/ 2147483647 h 462"/>
                    <a:gd name="T50" fmla="*/ 2147483647 w 390"/>
                    <a:gd name="T51" fmla="*/ 2147483647 h 462"/>
                    <a:gd name="T52" fmla="*/ 2147483647 w 390"/>
                    <a:gd name="T53" fmla="*/ 2147483647 h 462"/>
                    <a:gd name="T54" fmla="*/ 2147483647 w 390"/>
                    <a:gd name="T55" fmla="*/ 2147483647 h 462"/>
                    <a:gd name="T56" fmla="*/ 2147483647 w 390"/>
                    <a:gd name="T57" fmla="*/ 2147483647 h 462"/>
                    <a:gd name="T58" fmla="*/ 2147483647 w 390"/>
                    <a:gd name="T59" fmla="*/ 2147483647 h 462"/>
                    <a:gd name="T60" fmla="*/ 2147483647 w 390"/>
                    <a:gd name="T61" fmla="*/ 2147483647 h 462"/>
                    <a:gd name="T62" fmla="*/ 2147483647 w 390"/>
                    <a:gd name="T63" fmla="*/ 2147483647 h 462"/>
                    <a:gd name="T64" fmla="*/ 2147483647 w 390"/>
                    <a:gd name="T65" fmla="*/ 2147483647 h 462"/>
                    <a:gd name="T66" fmla="*/ 2147483647 w 390"/>
                    <a:gd name="T67" fmla="*/ 2147483647 h 462"/>
                    <a:gd name="T68" fmla="*/ 2147483647 w 390"/>
                    <a:gd name="T69" fmla="*/ 2147483647 h 462"/>
                    <a:gd name="T70" fmla="*/ 2147483647 w 390"/>
                    <a:gd name="T71" fmla="*/ 2147483647 h 462"/>
                    <a:gd name="T72" fmla="*/ 2147483647 w 390"/>
                    <a:gd name="T73" fmla="*/ 2147483647 h 462"/>
                    <a:gd name="T74" fmla="*/ 2147483647 w 390"/>
                    <a:gd name="T75" fmla="*/ 2147483647 h 462"/>
                    <a:gd name="T76" fmla="*/ 2147483647 w 390"/>
                    <a:gd name="T77" fmla="*/ 2147483647 h 462"/>
                    <a:gd name="T78" fmla="*/ 2147483647 w 390"/>
                    <a:gd name="T79" fmla="*/ 2147483647 h 462"/>
                    <a:gd name="T80" fmla="*/ 2147483647 w 390"/>
                    <a:gd name="T81" fmla="*/ 2147483647 h 462"/>
                    <a:gd name="T82" fmla="*/ 2147483647 w 390"/>
                    <a:gd name="T83" fmla="*/ 2147483647 h 462"/>
                    <a:gd name="T84" fmla="*/ 2147483647 w 390"/>
                    <a:gd name="T85" fmla="*/ 2147483647 h 462"/>
                    <a:gd name="T86" fmla="*/ 2147483647 w 390"/>
                    <a:gd name="T87" fmla="*/ 2147483647 h 462"/>
                    <a:gd name="T88" fmla="*/ 2147483647 w 390"/>
                    <a:gd name="T89" fmla="*/ 2147483647 h 462"/>
                    <a:gd name="T90" fmla="*/ 2147483647 w 390"/>
                    <a:gd name="T91" fmla="*/ 2147483647 h 462"/>
                    <a:gd name="T92" fmla="*/ 2147483647 w 390"/>
                    <a:gd name="T93" fmla="*/ 2147483647 h 462"/>
                    <a:gd name="T94" fmla="*/ 2147483647 w 390"/>
                    <a:gd name="T95" fmla="*/ 2147483647 h 462"/>
                    <a:gd name="T96" fmla="*/ 2147483647 w 390"/>
                    <a:gd name="T97" fmla="*/ 2147483647 h 462"/>
                    <a:gd name="T98" fmla="*/ 2147483647 w 390"/>
                    <a:gd name="T99" fmla="*/ 2147483647 h 462"/>
                    <a:gd name="T100" fmla="*/ 2147483647 w 390"/>
                    <a:gd name="T101" fmla="*/ 2147483647 h 462"/>
                    <a:gd name="T102" fmla="*/ 2147483647 w 390"/>
                    <a:gd name="T103" fmla="*/ 2147483647 h 462"/>
                    <a:gd name="T104" fmla="*/ 2147483647 w 390"/>
                    <a:gd name="T105" fmla="*/ 2147483647 h 462"/>
                    <a:gd name="T106" fmla="*/ 2147483647 w 390"/>
                    <a:gd name="T107" fmla="*/ 2147483647 h 46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90"/>
                    <a:gd name="T163" fmla="*/ 0 h 462"/>
                    <a:gd name="T164" fmla="*/ 390 w 390"/>
                    <a:gd name="T165" fmla="*/ 462 h 46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90" h="462">
                      <a:moveTo>
                        <a:pt x="306" y="426"/>
                      </a:moveTo>
                      <a:lnTo>
                        <a:pt x="318" y="426"/>
                      </a:lnTo>
                      <a:lnTo>
                        <a:pt x="318" y="420"/>
                      </a:lnTo>
                      <a:lnTo>
                        <a:pt x="306" y="420"/>
                      </a:lnTo>
                      <a:lnTo>
                        <a:pt x="306" y="426"/>
                      </a:lnTo>
                      <a:close/>
                      <a:moveTo>
                        <a:pt x="390" y="192"/>
                      </a:moveTo>
                      <a:lnTo>
                        <a:pt x="384" y="180"/>
                      </a:lnTo>
                      <a:lnTo>
                        <a:pt x="378" y="174"/>
                      </a:lnTo>
                      <a:lnTo>
                        <a:pt x="366" y="150"/>
                      </a:lnTo>
                      <a:lnTo>
                        <a:pt x="366" y="144"/>
                      </a:lnTo>
                      <a:lnTo>
                        <a:pt x="372" y="138"/>
                      </a:lnTo>
                      <a:lnTo>
                        <a:pt x="378" y="138"/>
                      </a:lnTo>
                      <a:lnTo>
                        <a:pt x="384" y="132"/>
                      </a:lnTo>
                      <a:lnTo>
                        <a:pt x="348" y="90"/>
                      </a:lnTo>
                      <a:lnTo>
                        <a:pt x="354" y="84"/>
                      </a:lnTo>
                      <a:lnTo>
                        <a:pt x="336" y="66"/>
                      </a:lnTo>
                      <a:lnTo>
                        <a:pt x="336" y="60"/>
                      </a:lnTo>
                      <a:lnTo>
                        <a:pt x="342" y="54"/>
                      </a:lnTo>
                      <a:lnTo>
                        <a:pt x="342" y="42"/>
                      </a:lnTo>
                      <a:lnTo>
                        <a:pt x="336" y="42"/>
                      </a:lnTo>
                      <a:lnTo>
                        <a:pt x="336" y="48"/>
                      </a:lnTo>
                      <a:lnTo>
                        <a:pt x="330" y="42"/>
                      </a:lnTo>
                      <a:lnTo>
                        <a:pt x="324" y="42"/>
                      </a:lnTo>
                      <a:lnTo>
                        <a:pt x="324" y="18"/>
                      </a:lnTo>
                      <a:lnTo>
                        <a:pt x="318" y="6"/>
                      </a:lnTo>
                      <a:lnTo>
                        <a:pt x="312" y="0"/>
                      </a:lnTo>
                      <a:lnTo>
                        <a:pt x="300" y="0"/>
                      </a:lnTo>
                      <a:lnTo>
                        <a:pt x="300" y="6"/>
                      </a:lnTo>
                      <a:lnTo>
                        <a:pt x="294" y="12"/>
                      </a:lnTo>
                      <a:lnTo>
                        <a:pt x="294" y="18"/>
                      </a:lnTo>
                      <a:lnTo>
                        <a:pt x="276" y="36"/>
                      </a:lnTo>
                      <a:lnTo>
                        <a:pt x="252" y="36"/>
                      </a:lnTo>
                      <a:lnTo>
                        <a:pt x="246" y="30"/>
                      </a:lnTo>
                      <a:lnTo>
                        <a:pt x="246" y="24"/>
                      </a:lnTo>
                      <a:lnTo>
                        <a:pt x="234" y="24"/>
                      </a:lnTo>
                      <a:lnTo>
                        <a:pt x="222" y="36"/>
                      </a:lnTo>
                      <a:lnTo>
                        <a:pt x="198" y="36"/>
                      </a:lnTo>
                      <a:lnTo>
                        <a:pt x="180" y="60"/>
                      </a:lnTo>
                      <a:lnTo>
                        <a:pt x="156" y="30"/>
                      </a:lnTo>
                      <a:lnTo>
                        <a:pt x="150" y="30"/>
                      </a:lnTo>
                      <a:lnTo>
                        <a:pt x="144" y="36"/>
                      </a:lnTo>
                      <a:lnTo>
                        <a:pt x="144" y="42"/>
                      </a:lnTo>
                      <a:lnTo>
                        <a:pt x="132" y="42"/>
                      </a:lnTo>
                      <a:lnTo>
                        <a:pt x="120" y="36"/>
                      </a:lnTo>
                      <a:lnTo>
                        <a:pt x="114" y="30"/>
                      </a:lnTo>
                      <a:lnTo>
                        <a:pt x="102" y="30"/>
                      </a:lnTo>
                      <a:lnTo>
                        <a:pt x="84" y="48"/>
                      </a:lnTo>
                      <a:lnTo>
                        <a:pt x="90" y="72"/>
                      </a:lnTo>
                      <a:lnTo>
                        <a:pt x="72" y="90"/>
                      </a:lnTo>
                      <a:lnTo>
                        <a:pt x="84" y="96"/>
                      </a:lnTo>
                      <a:lnTo>
                        <a:pt x="90" y="102"/>
                      </a:lnTo>
                      <a:lnTo>
                        <a:pt x="90" y="108"/>
                      </a:lnTo>
                      <a:lnTo>
                        <a:pt x="84" y="114"/>
                      </a:lnTo>
                      <a:lnTo>
                        <a:pt x="78" y="126"/>
                      </a:lnTo>
                      <a:lnTo>
                        <a:pt x="78" y="138"/>
                      </a:lnTo>
                      <a:lnTo>
                        <a:pt x="84" y="144"/>
                      </a:lnTo>
                      <a:lnTo>
                        <a:pt x="96" y="144"/>
                      </a:lnTo>
                      <a:lnTo>
                        <a:pt x="108" y="150"/>
                      </a:lnTo>
                      <a:lnTo>
                        <a:pt x="114" y="156"/>
                      </a:lnTo>
                      <a:lnTo>
                        <a:pt x="114" y="168"/>
                      </a:lnTo>
                      <a:lnTo>
                        <a:pt x="108" y="180"/>
                      </a:lnTo>
                      <a:lnTo>
                        <a:pt x="96" y="192"/>
                      </a:lnTo>
                      <a:lnTo>
                        <a:pt x="84" y="216"/>
                      </a:lnTo>
                      <a:lnTo>
                        <a:pt x="72" y="222"/>
                      </a:lnTo>
                      <a:lnTo>
                        <a:pt x="66" y="234"/>
                      </a:lnTo>
                      <a:lnTo>
                        <a:pt x="42" y="246"/>
                      </a:lnTo>
                      <a:lnTo>
                        <a:pt x="42" y="258"/>
                      </a:lnTo>
                      <a:lnTo>
                        <a:pt x="24" y="270"/>
                      </a:lnTo>
                      <a:lnTo>
                        <a:pt x="6" y="342"/>
                      </a:lnTo>
                      <a:lnTo>
                        <a:pt x="6" y="372"/>
                      </a:lnTo>
                      <a:lnTo>
                        <a:pt x="0" y="450"/>
                      </a:lnTo>
                      <a:lnTo>
                        <a:pt x="12" y="450"/>
                      </a:lnTo>
                      <a:lnTo>
                        <a:pt x="24" y="462"/>
                      </a:lnTo>
                      <a:lnTo>
                        <a:pt x="30" y="462"/>
                      </a:lnTo>
                      <a:lnTo>
                        <a:pt x="42" y="438"/>
                      </a:lnTo>
                      <a:lnTo>
                        <a:pt x="48" y="432"/>
                      </a:lnTo>
                      <a:lnTo>
                        <a:pt x="48" y="426"/>
                      </a:lnTo>
                      <a:lnTo>
                        <a:pt x="72" y="420"/>
                      </a:lnTo>
                      <a:lnTo>
                        <a:pt x="162" y="426"/>
                      </a:lnTo>
                      <a:lnTo>
                        <a:pt x="162" y="414"/>
                      </a:lnTo>
                      <a:lnTo>
                        <a:pt x="156" y="408"/>
                      </a:lnTo>
                      <a:lnTo>
                        <a:pt x="150" y="396"/>
                      </a:lnTo>
                      <a:lnTo>
                        <a:pt x="162" y="372"/>
                      </a:lnTo>
                      <a:lnTo>
                        <a:pt x="168" y="366"/>
                      </a:lnTo>
                      <a:lnTo>
                        <a:pt x="168" y="342"/>
                      </a:lnTo>
                      <a:lnTo>
                        <a:pt x="174" y="336"/>
                      </a:lnTo>
                      <a:lnTo>
                        <a:pt x="186" y="330"/>
                      </a:lnTo>
                      <a:lnTo>
                        <a:pt x="204" y="324"/>
                      </a:lnTo>
                      <a:lnTo>
                        <a:pt x="240" y="324"/>
                      </a:lnTo>
                      <a:lnTo>
                        <a:pt x="252" y="312"/>
                      </a:lnTo>
                      <a:lnTo>
                        <a:pt x="258" y="300"/>
                      </a:lnTo>
                      <a:lnTo>
                        <a:pt x="264" y="300"/>
                      </a:lnTo>
                      <a:lnTo>
                        <a:pt x="264" y="306"/>
                      </a:lnTo>
                      <a:lnTo>
                        <a:pt x="270" y="312"/>
                      </a:lnTo>
                      <a:lnTo>
                        <a:pt x="270" y="330"/>
                      </a:lnTo>
                      <a:lnTo>
                        <a:pt x="276" y="324"/>
                      </a:lnTo>
                      <a:lnTo>
                        <a:pt x="312" y="324"/>
                      </a:lnTo>
                      <a:lnTo>
                        <a:pt x="312" y="330"/>
                      </a:lnTo>
                      <a:lnTo>
                        <a:pt x="312" y="318"/>
                      </a:lnTo>
                      <a:lnTo>
                        <a:pt x="318" y="306"/>
                      </a:lnTo>
                      <a:lnTo>
                        <a:pt x="324" y="300"/>
                      </a:lnTo>
                      <a:lnTo>
                        <a:pt x="330" y="282"/>
                      </a:lnTo>
                      <a:lnTo>
                        <a:pt x="348" y="270"/>
                      </a:lnTo>
                      <a:lnTo>
                        <a:pt x="348" y="246"/>
                      </a:lnTo>
                      <a:lnTo>
                        <a:pt x="354" y="240"/>
                      </a:lnTo>
                      <a:lnTo>
                        <a:pt x="372" y="240"/>
                      </a:lnTo>
                      <a:lnTo>
                        <a:pt x="378" y="216"/>
                      </a:lnTo>
                      <a:lnTo>
                        <a:pt x="390" y="204"/>
                      </a:lnTo>
                      <a:lnTo>
                        <a:pt x="390" y="192"/>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536" name="Turkmenistan"/>
                <p:cNvSpPr>
                  <a:spLocks/>
                </p:cNvSpPr>
                <p:nvPr/>
              </p:nvSpPr>
              <p:spPr bwMode="gray">
                <a:xfrm>
                  <a:off x="3540" y="1429"/>
                  <a:ext cx="258" cy="155"/>
                </a:xfrm>
                <a:custGeom>
                  <a:avLst/>
                  <a:gdLst>
                    <a:gd name="T0" fmla="*/ 2147483647 w 1008"/>
                    <a:gd name="T1" fmla="*/ 2147483647 h 606"/>
                    <a:gd name="T2" fmla="*/ 2147483647 w 1008"/>
                    <a:gd name="T3" fmla="*/ 2147483647 h 606"/>
                    <a:gd name="T4" fmla="*/ 2147483647 w 1008"/>
                    <a:gd name="T5" fmla="*/ 2147483647 h 606"/>
                    <a:gd name="T6" fmla="*/ 2147483647 w 1008"/>
                    <a:gd name="T7" fmla="*/ 2147483647 h 606"/>
                    <a:gd name="T8" fmla="*/ 2147483647 w 1008"/>
                    <a:gd name="T9" fmla="*/ 2147483647 h 606"/>
                    <a:gd name="T10" fmla="*/ 2147483647 w 1008"/>
                    <a:gd name="T11" fmla="*/ 2147483647 h 606"/>
                    <a:gd name="T12" fmla="*/ 2147483647 w 1008"/>
                    <a:gd name="T13" fmla="*/ 2147483647 h 606"/>
                    <a:gd name="T14" fmla="*/ 2147483647 w 1008"/>
                    <a:gd name="T15" fmla="*/ 2147483647 h 606"/>
                    <a:gd name="T16" fmla="*/ 2147483647 w 1008"/>
                    <a:gd name="T17" fmla="*/ 2147483647 h 606"/>
                    <a:gd name="T18" fmla="*/ 2147483647 w 1008"/>
                    <a:gd name="T19" fmla="*/ 2147483647 h 606"/>
                    <a:gd name="T20" fmla="*/ 2147483647 w 1008"/>
                    <a:gd name="T21" fmla="*/ 2147483647 h 606"/>
                    <a:gd name="T22" fmla="*/ 2147483647 w 1008"/>
                    <a:gd name="T23" fmla="*/ 2147483647 h 606"/>
                    <a:gd name="T24" fmla="*/ 2147483647 w 1008"/>
                    <a:gd name="T25" fmla="*/ 2147483647 h 606"/>
                    <a:gd name="T26" fmla="*/ 2147483647 w 1008"/>
                    <a:gd name="T27" fmla="*/ 2147483647 h 606"/>
                    <a:gd name="T28" fmla="*/ 2147483647 w 1008"/>
                    <a:gd name="T29" fmla="*/ 2147483647 h 606"/>
                    <a:gd name="T30" fmla="*/ 2147483647 w 1008"/>
                    <a:gd name="T31" fmla="*/ 2147483647 h 606"/>
                    <a:gd name="T32" fmla="*/ 2147483647 w 1008"/>
                    <a:gd name="T33" fmla="*/ 2147483647 h 606"/>
                    <a:gd name="T34" fmla="*/ 2147483647 w 1008"/>
                    <a:gd name="T35" fmla="*/ 2147483647 h 606"/>
                    <a:gd name="T36" fmla="*/ 2147483647 w 1008"/>
                    <a:gd name="T37" fmla="*/ 2147483647 h 606"/>
                    <a:gd name="T38" fmla="*/ 2147483647 w 1008"/>
                    <a:gd name="T39" fmla="*/ 2147483647 h 606"/>
                    <a:gd name="T40" fmla="*/ 2147483647 w 1008"/>
                    <a:gd name="T41" fmla="*/ 2147483647 h 606"/>
                    <a:gd name="T42" fmla="*/ 2147483647 w 1008"/>
                    <a:gd name="T43" fmla="*/ 2147483647 h 606"/>
                    <a:gd name="T44" fmla="*/ 2147483647 w 1008"/>
                    <a:gd name="T45" fmla="*/ 2147483647 h 606"/>
                    <a:gd name="T46" fmla="*/ 2147483647 w 1008"/>
                    <a:gd name="T47" fmla="*/ 2147483647 h 606"/>
                    <a:gd name="T48" fmla="*/ 2147483647 w 1008"/>
                    <a:gd name="T49" fmla="*/ 2147483647 h 606"/>
                    <a:gd name="T50" fmla="*/ 2147483647 w 1008"/>
                    <a:gd name="T51" fmla="*/ 2147483647 h 606"/>
                    <a:gd name="T52" fmla="*/ 2147483647 w 1008"/>
                    <a:gd name="T53" fmla="*/ 2147483647 h 606"/>
                    <a:gd name="T54" fmla="*/ 2147483647 w 1008"/>
                    <a:gd name="T55" fmla="*/ 2147483647 h 606"/>
                    <a:gd name="T56" fmla="*/ 2147483647 w 1008"/>
                    <a:gd name="T57" fmla="*/ 2147483647 h 606"/>
                    <a:gd name="T58" fmla="*/ 2147483647 w 1008"/>
                    <a:gd name="T59" fmla="*/ 2147483647 h 606"/>
                    <a:gd name="T60" fmla="*/ 2147483647 w 1008"/>
                    <a:gd name="T61" fmla="*/ 2147483647 h 606"/>
                    <a:gd name="T62" fmla="*/ 2147483647 w 1008"/>
                    <a:gd name="T63" fmla="*/ 2147483647 h 606"/>
                    <a:gd name="T64" fmla="*/ 2147483647 w 1008"/>
                    <a:gd name="T65" fmla="*/ 2147483647 h 606"/>
                    <a:gd name="T66" fmla="*/ 2147483647 w 1008"/>
                    <a:gd name="T67" fmla="*/ 2147483647 h 606"/>
                    <a:gd name="T68" fmla="*/ 2147483647 w 1008"/>
                    <a:gd name="T69" fmla="*/ 2147483647 h 606"/>
                    <a:gd name="T70" fmla="*/ 2147483647 w 1008"/>
                    <a:gd name="T71" fmla="*/ 2147483647 h 606"/>
                    <a:gd name="T72" fmla="*/ 2147483647 w 1008"/>
                    <a:gd name="T73" fmla="*/ 2147483647 h 606"/>
                    <a:gd name="T74" fmla="*/ 2147483647 w 1008"/>
                    <a:gd name="T75" fmla="*/ 2147483647 h 606"/>
                    <a:gd name="T76" fmla="*/ 2147483647 w 1008"/>
                    <a:gd name="T77" fmla="*/ 2147483647 h 606"/>
                    <a:gd name="T78" fmla="*/ 2147483647 w 1008"/>
                    <a:gd name="T79" fmla="*/ 2147483647 h 606"/>
                    <a:gd name="T80" fmla="*/ 2147483647 w 1008"/>
                    <a:gd name="T81" fmla="*/ 2147483647 h 606"/>
                    <a:gd name="T82" fmla="*/ 2147483647 w 1008"/>
                    <a:gd name="T83" fmla="*/ 2147483647 h 606"/>
                    <a:gd name="T84" fmla="*/ 2147483647 w 1008"/>
                    <a:gd name="T85" fmla="*/ 2147483647 h 606"/>
                    <a:gd name="T86" fmla="*/ 2147483647 w 1008"/>
                    <a:gd name="T87" fmla="*/ 2147483647 h 606"/>
                    <a:gd name="T88" fmla="*/ 2147483647 w 1008"/>
                    <a:gd name="T89" fmla="*/ 2147483647 h 606"/>
                    <a:gd name="T90" fmla="*/ 2147483647 w 1008"/>
                    <a:gd name="T91" fmla="*/ 2147483647 h 606"/>
                    <a:gd name="T92" fmla="*/ 2147483647 w 1008"/>
                    <a:gd name="T93" fmla="*/ 2147483647 h 606"/>
                    <a:gd name="T94" fmla="*/ 2147483647 w 1008"/>
                    <a:gd name="T95" fmla="*/ 2147483647 h 606"/>
                    <a:gd name="T96" fmla="*/ 2147483647 w 1008"/>
                    <a:gd name="T97" fmla="*/ 2147483647 h 606"/>
                    <a:gd name="T98" fmla="*/ 2147483647 w 1008"/>
                    <a:gd name="T99" fmla="*/ 2147483647 h 606"/>
                    <a:gd name="T100" fmla="*/ 2147483647 w 1008"/>
                    <a:gd name="T101" fmla="*/ 2147483647 h 606"/>
                    <a:gd name="T102" fmla="*/ 2147483647 w 1008"/>
                    <a:gd name="T103" fmla="*/ 2147483647 h 606"/>
                    <a:gd name="T104" fmla="*/ 0 w 1008"/>
                    <a:gd name="T105" fmla="*/ 2147483647 h 606"/>
                    <a:gd name="T106" fmla="*/ 2147483647 w 1008"/>
                    <a:gd name="T107" fmla="*/ 2147483647 h 606"/>
                    <a:gd name="T108" fmla="*/ 2147483647 w 1008"/>
                    <a:gd name="T109" fmla="*/ 2147483647 h 60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008"/>
                    <a:gd name="T166" fmla="*/ 0 h 606"/>
                    <a:gd name="T167" fmla="*/ 1008 w 1008"/>
                    <a:gd name="T168" fmla="*/ 606 h 60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008" h="606">
                      <a:moveTo>
                        <a:pt x="48" y="150"/>
                      </a:moveTo>
                      <a:lnTo>
                        <a:pt x="48" y="156"/>
                      </a:lnTo>
                      <a:lnTo>
                        <a:pt x="42" y="162"/>
                      </a:lnTo>
                      <a:lnTo>
                        <a:pt x="36" y="174"/>
                      </a:lnTo>
                      <a:lnTo>
                        <a:pt x="36" y="186"/>
                      </a:lnTo>
                      <a:lnTo>
                        <a:pt x="42" y="198"/>
                      </a:lnTo>
                      <a:lnTo>
                        <a:pt x="48" y="204"/>
                      </a:lnTo>
                      <a:lnTo>
                        <a:pt x="54" y="216"/>
                      </a:lnTo>
                      <a:lnTo>
                        <a:pt x="60" y="222"/>
                      </a:lnTo>
                      <a:lnTo>
                        <a:pt x="60" y="228"/>
                      </a:lnTo>
                      <a:lnTo>
                        <a:pt x="90" y="222"/>
                      </a:lnTo>
                      <a:lnTo>
                        <a:pt x="90" y="246"/>
                      </a:lnTo>
                      <a:lnTo>
                        <a:pt x="114" y="258"/>
                      </a:lnTo>
                      <a:lnTo>
                        <a:pt x="90" y="258"/>
                      </a:lnTo>
                      <a:lnTo>
                        <a:pt x="78" y="264"/>
                      </a:lnTo>
                      <a:lnTo>
                        <a:pt x="72" y="264"/>
                      </a:lnTo>
                      <a:lnTo>
                        <a:pt x="72" y="270"/>
                      </a:lnTo>
                      <a:lnTo>
                        <a:pt x="78" y="276"/>
                      </a:lnTo>
                      <a:lnTo>
                        <a:pt x="90" y="276"/>
                      </a:lnTo>
                      <a:lnTo>
                        <a:pt x="96" y="282"/>
                      </a:lnTo>
                      <a:lnTo>
                        <a:pt x="114" y="282"/>
                      </a:lnTo>
                      <a:lnTo>
                        <a:pt x="120" y="288"/>
                      </a:lnTo>
                      <a:lnTo>
                        <a:pt x="126" y="300"/>
                      </a:lnTo>
                      <a:lnTo>
                        <a:pt x="132" y="306"/>
                      </a:lnTo>
                      <a:lnTo>
                        <a:pt x="138" y="354"/>
                      </a:lnTo>
                      <a:lnTo>
                        <a:pt x="150" y="360"/>
                      </a:lnTo>
                      <a:lnTo>
                        <a:pt x="150" y="372"/>
                      </a:lnTo>
                      <a:lnTo>
                        <a:pt x="144" y="378"/>
                      </a:lnTo>
                      <a:lnTo>
                        <a:pt x="144" y="402"/>
                      </a:lnTo>
                      <a:lnTo>
                        <a:pt x="150" y="414"/>
                      </a:lnTo>
                      <a:lnTo>
                        <a:pt x="150" y="426"/>
                      </a:lnTo>
                      <a:lnTo>
                        <a:pt x="156" y="432"/>
                      </a:lnTo>
                      <a:lnTo>
                        <a:pt x="156" y="438"/>
                      </a:lnTo>
                      <a:lnTo>
                        <a:pt x="186" y="438"/>
                      </a:lnTo>
                      <a:lnTo>
                        <a:pt x="198" y="426"/>
                      </a:lnTo>
                      <a:lnTo>
                        <a:pt x="210" y="420"/>
                      </a:lnTo>
                      <a:lnTo>
                        <a:pt x="210" y="408"/>
                      </a:lnTo>
                      <a:lnTo>
                        <a:pt x="216" y="402"/>
                      </a:lnTo>
                      <a:lnTo>
                        <a:pt x="228" y="396"/>
                      </a:lnTo>
                      <a:lnTo>
                        <a:pt x="246" y="378"/>
                      </a:lnTo>
                      <a:lnTo>
                        <a:pt x="258" y="372"/>
                      </a:lnTo>
                      <a:lnTo>
                        <a:pt x="294" y="372"/>
                      </a:lnTo>
                      <a:lnTo>
                        <a:pt x="306" y="378"/>
                      </a:lnTo>
                      <a:lnTo>
                        <a:pt x="312" y="372"/>
                      </a:lnTo>
                      <a:lnTo>
                        <a:pt x="312" y="366"/>
                      </a:lnTo>
                      <a:lnTo>
                        <a:pt x="372" y="366"/>
                      </a:lnTo>
                      <a:lnTo>
                        <a:pt x="384" y="378"/>
                      </a:lnTo>
                      <a:lnTo>
                        <a:pt x="384" y="390"/>
                      </a:lnTo>
                      <a:lnTo>
                        <a:pt x="414" y="390"/>
                      </a:lnTo>
                      <a:lnTo>
                        <a:pt x="420" y="396"/>
                      </a:lnTo>
                      <a:lnTo>
                        <a:pt x="432" y="402"/>
                      </a:lnTo>
                      <a:lnTo>
                        <a:pt x="438" y="408"/>
                      </a:lnTo>
                      <a:lnTo>
                        <a:pt x="450" y="414"/>
                      </a:lnTo>
                      <a:lnTo>
                        <a:pt x="450" y="408"/>
                      </a:lnTo>
                      <a:lnTo>
                        <a:pt x="468" y="408"/>
                      </a:lnTo>
                      <a:lnTo>
                        <a:pt x="480" y="414"/>
                      </a:lnTo>
                      <a:lnTo>
                        <a:pt x="498" y="414"/>
                      </a:lnTo>
                      <a:lnTo>
                        <a:pt x="510" y="420"/>
                      </a:lnTo>
                      <a:lnTo>
                        <a:pt x="516" y="420"/>
                      </a:lnTo>
                      <a:lnTo>
                        <a:pt x="522" y="426"/>
                      </a:lnTo>
                      <a:lnTo>
                        <a:pt x="522" y="432"/>
                      </a:lnTo>
                      <a:lnTo>
                        <a:pt x="528" y="444"/>
                      </a:lnTo>
                      <a:lnTo>
                        <a:pt x="534" y="450"/>
                      </a:lnTo>
                      <a:lnTo>
                        <a:pt x="540" y="450"/>
                      </a:lnTo>
                      <a:lnTo>
                        <a:pt x="546" y="456"/>
                      </a:lnTo>
                      <a:lnTo>
                        <a:pt x="558" y="456"/>
                      </a:lnTo>
                      <a:lnTo>
                        <a:pt x="570" y="468"/>
                      </a:lnTo>
                      <a:lnTo>
                        <a:pt x="582" y="474"/>
                      </a:lnTo>
                      <a:lnTo>
                        <a:pt x="588" y="486"/>
                      </a:lnTo>
                      <a:lnTo>
                        <a:pt x="594" y="492"/>
                      </a:lnTo>
                      <a:lnTo>
                        <a:pt x="660" y="486"/>
                      </a:lnTo>
                      <a:lnTo>
                        <a:pt x="660" y="522"/>
                      </a:lnTo>
                      <a:lnTo>
                        <a:pt x="672" y="522"/>
                      </a:lnTo>
                      <a:lnTo>
                        <a:pt x="666" y="546"/>
                      </a:lnTo>
                      <a:lnTo>
                        <a:pt x="678" y="576"/>
                      </a:lnTo>
                      <a:lnTo>
                        <a:pt x="684" y="582"/>
                      </a:lnTo>
                      <a:lnTo>
                        <a:pt x="696" y="582"/>
                      </a:lnTo>
                      <a:lnTo>
                        <a:pt x="702" y="588"/>
                      </a:lnTo>
                      <a:lnTo>
                        <a:pt x="714" y="588"/>
                      </a:lnTo>
                      <a:lnTo>
                        <a:pt x="720" y="582"/>
                      </a:lnTo>
                      <a:lnTo>
                        <a:pt x="726" y="582"/>
                      </a:lnTo>
                      <a:lnTo>
                        <a:pt x="750" y="606"/>
                      </a:lnTo>
                      <a:lnTo>
                        <a:pt x="774" y="606"/>
                      </a:lnTo>
                      <a:lnTo>
                        <a:pt x="786" y="600"/>
                      </a:lnTo>
                      <a:lnTo>
                        <a:pt x="792" y="594"/>
                      </a:lnTo>
                      <a:lnTo>
                        <a:pt x="804" y="570"/>
                      </a:lnTo>
                      <a:lnTo>
                        <a:pt x="804" y="558"/>
                      </a:lnTo>
                      <a:lnTo>
                        <a:pt x="816" y="558"/>
                      </a:lnTo>
                      <a:lnTo>
                        <a:pt x="852" y="540"/>
                      </a:lnTo>
                      <a:lnTo>
                        <a:pt x="858" y="528"/>
                      </a:lnTo>
                      <a:lnTo>
                        <a:pt x="870" y="522"/>
                      </a:lnTo>
                      <a:lnTo>
                        <a:pt x="882" y="522"/>
                      </a:lnTo>
                      <a:lnTo>
                        <a:pt x="882" y="462"/>
                      </a:lnTo>
                      <a:lnTo>
                        <a:pt x="888" y="450"/>
                      </a:lnTo>
                      <a:lnTo>
                        <a:pt x="900" y="444"/>
                      </a:lnTo>
                      <a:lnTo>
                        <a:pt x="936" y="444"/>
                      </a:lnTo>
                      <a:lnTo>
                        <a:pt x="936" y="420"/>
                      </a:lnTo>
                      <a:lnTo>
                        <a:pt x="948" y="420"/>
                      </a:lnTo>
                      <a:lnTo>
                        <a:pt x="960" y="426"/>
                      </a:lnTo>
                      <a:lnTo>
                        <a:pt x="966" y="432"/>
                      </a:lnTo>
                      <a:lnTo>
                        <a:pt x="978" y="438"/>
                      </a:lnTo>
                      <a:lnTo>
                        <a:pt x="1008" y="438"/>
                      </a:lnTo>
                      <a:lnTo>
                        <a:pt x="1008" y="426"/>
                      </a:lnTo>
                      <a:lnTo>
                        <a:pt x="996" y="414"/>
                      </a:lnTo>
                      <a:lnTo>
                        <a:pt x="996" y="396"/>
                      </a:lnTo>
                      <a:lnTo>
                        <a:pt x="1002" y="390"/>
                      </a:lnTo>
                      <a:lnTo>
                        <a:pt x="954" y="360"/>
                      </a:lnTo>
                      <a:lnTo>
                        <a:pt x="930" y="366"/>
                      </a:lnTo>
                      <a:lnTo>
                        <a:pt x="924" y="366"/>
                      </a:lnTo>
                      <a:lnTo>
                        <a:pt x="912" y="354"/>
                      </a:lnTo>
                      <a:lnTo>
                        <a:pt x="900" y="354"/>
                      </a:lnTo>
                      <a:lnTo>
                        <a:pt x="888" y="342"/>
                      </a:lnTo>
                      <a:lnTo>
                        <a:pt x="876" y="336"/>
                      </a:lnTo>
                      <a:lnTo>
                        <a:pt x="870" y="330"/>
                      </a:lnTo>
                      <a:lnTo>
                        <a:pt x="846" y="318"/>
                      </a:lnTo>
                      <a:lnTo>
                        <a:pt x="828" y="306"/>
                      </a:lnTo>
                      <a:lnTo>
                        <a:pt x="804" y="306"/>
                      </a:lnTo>
                      <a:lnTo>
                        <a:pt x="774" y="288"/>
                      </a:lnTo>
                      <a:lnTo>
                        <a:pt x="768" y="282"/>
                      </a:lnTo>
                      <a:lnTo>
                        <a:pt x="762" y="270"/>
                      </a:lnTo>
                      <a:lnTo>
                        <a:pt x="750" y="258"/>
                      </a:lnTo>
                      <a:lnTo>
                        <a:pt x="744" y="258"/>
                      </a:lnTo>
                      <a:lnTo>
                        <a:pt x="732" y="252"/>
                      </a:lnTo>
                      <a:lnTo>
                        <a:pt x="714" y="252"/>
                      </a:lnTo>
                      <a:lnTo>
                        <a:pt x="702" y="246"/>
                      </a:lnTo>
                      <a:lnTo>
                        <a:pt x="690" y="234"/>
                      </a:lnTo>
                      <a:lnTo>
                        <a:pt x="672" y="198"/>
                      </a:lnTo>
                      <a:lnTo>
                        <a:pt x="666" y="192"/>
                      </a:lnTo>
                      <a:lnTo>
                        <a:pt x="666" y="186"/>
                      </a:lnTo>
                      <a:lnTo>
                        <a:pt x="648" y="168"/>
                      </a:lnTo>
                      <a:lnTo>
                        <a:pt x="630" y="138"/>
                      </a:lnTo>
                      <a:lnTo>
                        <a:pt x="594" y="120"/>
                      </a:lnTo>
                      <a:lnTo>
                        <a:pt x="594" y="126"/>
                      </a:lnTo>
                      <a:lnTo>
                        <a:pt x="540" y="120"/>
                      </a:lnTo>
                      <a:lnTo>
                        <a:pt x="510" y="120"/>
                      </a:lnTo>
                      <a:lnTo>
                        <a:pt x="492" y="102"/>
                      </a:lnTo>
                      <a:lnTo>
                        <a:pt x="492" y="90"/>
                      </a:lnTo>
                      <a:lnTo>
                        <a:pt x="504" y="78"/>
                      </a:lnTo>
                      <a:lnTo>
                        <a:pt x="492" y="72"/>
                      </a:lnTo>
                      <a:lnTo>
                        <a:pt x="492" y="60"/>
                      </a:lnTo>
                      <a:lnTo>
                        <a:pt x="486" y="48"/>
                      </a:lnTo>
                      <a:lnTo>
                        <a:pt x="480" y="42"/>
                      </a:lnTo>
                      <a:lnTo>
                        <a:pt x="444" y="42"/>
                      </a:lnTo>
                      <a:lnTo>
                        <a:pt x="432" y="36"/>
                      </a:lnTo>
                      <a:lnTo>
                        <a:pt x="432" y="24"/>
                      </a:lnTo>
                      <a:lnTo>
                        <a:pt x="408" y="24"/>
                      </a:lnTo>
                      <a:lnTo>
                        <a:pt x="390" y="0"/>
                      </a:lnTo>
                      <a:lnTo>
                        <a:pt x="384" y="12"/>
                      </a:lnTo>
                      <a:lnTo>
                        <a:pt x="354" y="6"/>
                      </a:lnTo>
                      <a:lnTo>
                        <a:pt x="384" y="36"/>
                      </a:lnTo>
                      <a:lnTo>
                        <a:pt x="378" y="30"/>
                      </a:lnTo>
                      <a:lnTo>
                        <a:pt x="366" y="30"/>
                      </a:lnTo>
                      <a:lnTo>
                        <a:pt x="360" y="24"/>
                      </a:lnTo>
                      <a:lnTo>
                        <a:pt x="354" y="24"/>
                      </a:lnTo>
                      <a:lnTo>
                        <a:pt x="348" y="30"/>
                      </a:lnTo>
                      <a:lnTo>
                        <a:pt x="348" y="42"/>
                      </a:lnTo>
                      <a:lnTo>
                        <a:pt x="342" y="42"/>
                      </a:lnTo>
                      <a:lnTo>
                        <a:pt x="336" y="48"/>
                      </a:lnTo>
                      <a:lnTo>
                        <a:pt x="324" y="48"/>
                      </a:lnTo>
                      <a:lnTo>
                        <a:pt x="312" y="54"/>
                      </a:lnTo>
                      <a:lnTo>
                        <a:pt x="294" y="72"/>
                      </a:lnTo>
                      <a:lnTo>
                        <a:pt x="294" y="84"/>
                      </a:lnTo>
                      <a:lnTo>
                        <a:pt x="300" y="102"/>
                      </a:lnTo>
                      <a:lnTo>
                        <a:pt x="312" y="108"/>
                      </a:lnTo>
                      <a:lnTo>
                        <a:pt x="318" y="120"/>
                      </a:lnTo>
                      <a:lnTo>
                        <a:pt x="252" y="120"/>
                      </a:lnTo>
                      <a:lnTo>
                        <a:pt x="240" y="108"/>
                      </a:lnTo>
                      <a:lnTo>
                        <a:pt x="228" y="108"/>
                      </a:lnTo>
                      <a:lnTo>
                        <a:pt x="228" y="114"/>
                      </a:lnTo>
                      <a:lnTo>
                        <a:pt x="216" y="126"/>
                      </a:lnTo>
                      <a:lnTo>
                        <a:pt x="210" y="120"/>
                      </a:lnTo>
                      <a:lnTo>
                        <a:pt x="198" y="114"/>
                      </a:lnTo>
                      <a:lnTo>
                        <a:pt x="174" y="90"/>
                      </a:lnTo>
                      <a:lnTo>
                        <a:pt x="168" y="78"/>
                      </a:lnTo>
                      <a:lnTo>
                        <a:pt x="162" y="72"/>
                      </a:lnTo>
                      <a:lnTo>
                        <a:pt x="156" y="60"/>
                      </a:lnTo>
                      <a:lnTo>
                        <a:pt x="144" y="54"/>
                      </a:lnTo>
                      <a:lnTo>
                        <a:pt x="132" y="42"/>
                      </a:lnTo>
                      <a:lnTo>
                        <a:pt x="120" y="42"/>
                      </a:lnTo>
                      <a:lnTo>
                        <a:pt x="96" y="30"/>
                      </a:lnTo>
                      <a:lnTo>
                        <a:pt x="78" y="30"/>
                      </a:lnTo>
                      <a:lnTo>
                        <a:pt x="72" y="36"/>
                      </a:lnTo>
                      <a:lnTo>
                        <a:pt x="72" y="48"/>
                      </a:lnTo>
                      <a:lnTo>
                        <a:pt x="84" y="54"/>
                      </a:lnTo>
                      <a:lnTo>
                        <a:pt x="90" y="54"/>
                      </a:lnTo>
                      <a:lnTo>
                        <a:pt x="90" y="66"/>
                      </a:lnTo>
                      <a:lnTo>
                        <a:pt x="96" y="66"/>
                      </a:lnTo>
                      <a:lnTo>
                        <a:pt x="96" y="72"/>
                      </a:lnTo>
                      <a:lnTo>
                        <a:pt x="102" y="84"/>
                      </a:lnTo>
                      <a:lnTo>
                        <a:pt x="114" y="90"/>
                      </a:lnTo>
                      <a:lnTo>
                        <a:pt x="126" y="102"/>
                      </a:lnTo>
                      <a:lnTo>
                        <a:pt x="138" y="108"/>
                      </a:lnTo>
                      <a:lnTo>
                        <a:pt x="150" y="120"/>
                      </a:lnTo>
                      <a:lnTo>
                        <a:pt x="162" y="126"/>
                      </a:lnTo>
                      <a:lnTo>
                        <a:pt x="162" y="150"/>
                      </a:lnTo>
                      <a:lnTo>
                        <a:pt x="156" y="156"/>
                      </a:lnTo>
                      <a:lnTo>
                        <a:pt x="144" y="156"/>
                      </a:lnTo>
                      <a:lnTo>
                        <a:pt x="132" y="150"/>
                      </a:lnTo>
                      <a:lnTo>
                        <a:pt x="120" y="138"/>
                      </a:lnTo>
                      <a:lnTo>
                        <a:pt x="120" y="162"/>
                      </a:lnTo>
                      <a:lnTo>
                        <a:pt x="78" y="162"/>
                      </a:lnTo>
                      <a:lnTo>
                        <a:pt x="66" y="144"/>
                      </a:lnTo>
                      <a:lnTo>
                        <a:pt x="60" y="150"/>
                      </a:lnTo>
                      <a:lnTo>
                        <a:pt x="48" y="138"/>
                      </a:lnTo>
                      <a:lnTo>
                        <a:pt x="42" y="126"/>
                      </a:lnTo>
                      <a:lnTo>
                        <a:pt x="36" y="120"/>
                      </a:lnTo>
                      <a:lnTo>
                        <a:pt x="36" y="102"/>
                      </a:lnTo>
                      <a:lnTo>
                        <a:pt x="30" y="96"/>
                      </a:lnTo>
                      <a:lnTo>
                        <a:pt x="30" y="84"/>
                      </a:lnTo>
                      <a:lnTo>
                        <a:pt x="24" y="78"/>
                      </a:lnTo>
                      <a:lnTo>
                        <a:pt x="0" y="78"/>
                      </a:lnTo>
                      <a:lnTo>
                        <a:pt x="0" y="84"/>
                      </a:lnTo>
                      <a:lnTo>
                        <a:pt x="6" y="90"/>
                      </a:lnTo>
                      <a:lnTo>
                        <a:pt x="12" y="102"/>
                      </a:lnTo>
                      <a:lnTo>
                        <a:pt x="18" y="108"/>
                      </a:lnTo>
                      <a:lnTo>
                        <a:pt x="24" y="120"/>
                      </a:lnTo>
                      <a:lnTo>
                        <a:pt x="36" y="126"/>
                      </a:lnTo>
                      <a:lnTo>
                        <a:pt x="42" y="138"/>
                      </a:lnTo>
                      <a:lnTo>
                        <a:pt x="48" y="144"/>
                      </a:lnTo>
                      <a:lnTo>
                        <a:pt x="48" y="15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537" name="Turkey"/>
                <p:cNvSpPr>
                  <a:spLocks noEditPoints="1"/>
                </p:cNvSpPr>
                <p:nvPr/>
              </p:nvSpPr>
              <p:spPr bwMode="gray">
                <a:xfrm>
                  <a:off x="3088" y="1441"/>
                  <a:ext cx="340" cy="130"/>
                </a:xfrm>
                <a:custGeom>
                  <a:avLst/>
                  <a:gdLst>
                    <a:gd name="T0" fmla="*/ 2147483647 w 1332"/>
                    <a:gd name="T1" fmla="*/ 2147483647 h 510"/>
                    <a:gd name="T2" fmla="*/ 2147483647 w 1332"/>
                    <a:gd name="T3" fmla="*/ 2147483647 h 510"/>
                    <a:gd name="T4" fmla="*/ 2147483647 w 1332"/>
                    <a:gd name="T5" fmla="*/ 2147483647 h 510"/>
                    <a:gd name="T6" fmla="*/ 2147483647 w 1332"/>
                    <a:gd name="T7" fmla="*/ 2147483647 h 510"/>
                    <a:gd name="T8" fmla="*/ 2147483647 w 1332"/>
                    <a:gd name="T9" fmla="*/ 2147483647 h 510"/>
                    <a:gd name="T10" fmla="*/ 2147483647 w 1332"/>
                    <a:gd name="T11" fmla="*/ 2147483647 h 510"/>
                    <a:gd name="T12" fmla="*/ 2147483647 w 1332"/>
                    <a:gd name="T13" fmla="*/ 2147483647 h 510"/>
                    <a:gd name="T14" fmla="*/ 2147483647 w 1332"/>
                    <a:gd name="T15" fmla="*/ 2147483647 h 510"/>
                    <a:gd name="T16" fmla="*/ 2147483647 w 1332"/>
                    <a:gd name="T17" fmla="*/ 2147483647 h 510"/>
                    <a:gd name="T18" fmla="*/ 2147483647 w 1332"/>
                    <a:gd name="T19" fmla="*/ 2147483647 h 510"/>
                    <a:gd name="T20" fmla="*/ 2147483647 w 1332"/>
                    <a:gd name="T21" fmla="*/ 2147483647 h 510"/>
                    <a:gd name="T22" fmla="*/ 2147483647 w 1332"/>
                    <a:gd name="T23" fmla="*/ 2147483647 h 510"/>
                    <a:gd name="T24" fmla="*/ 2147483647 w 1332"/>
                    <a:gd name="T25" fmla="*/ 2147483647 h 510"/>
                    <a:gd name="T26" fmla="*/ 2147483647 w 1332"/>
                    <a:gd name="T27" fmla="*/ 2147483647 h 510"/>
                    <a:gd name="T28" fmla="*/ 2147483647 w 1332"/>
                    <a:gd name="T29" fmla="*/ 2147483647 h 510"/>
                    <a:gd name="T30" fmla="*/ 2147483647 w 1332"/>
                    <a:gd name="T31" fmla="*/ 2147483647 h 510"/>
                    <a:gd name="T32" fmla="*/ 2147483647 w 1332"/>
                    <a:gd name="T33" fmla="*/ 2147483647 h 510"/>
                    <a:gd name="T34" fmla="*/ 2147483647 w 1332"/>
                    <a:gd name="T35" fmla="*/ 2147483647 h 510"/>
                    <a:gd name="T36" fmla="*/ 2147483647 w 1332"/>
                    <a:gd name="T37" fmla="*/ 2147483647 h 510"/>
                    <a:gd name="T38" fmla="*/ 2147483647 w 1332"/>
                    <a:gd name="T39" fmla="*/ 2147483647 h 510"/>
                    <a:gd name="T40" fmla="*/ 2147483647 w 1332"/>
                    <a:gd name="T41" fmla="*/ 2147483647 h 510"/>
                    <a:gd name="T42" fmla="*/ 2147483647 w 1332"/>
                    <a:gd name="T43" fmla="*/ 2147483647 h 510"/>
                    <a:gd name="T44" fmla="*/ 2147483647 w 1332"/>
                    <a:gd name="T45" fmla="*/ 2147483647 h 510"/>
                    <a:gd name="T46" fmla="*/ 2147483647 w 1332"/>
                    <a:gd name="T47" fmla="*/ 2147483647 h 510"/>
                    <a:gd name="T48" fmla="*/ 2147483647 w 1332"/>
                    <a:gd name="T49" fmla="*/ 2147483647 h 510"/>
                    <a:gd name="T50" fmla="*/ 2147483647 w 1332"/>
                    <a:gd name="T51" fmla="*/ 2147483647 h 510"/>
                    <a:gd name="T52" fmla="*/ 2147483647 w 1332"/>
                    <a:gd name="T53" fmla="*/ 2147483647 h 510"/>
                    <a:gd name="T54" fmla="*/ 2147483647 w 1332"/>
                    <a:gd name="T55" fmla="*/ 2147483647 h 510"/>
                    <a:gd name="T56" fmla="*/ 2147483647 w 1332"/>
                    <a:gd name="T57" fmla="*/ 2147483647 h 510"/>
                    <a:gd name="T58" fmla="*/ 2147483647 w 1332"/>
                    <a:gd name="T59" fmla="*/ 2147483647 h 510"/>
                    <a:gd name="T60" fmla="*/ 2147483647 w 1332"/>
                    <a:gd name="T61" fmla="*/ 2147483647 h 510"/>
                    <a:gd name="T62" fmla="*/ 2147483647 w 1332"/>
                    <a:gd name="T63" fmla="*/ 2147483647 h 510"/>
                    <a:gd name="T64" fmla="*/ 2147483647 w 1332"/>
                    <a:gd name="T65" fmla="*/ 2147483647 h 510"/>
                    <a:gd name="T66" fmla="*/ 2147483647 w 1332"/>
                    <a:gd name="T67" fmla="*/ 2147483647 h 510"/>
                    <a:gd name="T68" fmla="*/ 2147483647 w 1332"/>
                    <a:gd name="T69" fmla="*/ 2147483647 h 510"/>
                    <a:gd name="T70" fmla="*/ 2147483647 w 1332"/>
                    <a:gd name="T71" fmla="*/ 2147483647 h 510"/>
                    <a:gd name="T72" fmla="*/ 2147483647 w 1332"/>
                    <a:gd name="T73" fmla="*/ 2147483647 h 510"/>
                    <a:gd name="T74" fmla="*/ 2147483647 w 1332"/>
                    <a:gd name="T75" fmla="*/ 2147483647 h 510"/>
                    <a:gd name="T76" fmla="*/ 2147483647 w 1332"/>
                    <a:gd name="T77" fmla="*/ 2147483647 h 510"/>
                    <a:gd name="T78" fmla="*/ 2147483647 w 1332"/>
                    <a:gd name="T79" fmla="*/ 2147483647 h 510"/>
                    <a:gd name="T80" fmla="*/ 2147483647 w 1332"/>
                    <a:gd name="T81" fmla="*/ 2147483647 h 510"/>
                    <a:gd name="T82" fmla="*/ 2147483647 w 1332"/>
                    <a:gd name="T83" fmla="*/ 2147483647 h 510"/>
                    <a:gd name="T84" fmla="*/ 2147483647 w 1332"/>
                    <a:gd name="T85" fmla="*/ 2147483647 h 510"/>
                    <a:gd name="T86" fmla="*/ 2147483647 w 1332"/>
                    <a:gd name="T87" fmla="*/ 2147483647 h 510"/>
                    <a:gd name="T88" fmla="*/ 2147483647 w 1332"/>
                    <a:gd name="T89" fmla="*/ 2147483647 h 510"/>
                    <a:gd name="T90" fmla="*/ 2147483647 w 1332"/>
                    <a:gd name="T91" fmla="*/ 2147483647 h 510"/>
                    <a:gd name="T92" fmla="*/ 2147483647 w 1332"/>
                    <a:gd name="T93" fmla="*/ 2147483647 h 510"/>
                    <a:gd name="T94" fmla="*/ 2147483647 w 1332"/>
                    <a:gd name="T95" fmla="*/ 2147483647 h 510"/>
                    <a:gd name="T96" fmla="*/ 2147483647 w 1332"/>
                    <a:gd name="T97" fmla="*/ 2147483647 h 510"/>
                    <a:gd name="T98" fmla="*/ 2147483647 w 1332"/>
                    <a:gd name="T99" fmla="*/ 2147483647 h 510"/>
                    <a:gd name="T100" fmla="*/ 2147483647 w 1332"/>
                    <a:gd name="T101" fmla="*/ 2147483647 h 510"/>
                    <a:gd name="T102" fmla="*/ 2147483647 w 1332"/>
                    <a:gd name="T103" fmla="*/ 2147483647 h 510"/>
                    <a:gd name="T104" fmla="*/ 2147483647 w 1332"/>
                    <a:gd name="T105" fmla="*/ 2147483647 h 510"/>
                    <a:gd name="T106" fmla="*/ 2147483647 w 1332"/>
                    <a:gd name="T107" fmla="*/ 2147483647 h 510"/>
                    <a:gd name="T108" fmla="*/ 2147483647 w 1332"/>
                    <a:gd name="T109" fmla="*/ 2147483647 h 510"/>
                    <a:gd name="T110" fmla="*/ 2147483647 w 1332"/>
                    <a:gd name="T111" fmla="*/ 2147483647 h 510"/>
                    <a:gd name="T112" fmla="*/ 2147483647 w 1332"/>
                    <a:gd name="T113" fmla="*/ 2147483647 h 510"/>
                    <a:gd name="T114" fmla="*/ 2147483647 w 1332"/>
                    <a:gd name="T115" fmla="*/ 2147483647 h 51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332"/>
                    <a:gd name="T175" fmla="*/ 0 h 510"/>
                    <a:gd name="T176" fmla="*/ 1332 w 1332"/>
                    <a:gd name="T177" fmla="*/ 510 h 51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332" h="510">
                      <a:moveTo>
                        <a:pt x="6" y="192"/>
                      </a:moveTo>
                      <a:lnTo>
                        <a:pt x="24" y="186"/>
                      </a:lnTo>
                      <a:lnTo>
                        <a:pt x="30" y="174"/>
                      </a:lnTo>
                      <a:lnTo>
                        <a:pt x="0" y="174"/>
                      </a:lnTo>
                      <a:lnTo>
                        <a:pt x="6" y="192"/>
                      </a:lnTo>
                      <a:close/>
                      <a:moveTo>
                        <a:pt x="42" y="162"/>
                      </a:moveTo>
                      <a:lnTo>
                        <a:pt x="42" y="168"/>
                      </a:lnTo>
                      <a:lnTo>
                        <a:pt x="48" y="174"/>
                      </a:lnTo>
                      <a:lnTo>
                        <a:pt x="60" y="174"/>
                      </a:lnTo>
                      <a:lnTo>
                        <a:pt x="60" y="162"/>
                      </a:lnTo>
                      <a:lnTo>
                        <a:pt x="54" y="156"/>
                      </a:lnTo>
                      <a:lnTo>
                        <a:pt x="54" y="150"/>
                      </a:lnTo>
                      <a:lnTo>
                        <a:pt x="48" y="150"/>
                      </a:lnTo>
                      <a:lnTo>
                        <a:pt x="48" y="156"/>
                      </a:lnTo>
                      <a:lnTo>
                        <a:pt x="42" y="162"/>
                      </a:lnTo>
                      <a:close/>
                      <a:moveTo>
                        <a:pt x="96" y="138"/>
                      </a:moveTo>
                      <a:lnTo>
                        <a:pt x="66" y="138"/>
                      </a:lnTo>
                      <a:lnTo>
                        <a:pt x="66" y="174"/>
                      </a:lnTo>
                      <a:lnTo>
                        <a:pt x="78" y="150"/>
                      </a:lnTo>
                      <a:lnTo>
                        <a:pt x="96" y="138"/>
                      </a:lnTo>
                      <a:close/>
                      <a:moveTo>
                        <a:pt x="1332" y="402"/>
                      </a:moveTo>
                      <a:lnTo>
                        <a:pt x="1332" y="390"/>
                      </a:lnTo>
                      <a:lnTo>
                        <a:pt x="1308" y="384"/>
                      </a:lnTo>
                      <a:lnTo>
                        <a:pt x="1308" y="354"/>
                      </a:lnTo>
                      <a:lnTo>
                        <a:pt x="1272" y="336"/>
                      </a:lnTo>
                      <a:lnTo>
                        <a:pt x="1278" y="330"/>
                      </a:lnTo>
                      <a:lnTo>
                        <a:pt x="1284" y="318"/>
                      </a:lnTo>
                      <a:lnTo>
                        <a:pt x="1284" y="312"/>
                      </a:lnTo>
                      <a:lnTo>
                        <a:pt x="1290" y="306"/>
                      </a:lnTo>
                      <a:lnTo>
                        <a:pt x="1284" y="306"/>
                      </a:lnTo>
                      <a:lnTo>
                        <a:pt x="1278" y="300"/>
                      </a:lnTo>
                      <a:lnTo>
                        <a:pt x="1278" y="288"/>
                      </a:lnTo>
                      <a:lnTo>
                        <a:pt x="1266" y="276"/>
                      </a:lnTo>
                      <a:lnTo>
                        <a:pt x="1266" y="246"/>
                      </a:lnTo>
                      <a:lnTo>
                        <a:pt x="1248" y="222"/>
                      </a:lnTo>
                      <a:lnTo>
                        <a:pt x="1272" y="222"/>
                      </a:lnTo>
                      <a:lnTo>
                        <a:pt x="1272" y="216"/>
                      </a:lnTo>
                      <a:lnTo>
                        <a:pt x="1278" y="210"/>
                      </a:lnTo>
                      <a:lnTo>
                        <a:pt x="1272" y="198"/>
                      </a:lnTo>
                      <a:lnTo>
                        <a:pt x="1272" y="186"/>
                      </a:lnTo>
                      <a:lnTo>
                        <a:pt x="1266" y="180"/>
                      </a:lnTo>
                      <a:lnTo>
                        <a:pt x="1266" y="174"/>
                      </a:lnTo>
                      <a:lnTo>
                        <a:pt x="1260" y="174"/>
                      </a:lnTo>
                      <a:lnTo>
                        <a:pt x="1248" y="180"/>
                      </a:lnTo>
                      <a:lnTo>
                        <a:pt x="1236" y="180"/>
                      </a:lnTo>
                      <a:lnTo>
                        <a:pt x="1224" y="174"/>
                      </a:lnTo>
                      <a:lnTo>
                        <a:pt x="1218" y="168"/>
                      </a:lnTo>
                      <a:lnTo>
                        <a:pt x="1212" y="156"/>
                      </a:lnTo>
                      <a:lnTo>
                        <a:pt x="1212" y="144"/>
                      </a:lnTo>
                      <a:lnTo>
                        <a:pt x="1200" y="108"/>
                      </a:lnTo>
                      <a:lnTo>
                        <a:pt x="1194" y="96"/>
                      </a:lnTo>
                      <a:lnTo>
                        <a:pt x="1194" y="84"/>
                      </a:lnTo>
                      <a:lnTo>
                        <a:pt x="1188" y="78"/>
                      </a:lnTo>
                      <a:lnTo>
                        <a:pt x="1164" y="78"/>
                      </a:lnTo>
                      <a:lnTo>
                        <a:pt x="1164" y="72"/>
                      </a:lnTo>
                      <a:lnTo>
                        <a:pt x="1158" y="60"/>
                      </a:lnTo>
                      <a:lnTo>
                        <a:pt x="1152" y="54"/>
                      </a:lnTo>
                      <a:lnTo>
                        <a:pt x="1140" y="48"/>
                      </a:lnTo>
                      <a:lnTo>
                        <a:pt x="1128" y="48"/>
                      </a:lnTo>
                      <a:lnTo>
                        <a:pt x="1116" y="54"/>
                      </a:lnTo>
                      <a:lnTo>
                        <a:pt x="1110" y="60"/>
                      </a:lnTo>
                      <a:lnTo>
                        <a:pt x="1074" y="54"/>
                      </a:lnTo>
                      <a:lnTo>
                        <a:pt x="1062" y="66"/>
                      </a:lnTo>
                      <a:lnTo>
                        <a:pt x="1026" y="90"/>
                      </a:lnTo>
                      <a:lnTo>
                        <a:pt x="1014" y="96"/>
                      </a:lnTo>
                      <a:lnTo>
                        <a:pt x="930" y="96"/>
                      </a:lnTo>
                      <a:lnTo>
                        <a:pt x="876" y="108"/>
                      </a:lnTo>
                      <a:lnTo>
                        <a:pt x="810" y="84"/>
                      </a:lnTo>
                      <a:lnTo>
                        <a:pt x="786" y="96"/>
                      </a:lnTo>
                      <a:lnTo>
                        <a:pt x="786" y="90"/>
                      </a:lnTo>
                      <a:lnTo>
                        <a:pt x="780" y="84"/>
                      </a:lnTo>
                      <a:lnTo>
                        <a:pt x="774" y="72"/>
                      </a:lnTo>
                      <a:lnTo>
                        <a:pt x="768" y="66"/>
                      </a:lnTo>
                      <a:lnTo>
                        <a:pt x="756" y="66"/>
                      </a:lnTo>
                      <a:lnTo>
                        <a:pt x="744" y="72"/>
                      </a:lnTo>
                      <a:lnTo>
                        <a:pt x="738" y="78"/>
                      </a:lnTo>
                      <a:lnTo>
                        <a:pt x="708" y="60"/>
                      </a:lnTo>
                      <a:lnTo>
                        <a:pt x="708" y="36"/>
                      </a:lnTo>
                      <a:lnTo>
                        <a:pt x="660" y="48"/>
                      </a:lnTo>
                      <a:lnTo>
                        <a:pt x="636" y="30"/>
                      </a:lnTo>
                      <a:lnTo>
                        <a:pt x="630" y="12"/>
                      </a:lnTo>
                      <a:lnTo>
                        <a:pt x="624" y="12"/>
                      </a:lnTo>
                      <a:lnTo>
                        <a:pt x="618" y="18"/>
                      </a:lnTo>
                      <a:lnTo>
                        <a:pt x="600" y="18"/>
                      </a:lnTo>
                      <a:lnTo>
                        <a:pt x="588" y="24"/>
                      </a:lnTo>
                      <a:lnTo>
                        <a:pt x="558" y="24"/>
                      </a:lnTo>
                      <a:lnTo>
                        <a:pt x="534" y="18"/>
                      </a:lnTo>
                      <a:lnTo>
                        <a:pt x="504" y="18"/>
                      </a:lnTo>
                      <a:lnTo>
                        <a:pt x="492" y="24"/>
                      </a:lnTo>
                      <a:lnTo>
                        <a:pt x="456" y="36"/>
                      </a:lnTo>
                      <a:lnTo>
                        <a:pt x="444" y="42"/>
                      </a:lnTo>
                      <a:lnTo>
                        <a:pt x="438" y="48"/>
                      </a:lnTo>
                      <a:lnTo>
                        <a:pt x="426" y="54"/>
                      </a:lnTo>
                      <a:lnTo>
                        <a:pt x="414" y="66"/>
                      </a:lnTo>
                      <a:lnTo>
                        <a:pt x="408" y="66"/>
                      </a:lnTo>
                      <a:lnTo>
                        <a:pt x="396" y="90"/>
                      </a:lnTo>
                      <a:lnTo>
                        <a:pt x="378" y="90"/>
                      </a:lnTo>
                      <a:lnTo>
                        <a:pt x="354" y="84"/>
                      </a:lnTo>
                      <a:lnTo>
                        <a:pt x="294" y="84"/>
                      </a:lnTo>
                      <a:lnTo>
                        <a:pt x="282" y="78"/>
                      </a:lnTo>
                      <a:lnTo>
                        <a:pt x="264" y="78"/>
                      </a:lnTo>
                      <a:lnTo>
                        <a:pt x="252" y="72"/>
                      </a:lnTo>
                      <a:lnTo>
                        <a:pt x="240" y="72"/>
                      </a:lnTo>
                      <a:lnTo>
                        <a:pt x="234" y="66"/>
                      </a:lnTo>
                      <a:lnTo>
                        <a:pt x="198" y="66"/>
                      </a:lnTo>
                      <a:lnTo>
                        <a:pt x="186" y="54"/>
                      </a:lnTo>
                      <a:lnTo>
                        <a:pt x="180" y="36"/>
                      </a:lnTo>
                      <a:lnTo>
                        <a:pt x="180" y="24"/>
                      </a:lnTo>
                      <a:lnTo>
                        <a:pt x="168" y="24"/>
                      </a:lnTo>
                      <a:lnTo>
                        <a:pt x="156" y="18"/>
                      </a:lnTo>
                      <a:lnTo>
                        <a:pt x="144" y="18"/>
                      </a:lnTo>
                      <a:lnTo>
                        <a:pt x="132" y="0"/>
                      </a:lnTo>
                      <a:lnTo>
                        <a:pt x="120" y="18"/>
                      </a:lnTo>
                      <a:lnTo>
                        <a:pt x="90" y="12"/>
                      </a:lnTo>
                      <a:lnTo>
                        <a:pt x="72" y="36"/>
                      </a:lnTo>
                      <a:lnTo>
                        <a:pt x="78" y="42"/>
                      </a:lnTo>
                      <a:lnTo>
                        <a:pt x="90" y="42"/>
                      </a:lnTo>
                      <a:lnTo>
                        <a:pt x="90" y="48"/>
                      </a:lnTo>
                      <a:lnTo>
                        <a:pt x="96" y="54"/>
                      </a:lnTo>
                      <a:lnTo>
                        <a:pt x="96" y="66"/>
                      </a:lnTo>
                      <a:lnTo>
                        <a:pt x="78" y="66"/>
                      </a:lnTo>
                      <a:lnTo>
                        <a:pt x="72" y="72"/>
                      </a:lnTo>
                      <a:lnTo>
                        <a:pt x="72" y="78"/>
                      </a:lnTo>
                      <a:lnTo>
                        <a:pt x="78" y="84"/>
                      </a:lnTo>
                      <a:lnTo>
                        <a:pt x="78" y="96"/>
                      </a:lnTo>
                      <a:lnTo>
                        <a:pt x="72" y="108"/>
                      </a:lnTo>
                      <a:lnTo>
                        <a:pt x="72" y="114"/>
                      </a:lnTo>
                      <a:lnTo>
                        <a:pt x="66" y="120"/>
                      </a:lnTo>
                      <a:lnTo>
                        <a:pt x="66" y="132"/>
                      </a:lnTo>
                      <a:lnTo>
                        <a:pt x="72" y="132"/>
                      </a:lnTo>
                      <a:lnTo>
                        <a:pt x="90" y="126"/>
                      </a:lnTo>
                      <a:lnTo>
                        <a:pt x="102" y="126"/>
                      </a:lnTo>
                      <a:lnTo>
                        <a:pt x="108" y="120"/>
                      </a:lnTo>
                      <a:lnTo>
                        <a:pt x="114" y="120"/>
                      </a:lnTo>
                      <a:lnTo>
                        <a:pt x="114" y="132"/>
                      </a:lnTo>
                      <a:lnTo>
                        <a:pt x="120" y="132"/>
                      </a:lnTo>
                      <a:lnTo>
                        <a:pt x="126" y="126"/>
                      </a:lnTo>
                      <a:lnTo>
                        <a:pt x="138" y="120"/>
                      </a:lnTo>
                      <a:lnTo>
                        <a:pt x="162" y="96"/>
                      </a:lnTo>
                      <a:lnTo>
                        <a:pt x="168" y="96"/>
                      </a:lnTo>
                      <a:lnTo>
                        <a:pt x="174" y="90"/>
                      </a:lnTo>
                      <a:lnTo>
                        <a:pt x="186" y="90"/>
                      </a:lnTo>
                      <a:lnTo>
                        <a:pt x="204" y="84"/>
                      </a:lnTo>
                      <a:lnTo>
                        <a:pt x="216" y="84"/>
                      </a:lnTo>
                      <a:lnTo>
                        <a:pt x="252" y="102"/>
                      </a:lnTo>
                      <a:lnTo>
                        <a:pt x="270" y="108"/>
                      </a:lnTo>
                      <a:lnTo>
                        <a:pt x="282" y="108"/>
                      </a:lnTo>
                      <a:lnTo>
                        <a:pt x="288" y="114"/>
                      </a:lnTo>
                      <a:lnTo>
                        <a:pt x="294" y="114"/>
                      </a:lnTo>
                      <a:lnTo>
                        <a:pt x="270" y="114"/>
                      </a:lnTo>
                      <a:lnTo>
                        <a:pt x="258" y="120"/>
                      </a:lnTo>
                      <a:lnTo>
                        <a:pt x="246" y="120"/>
                      </a:lnTo>
                      <a:lnTo>
                        <a:pt x="246" y="132"/>
                      </a:lnTo>
                      <a:lnTo>
                        <a:pt x="240" y="138"/>
                      </a:lnTo>
                      <a:lnTo>
                        <a:pt x="186" y="144"/>
                      </a:lnTo>
                      <a:lnTo>
                        <a:pt x="138" y="138"/>
                      </a:lnTo>
                      <a:lnTo>
                        <a:pt x="120" y="138"/>
                      </a:lnTo>
                      <a:lnTo>
                        <a:pt x="96" y="150"/>
                      </a:lnTo>
                      <a:lnTo>
                        <a:pt x="84" y="162"/>
                      </a:lnTo>
                      <a:lnTo>
                        <a:pt x="84" y="174"/>
                      </a:lnTo>
                      <a:lnTo>
                        <a:pt x="78" y="192"/>
                      </a:lnTo>
                      <a:lnTo>
                        <a:pt x="78" y="204"/>
                      </a:lnTo>
                      <a:lnTo>
                        <a:pt x="72" y="210"/>
                      </a:lnTo>
                      <a:lnTo>
                        <a:pt x="72" y="216"/>
                      </a:lnTo>
                      <a:lnTo>
                        <a:pt x="114" y="216"/>
                      </a:lnTo>
                      <a:lnTo>
                        <a:pt x="114" y="240"/>
                      </a:lnTo>
                      <a:lnTo>
                        <a:pt x="120" y="246"/>
                      </a:lnTo>
                      <a:lnTo>
                        <a:pt x="126" y="258"/>
                      </a:lnTo>
                      <a:lnTo>
                        <a:pt x="132" y="264"/>
                      </a:lnTo>
                      <a:lnTo>
                        <a:pt x="126" y="282"/>
                      </a:lnTo>
                      <a:lnTo>
                        <a:pt x="138" y="300"/>
                      </a:lnTo>
                      <a:lnTo>
                        <a:pt x="126" y="318"/>
                      </a:lnTo>
                      <a:lnTo>
                        <a:pt x="162" y="354"/>
                      </a:lnTo>
                      <a:lnTo>
                        <a:pt x="156" y="390"/>
                      </a:lnTo>
                      <a:lnTo>
                        <a:pt x="210" y="414"/>
                      </a:lnTo>
                      <a:lnTo>
                        <a:pt x="216" y="444"/>
                      </a:lnTo>
                      <a:lnTo>
                        <a:pt x="216" y="438"/>
                      </a:lnTo>
                      <a:lnTo>
                        <a:pt x="222" y="438"/>
                      </a:lnTo>
                      <a:lnTo>
                        <a:pt x="222" y="432"/>
                      </a:lnTo>
                      <a:lnTo>
                        <a:pt x="228" y="432"/>
                      </a:lnTo>
                      <a:lnTo>
                        <a:pt x="252" y="444"/>
                      </a:lnTo>
                      <a:lnTo>
                        <a:pt x="258" y="444"/>
                      </a:lnTo>
                      <a:lnTo>
                        <a:pt x="264" y="450"/>
                      </a:lnTo>
                      <a:lnTo>
                        <a:pt x="270" y="462"/>
                      </a:lnTo>
                      <a:lnTo>
                        <a:pt x="282" y="468"/>
                      </a:lnTo>
                      <a:lnTo>
                        <a:pt x="294" y="468"/>
                      </a:lnTo>
                      <a:lnTo>
                        <a:pt x="312" y="474"/>
                      </a:lnTo>
                      <a:lnTo>
                        <a:pt x="372" y="474"/>
                      </a:lnTo>
                      <a:lnTo>
                        <a:pt x="372" y="450"/>
                      </a:lnTo>
                      <a:lnTo>
                        <a:pt x="378" y="438"/>
                      </a:lnTo>
                      <a:lnTo>
                        <a:pt x="390" y="426"/>
                      </a:lnTo>
                      <a:lnTo>
                        <a:pt x="408" y="426"/>
                      </a:lnTo>
                      <a:lnTo>
                        <a:pt x="432" y="432"/>
                      </a:lnTo>
                      <a:lnTo>
                        <a:pt x="468" y="444"/>
                      </a:lnTo>
                      <a:lnTo>
                        <a:pt x="474" y="450"/>
                      </a:lnTo>
                      <a:lnTo>
                        <a:pt x="480" y="450"/>
                      </a:lnTo>
                      <a:lnTo>
                        <a:pt x="480" y="456"/>
                      </a:lnTo>
                      <a:lnTo>
                        <a:pt x="486" y="468"/>
                      </a:lnTo>
                      <a:lnTo>
                        <a:pt x="486" y="474"/>
                      </a:lnTo>
                      <a:lnTo>
                        <a:pt x="492" y="480"/>
                      </a:lnTo>
                      <a:lnTo>
                        <a:pt x="504" y="486"/>
                      </a:lnTo>
                      <a:lnTo>
                        <a:pt x="564" y="486"/>
                      </a:lnTo>
                      <a:lnTo>
                        <a:pt x="576" y="480"/>
                      </a:lnTo>
                      <a:lnTo>
                        <a:pt x="594" y="474"/>
                      </a:lnTo>
                      <a:lnTo>
                        <a:pt x="606" y="462"/>
                      </a:lnTo>
                      <a:lnTo>
                        <a:pt x="618" y="456"/>
                      </a:lnTo>
                      <a:lnTo>
                        <a:pt x="630" y="444"/>
                      </a:lnTo>
                      <a:lnTo>
                        <a:pt x="648" y="438"/>
                      </a:lnTo>
                      <a:lnTo>
                        <a:pt x="660" y="432"/>
                      </a:lnTo>
                      <a:lnTo>
                        <a:pt x="672" y="432"/>
                      </a:lnTo>
                      <a:lnTo>
                        <a:pt x="684" y="438"/>
                      </a:lnTo>
                      <a:lnTo>
                        <a:pt x="690" y="444"/>
                      </a:lnTo>
                      <a:lnTo>
                        <a:pt x="696" y="444"/>
                      </a:lnTo>
                      <a:lnTo>
                        <a:pt x="702" y="450"/>
                      </a:lnTo>
                      <a:lnTo>
                        <a:pt x="714" y="450"/>
                      </a:lnTo>
                      <a:lnTo>
                        <a:pt x="726" y="444"/>
                      </a:lnTo>
                      <a:lnTo>
                        <a:pt x="732" y="432"/>
                      </a:lnTo>
                      <a:lnTo>
                        <a:pt x="744" y="420"/>
                      </a:lnTo>
                      <a:lnTo>
                        <a:pt x="756" y="432"/>
                      </a:lnTo>
                      <a:lnTo>
                        <a:pt x="756" y="444"/>
                      </a:lnTo>
                      <a:lnTo>
                        <a:pt x="750" y="450"/>
                      </a:lnTo>
                      <a:lnTo>
                        <a:pt x="744" y="462"/>
                      </a:lnTo>
                      <a:lnTo>
                        <a:pt x="744" y="468"/>
                      </a:lnTo>
                      <a:lnTo>
                        <a:pt x="738" y="474"/>
                      </a:lnTo>
                      <a:lnTo>
                        <a:pt x="738" y="486"/>
                      </a:lnTo>
                      <a:lnTo>
                        <a:pt x="744" y="492"/>
                      </a:lnTo>
                      <a:lnTo>
                        <a:pt x="744" y="498"/>
                      </a:lnTo>
                      <a:lnTo>
                        <a:pt x="756" y="510"/>
                      </a:lnTo>
                      <a:lnTo>
                        <a:pt x="768" y="510"/>
                      </a:lnTo>
                      <a:lnTo>
                        <a:pt x="768" y="504"/>
                      </a:lnTo>
                      <a:lnTo>
                        <a:pt x="774" y="498"/>
                      </a:lnTo>
                      <a:lnTo>
                        <a:pt x="774" y="480"/>
                      </a:lnTo>
                      <a:lnTo>
                        <a:pt x="780" y="486"/>
                      </a:lnTo>
                      <a:lnTo>
                        <a:pt x="792" y="486"/>
                      </a:lnTo>
                      <a:lnTo>
                        <a:pt x="792" y="462"/>
                      </a:lnTo>
                      <a:lnTo>
                        <a:pt x="786" y="462"/>
                      </a:lnTo>
                      <a:lnTo>
                        <a:pt x="786" y="432"/>
                      </a:lnTo>
                      <a:lnTo>
                        <a:pt x="810" y="432"/>
                      </a:lnTo>
                      <a:lnTo>
                        <a:pt x="804" y="438"/>
                      </a:lnTo>
                      <a:lnTo>
                        <a:pt x="804" y="444"/>
                      </a:lnTo>
                      <a:lnTo>
                        <a:pt x="840" y="444"/>
                      </a:lnTo>
                      <a:lnTo>
                        <a:pt x="858" y="438"/>
                      </a:lnTo>
                      <a:lnTo>
                        <a:pt x="864" y="432"/>
                      </a:lnTo>
                      <a:lnTo>
                        <a:pt x="870" y="432"/>
                      </a:lnTo>
                      <a:lnTo>
                        <a:pt x="888" y="414"/>
                      </a:lnTo>
                      <a:lnTo>
                        <a:pt x="894" y="414"/>
                      </a:lnTo>
                      <a:lnTo>
                        <a:pt x="900" y="420"/>
                      </a:lnTo>
                      <a:lnTo>
                        <a:pt x="912" y="426"/>
                      </a:lnTo>
                      <a:lnTo>
                        <a:pt x="924" y="438"/>
                      </a:lnTo>
                      <a:lnTo>
                        <a:pt x="942" y="438"/>
                      </a:lnTo>
                      <a:lnTo>
                        <a:pt x="954" y="444"/>
                      </a:lnTo>
                      <a:lnTo>
                        <a:pt x="966" y="444"/>
                      </a:lnTo>
                      <a:lnTo>
                        <a:pt x="978" y="438"/>
                      </a:lnTo>
                      <a:lnTo>
                        <a:pt x="996" y="438"/>
                      </a:lnTo>
                      <a:lnTo>
                        <a:pt x="1002" y="432"/>
                      </a:lnTo>
                      <a:lnTo>
                        <a:pt x="1014" y="426"/>
                      </a:lnTo>
                      <a:lnTo>
                        <a:pt x="1026" y="414"/>
                      </a:lnTo>
                      <a:lnTo>
                        <a:pt x="1038" y="408"/>
                      </a:lnTo>
                      <a:lnTo>
                        <a:pt x="1086" y="408"/>
                      </a:lnTo>
                      <a:lnTo>
                        <a:pt x="1092" y="414"/>
                      </a:lnTo>
                      <a:lnTo>
                        <a:pt x="1110" y="414"/>
                      </a:lnTo>
                      <a:lnTo>
                        <a:pt x="1122" y="402"/>
                      </a:lnTo>
                      <a:lnTo>
                        <a:pt x="1146" y="402"/>
                      </a:lnTo>
                      <a:lnTo>
                        <a:pt x="1152" y="390"/>
                      </a:lnTo>
                      <a:lnTo>
                        <a:pt x="1152" y="384"/>
                      </a:lnTo>
                      <a:lnTo>
                        <a:pt x="1158" y="384"/>
                      </a:lnTo>
                      <a:lnTo>
                        <a:pt x="1158" y="408"/>
                      </a:lnTo>
                      <a:lnTo>
                        <a:pt x="1164" y="414"/>
                      </a:lnTo>
                      <a:lnTo>
                        <a:pt x="1170" y="414"/>
                      </a:lnTo>
                      <a:lnTo>
                        <a:pt x="1182" y="408"/>
                      </a:lnTo>
                      <a:lnTo>
                        <a:pt x="1188" y="402"/>
                      </a:lnTo>
                      <a:lnTo>
                        <a:pt x="1188" y="390"/>
                      </a:lnTo>
                      <a:lnTo>
                        <a:pt x="1230" y="390"/>
                      </a:lnTo>
                      <a:lnTo>
                        <a:pt x="1242" y="402"/>
                      </a:lnTo>
                      <a:lnTo>
                        <a:pt x="1254" y="402"/>
                      </a:lnTo>
                      <a:lnTo>
                        <a:pt x="1260" y="396"/>
                      </a:lnTo>
                      <a:lnTo>
                        <a:pt x="1260" y="390"/>
                      </a:lnTo>
                      <a:lnTo>
                        <a:pt x="1284" y="390"/>
                      </a:lnTo>
                      <a:lnTo>
                        <a:pt x="1290" y="396"/>
                      </a:lnTo>
                      <a:lnTo>
                        <a:pt x="1290" y="414"/>
                      </a:lnTo>
                      <a:lnTo>
                        <a:pt x="1332" y="402"/>
                      </a:lnTo>
                      <a:close/>
                      <a:moveTo>
                        <a:pt x="102" y="282"/>
                      </a:moveTo>
                      <a:lnTo>
                        <a:pt x="96" y="282"/>
                      </a:lnTo>
                      <a:lnTo>
                        <a:pt x="96" y="312"/>
                      </a:lnTo>
                      <a:lnTo>
                        <a:pt x="102" y="324"/>
                      </a:lnTo>
                      <a:lnTo>
                        <a:pt x="108" y="330"/>
                      </a:lnTo>
                      <a:lnTo>
                        <a:pt x="114" y="324"/>
                      </a:lnTo>
                      <a:lnTo>
                        <a:pt x="114" y="318"/>
                      </a:lnTo>
                      <a:lnTo>
                        <a:pt x="120" y="312"/>
                      </a:lnTo>
                      <a:lnTo>
                        <a:pt x="120" y="300"/>
                      </a:lnTo>
                      <a:lnTo>
                        <a:pt x="102" y="282"/>
                      </a:lnTo>
                      <a:close/>
                    </a:path>
                  </a:pathLst>
                </a:custGeom>
                <a:solidFill>
                  <a:schemeClr val="accent1"/>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538" name="Tunisia"/>
                <p:cNvSpPr>
                  <a:spLocks/>
                </p:cNvSpPr>
                <p:nvPr/>
              </p:nvSpPr>
              <p:spPr bwMode="gray">
                <a:xfrm>
                  <a:off x="2792" y="1541"/>
                  <a:ext cx="70" cy="146"/>
                </a:xfrm>
                <a:custGeom>
                  <a:avLst/>
                  <a:gdLst>
                    <a:gd name="T0" fmla="*/ 2147483647 w 276"/>
                    <a:gd name="T1" fmla="*/ 2147483647 h 570"/>
                    <a:gd name="T2" fmla="*/ 2147483647 w 276"/>
                    <a:gd name="T3" fmla="*/ 2147483647 h 570"/>
                    <a:gd name="T4" fmla="*/ 2147483647 w 276"/>
                    <a:gd name="T5" fmla="*/ 2147483647 h 570"/>
                    <a:gd name="T6" fmla="*/ 2147483647 w 276"/>
                    <a:gd name="T7" fmla="*/ 2147483647 h 570"/>
                    <a:gd name="T8" fmla="*/ 2147483647 w 276"/>
                    <a:gd name="T9" fmla="*/ 2147483647 h 570"/>
                    <a:gd name="T10" fmla="*/ 2147483647 w 276"/>
                    <a:gd name="T11" fmla="*/ 2147483647 h 570"/>
                    <a:gd name="T12" fmla="*/ 0 w 276"/>
                    <a:gd name="T13" fmla="*/ 2147483647 h 570"/>
                    <a:gd name="T14" fmla="*/ 2147483647 w 276"/>
                    <a:gd name="T15" fmla="*/ 2147483647 h 570"/>
                    <a:gd name="T16" fmla="*/ 2147483647 w 276"/>
                    <a:gd name="T17" fmla="*/ 2147483647 h 570"/>
                    <a:gd name="T18" fmla="*/ 2147483647 w 276"/>
                    <a:gd name="T19" fmla="*/ 2147483647 h 570"/>
                    <a:gd name="T20" fmla="*/ 2147483647 w 276"/>
                    <a:gd name="T21" fmla="*/ 2147483647 h 570"/>
                    <a:gd name="T22" fmla="*/ 2147483647 w 276"/>
                    <a:gd name="T23" fmla="*/ 2147483647 h 570"/>
                    <a:gd name="T24" fmla="*/ 2147483647 w 276"/>
                    <a:gd name="T25" fmla="*/ 2147483647 h 570"/>
                    <a:gd name="T26" fmla="*/ 2147483647 w 276"/>
                    <a:gd name="T27" fmla="*/ 2147483647 h 570"/>
                    <a:gd name="T28" fmla="*/ 2147483647 w 276"/>
                    <a:gd name="T29" fmla="*/ 2147483647 h 570"/>
                    <a:gd name="T30" fmla="*/ 2147483647 w 276"/>
                    <a:gd name="T31" fmla="*/ 2147483647 h 570"/>
                    <a:gd name="T32" fmla="*/ 2147483647 w 276"/>
                    <a:gd name="T33" fmla="*/ 2147483647 h 570"/>
                    <a:gd name="T34" fmla="*/ 2147483647 w 276"/>
                    <a:gd name="T35" fmla="*/ 2147483647 h 570"/>
                    <a:gd name="T36" fmla="*/ 2147483647 w 276"/>
                    <a:gd name="T37" fmla="*/ 2147483647 h 570"/>
                    <a:gd name="T38" fmla="*/ 2147483647 w 276"/>
                    <a:gd name="T39" fmla="*/ 2147483647 h 570"/>
                    <a:gd name="T40" fmla="*/ 2147483647 w 276"/>
                    <a:gd name="T41" fmla="*/ 2147483647 h 570"/>
                    <a:gd name="T42" fmla="*/ 2147483647 w 276"/>
                    <a:gd name="T43" fmla="*/ 2147483647 h 570"/>
                    <a:gd name="T44" fmla="*/ 2147483647 w 276"/>
                    <a:gd name="T45" fmla="*/ 2147483647 h 570"/>
                    <a:gd name="T46" fmla="*/ 2147483647 w 276"/>
                    <a:gd name="T47" fmla="*/ 2147483647 h 570"/>
                    <a:gd name="T48" fmla="*/ 2147483647 w 276"/>
                    <a:gd name="T49" fmla="*/ 2147483647 h 570"/>
                    <a:gd name="T50" fmla="*/ 2147483647 w 276"/>
                    <a:gd name="T51" fmla="*/ 2147483647 h 570"/>
                    <a:gd name="T52" fmla="*/ 2147483647 w 276"/>
                    <a:gd name="T53" fmla="*/ 2147483647 h 570"/>
                    <a:gd name="T54" fmla="*/ 2147483647 w 276"/>
                    <a:gd name="T55" fmla="*/ 2147483647 h 570"/>
                    <a:gd name="T56" fmla="*/ 2147483647 w 276"/>
                    <a:gd name="T57" fmla="*/ 2147483647 h 570"/>
                    <a:gd name="T58" fmla="*/ 2147483647 w 276"/>
                    <a:gd name="T59" fmla="*/ 2147483647 h 570"/>
                    <a:gd name="T60" fmla="*/ 2147483647 w 276"/>
                    <a:gd name="T61" fmla="*/ 2147483647 h 570"/>
                    <a:gd name="T62" fmla="*/ 2147483647 w 276"/>
                    <a:gd name="T63" fmla="*/ 2147483647 h 570"/>
                    <a:gd name="T64" fmla="*/ 2147483647 w 276"/>
                    <a:gd name="T65" fmla="*/ 2147483647 h 570"/>
                    <a:gd name="T66" fmla="*/ 2147483647 w 276"/>
                    <a:gd name="T67" fmla="*/ 2147483647 h 570"/>
                    <a:gd name="T68" fmla="*/ 2147483647 w 276"/>
                    <a:gd name="T69" fmla="*/ 2147483647 h 570"/>
                    <a:gd name="T70" fmla="*/ 2147483647 w 276"/>
                    <a:gd name="T71" fmla="*/ 2147483647 h 570"/>
                    <a:gd name="T72" fmla="*/ 2147483647 w 276"/>
                    <a:gd name="T73" fmla="*/ 2147483647 h 570"/>
                    <a:gd name="T74" fmla="*/ 2147483647 w 276"/>
                    <a:gd name="T75" fmla="*/ 2147483647 h 570"/>
                    <a:gd name="T76" fmla="*/ 2147483647 w 276"/>
                    <a:gd name="T77" fmla="*/ 2147483647 h 570"/>
                    <a:gd name="T78" fmla="*/ 2147483647 w 276"/>
                    <a:gd name="T79" fmla="*/ 2147483647 h 570"/>
                    <a:gd name="T80" fmla="*/ 2147483647 w 276"/>
                    <a:gd name="T81" fmla="*/ 2147483647 h 570"/>
                    <a:gd name="T82" fmla="*/ 2147483647 w 276"/>
                    <a:gd name="T83" fmla="*/ 2147483647 h 570"/>
                    <a:gd name="T84" fmla="*/ 2147483647 w 276"/>
                    <a:gd name="T85" fmla="*/ 2147483647 h 570"/>
                    <a:gd name="T86" fmla="*/ 2147483647 w 276"/>
                    <a:gd name="T87" fmla="*/ 2147483647 h 570"/>
                    <a:gd name="T88" fmla="*/ 2147483647 w 276"/>
                    <a:gd name="T89" fmla="*/ 0 h 570"/>
                    <a:gd name="T90" fmla="*/ 2147483647 w 276"/>
                    <a:gd name="T91" fmla="*/ 2147483647 h 570"/>
                    <a:gd name="T92" fmla="*/ 2147483647 w 276"/>
                    <a:gd name="T93" fmla="*/ 2147483647 h 570"/>
                    <a:gd name="T94" fmla="*/ 2147483647 w 276"/>
                    <a:gd name="T95" fmla="*/ 2147483647 h 57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76"/>
                    <a:gd name="T145" fmla="*/ 0 h 570"/>
                    <a:gd name="T146" fmla="*/ 276 w 276"/>
                    <a:gd name="T147" fmla="*/ 570 h 57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76" h="570">
                      <a:moveTo>
                        <a:pt x="42" y="60"/>
                      </a:moveTo>
                      <a:lnTo>
                        <a:pt x="60" y="66"/>
                      </a:lnTo>
                      <a:lnTo>
                        <a:pt x="60" y="78"/>
                      </a:lnTo>
                      <a:lnTo>
                        <a:pt x="54" y="90"/>
                      </a:lnTo>
                      <a:lnTo>
                        <a:pt x="54" y="126"/>
                      </a:lnTo>
                      <a:lnTo>
                        <a:pt x="60" y="138"/>
                      </a:lnTo>
                      <a:lnTo>
                        <a:pt x="60" y="180"/>
                      </a:lnTo>
                      <a:lnTo>
                        <a:pt x="54" y="192"/>
                      </a:lnTo>
                      <a:lnTo>
                        <a:pt x="54" y="204"/>
                      </a:lnTo>
                      <a:lnTo>
                        <a:pt x="48" y="210"/>
                      </a:lnTo>
                      <a:lnTo>
                        <a:pt x="48" y="216"/>
                      </a:lnTo>
                      <a:lnTo>
                        <a:pt x="24" y="234"/>
                      </a:lnTo>
                      <a:lnTo>
                        <a:pt x="0" y="258"/>
                      </a:lnTo>
                      <a:lnTo>
                        <a:pt x="0" y="300"/>
                      </a:lnTo>
                      <a:lnTo>
                        <a:pt x="12" y="300"/>
                      </a:lnTo>
                      <a:lnTo>
                        <a:pt x="12" y="330"/>
                      </a:lnTo>
                      <a:lnTo>
                        <a:pt x="24" y="330"/>
                      </a:lnTo>
                      <a:lnTo>
                        <a:pt x="42" y="336"/>
                      </a:lnTo>
                      <a:lnTo>
                        <a:pt x="54" y="348"/>
                      </a:lnTo>
                      <a:lnTo>
                        <a:pt x="54" y="390"/>
                      </a:lnTo>
                      <a:lnTo>
                        <a:pt x="60" y="390"/>
                      </a:lnTo>
                      <a:lnTo>
                        <a:pt x="66" y="396"/>
                      </a:lnTo>
                      <a:lnTo>
                        <a:pt x="90" y="408"/>
                      </a:lnTo>
                      <a:lnTo>
                        <a:pt x="96" y="420"/>
                      </a:lnTo>
                      <a:lnTo>
                        <a:pt x="102" y="426"/>
                      </a:lnTo>
                      <a:lnTo>
                        <a:pt x="108" y="450"/>
                      </a:lnTo>
                      <a:lnTo>
                        <a:pt x="114" y="492"/>
                      </a:lnTo>
                      <a:lnTo>
                        <a:pt x="126" y="540"/>
                      </a:lnTo>
                      <a:lnTo>
                        <a:pt x="138" y="570"/>
                      </a:lnTo>
                      <a:lnTo>
                        <a:pt x="144" y="564"/>
                      </a:lnTo>
                      <a:lnTo>
                        <a:pt x="156" y="564"/>
                      </a:lnTo>
                      <a:lnTo>
                        <a:pt x="186" y="534"/>
                      </a:lnTo>
                      <a:lnTo>
                        <a:pt x="186" y="510"/>
                      </a:lnTo>
                      <a:lnTo>
                        <a:pt x="174" y="486"/>
                      </a:lnTo>
                      <a:lnTo>
                        <a:pt x="174" y="468"/>
                      </a:lnTo>
                      <a:lnTo>
                        <a:pt x="192" y="450"/>
                      </a:lnTo>
                      <a:lnTo>
                        <a:pt x="198" y="450"/>
                      </a:lnTo>
                      <a:lnTo>
                        <a:pt x="204" y="438"/>
                      </a:lnTo>
                      <a:lnTo>
                        <a:pt x="210" y="432"/>
                      </a:lnTo>
                      <a:lnTo>
                        <a:pt x="216" y="420"/>
                      </a:lnTo>
                      <a:lnTo>
                        <a:pt x="222" y="414"/>
                      </a:lnTo>
                      <a:lnTo>
                        <a:pt x="234" y="408"/>
                      </a:lnTo>
                      <a:lnTo>
                        <a:pt x="246" y="408"/>
                      </a:lnTo>
                      <a:lnTo>
                        <a:pt x="270" y="396"/>
                      </a:lnTo>
                      <a:lnTo>
                        <a:pt x="276" y="390"/>
                      </a:lnTo>
                      <a:lnTo>
                        <a:pt x="276" y="384"/>
                      </a:lnTo>
                      <a:lnTo>
                        <a:pt x="264" y="372"/>
                      </a:lnTo>
                      <a:lnTo>
                        <a:pt x="258" y="372"/>
                      </a:lnTo>
                      <a:lnTo>
                        <a:pt x="264" y="330"/>
                      </a:lnTo>
                      <a:lnTo>
                        <a:pt x="252" y="330"/>
                      </a:lnTo>
                      <a:lnTo>
                        <a:pt x="240" y="300"/>
                      </a:lnTo>
                      <a:lnTo>
                        <a:pt x="228" y="294"/>
                      </a:lnTo>
                      <a:lnTo>
                        <a:pt x="222" y="306"/>
                      </a:lnTo>
                      <a:lnTo>
                        <a:pt x="216" y="294"/>
                      </a:lnTo>
                      <a:lnTo>
                        <a:pt x="198" y="294"/>
                      </a:lnTo>
                      <a:lnTo>
                        <a:pt x="186" y="288"/>
                      </a:lnTo>
                      <a:lnTo>
                        <a:pt x="180" y="282"/>
                      </a:lnTo>
                      <a:lnTo>
                        <a:pt x="168" y="276"/>
                      </a:lnTo>
                      <a:lnTo>
                        <a:pt x="168" y="246"/>
                      </a:lnTo>
                      <a:lnTo>
                        <a:pt x="174" y="240"/>
                      </a:lnTo>
                      <a:lnTo>
                        <a:pt x="180" y="240"/>
                      </a:lnTo>
                      <a:lnTo>
                        <a:pt x="234" y="186"/>
                      </a:lnTo>
                      <a:lnTo>
                        <a:pt x="240" y="174"/>
                      </a:lnTo>
                      <a:lnTo>
                        <a:pt x="240" y="156"/>
                      </a:lnTo>
                      <a:lnTo>
                        <a:pt x="234" y="144"/>
                      </a:lnTo>
                      <a:lnTo>
                        <a:pt x="216" y="126"/>
                      </a:lnTo>
                      <a:lnTo>
                        <a:pt x="204" y="120"/>
                      </a:lnTo>
                      <a:lnTo>
                        <a:pt x="198" y="120"/>
                      </a:lnTo>
                      <a:lnTo>
                        <a:pt x="198" y="102"/>
                      </a:lnTo>
                      <a:lnTo>
                        <a:pt x="204" y="90"/>
                      </a:lnTo>
                      <a:lnTo>
                        <a:pt x="204" y="78"/>
                      </a:lnTo>
                      <a:lnTo>
                        <a:pt x="210" y="72"/>
                      </a:lnTo>
                      <a:lnTo>
                        <a:pt x="222" y="66"/>
                      </a:lnTo>
                      <a:lnTo>
                        <a:pt x="228" y="60"/>
                      </a:lnTo>
                      <a:lnTo>
                        <a:pt x="234" y="48"/>
                      </a:lnTo>
                      <a:lnTo>
                        <a:pt x="234" y="36"/>
                      </a:lnTo>
                      <a:lnTo>
                        <a:pt x="240" y="30"/>
                      </a:lnTo>
                      <a:lnTo>
                        <a:pt x="240" y="18"/>
                      </a:lnTo>
                      <a:lnTo>
                        <a:pt x="228" y="18"/>
                      </a:lnTo>
                      <a:lnTo>
                        <a:pt x="222" y="30"/>
                      </a:lnTo>
                      <a:lnTo>
                        <a:pt x="210" y="36"/>
                      </a:lnTo>
                      <a:lnTo>
                        <a:pt x="204" y="48"/>
                      </a:lnTo>
                      <a:lnTo>
                        <a:pt x="192" y="60"/>
                      </a:lnTo>
                      <a:lnTo>
                        <a:pt x="186" y="60"/>
                      </a:lnTo>
                      <a:lnTo>
                        <a:pt x="174" y="54"/>
                      </a:lnTo>
                      <a:lnTo>
                        <a:pt x="162" y="42"/>
                      </a:lnTo>
                      <a:lnTo>
                        <a:pt x="174" y="30"/>
                      </a:lnTo>
                      <a:lnTo>
                        <a:pt x="174" y="24"/>
                      </a:lnTo>
                      <a:lnTo>
                        <a:pt x="180" y="12"/>
                      </a:lnTo>
                      <a:lnTo>
                        <a:pt x="168" y="0"/>
                      </a:lnTo>
                      <a:lnTo>
                        <a:pt x="138" y="0"/>
                      </a:lnTo>
                      <a:lnTo>
                        <a:pt x="126" y="6"/>
                      </a:lnTo>
                      <a:lnTo>
                        <a:pt x="108" y="12"/>
                      </a:lnTo>
                      <a:lnTo>
                        <a:pt x="96" y="18"/>
                      </a:lnTo>
                      <a:lnTo>
                        <a:pt x="84" y="30"/>
                      </a:lnTo>
                      <a:lnTo>
                        <a:pt x="84" y="42"/>
                      </a:lnTo>
                      <a:lnTo>
                        <a:pt x="42" y="60"/>
                      </a:lnTo>
                      <a:close/>
                    </a:path>
                  </a:pathLst>
                </a:custGeom>
                <a:solidFill>
                  <a:schemeClr val="accent1"/>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539" name="Togo"/>
                <p:cNvSpPr>
                  <a:spLocks/>
                </p:cNvSpPr>
                <p:nvPr/>
              </p:nvSpPr>
              <p:spPr bwMode="gray">
                <a:xfrm>
                  <a:off x="2650" y="2082"/>
                  <a:ext cx="36" cy="103"/>
                </a:xfrm>
                <a:custGeom>
                  <a:avLst/>
                  <a:gdLst>
                    <a:gd name="T0" fmla="*/ 2147483647 w 138"/>
                    <a:gd name="T1" fmla="*/ 2147483647 h 402"/>
                    <a:gd name="T2" fmla="*/ 2147483647 w 138"/>
                    <a:gd name="T3" fmla="*/ 2147483647 h 402"/>
                    <a:gd name="T4" fmla="*/ 2147483647 w 138"/>
                    <a:gd name="T5" fmla="*/ 2147483647 h 402"/>
                    <a:gd name="T6" fmla="*/ 2147483647 w 138"/>
                    <a:gd name="T7" fmla="*/ 2147483647 h 402"/>
                    <a:gd name="T8" fmla="*/ 2147483647 w 138"/>
                    <a:gd name="T9" fmla="*/ 2147483647 h 402"/>
                    <a:gd name="T10" fmla="*/ 2147483647 w 138"/>
                    <a:gd name="T11" fmla="*/ 2147483647 h 402"/>
                    <a:gd name="T12" fmla="*/ 2147483647 w 138"/>
                    <a:gd name="T13" fmla="*/ 2147483647 h 402"/>
                    <a:gd name="T14" fmla="*/ 2147483647 w 138"/>
                    <a:gd name="T15" fmla="*/ 2147483647 h 402"/>
                    <a:gd name="T16" fmla="*/ 2147483647 w 138"/>
                    <a:gd name="T17" fmla="*/ 2147483647 h 402"/>
                    <a:gd name="T18" fmla="*/ 2147483647 w 138"/>
                    <a:gd name="T19" fmla="*/ 2147483647 h 402"/>
                    <a:gd name="T20" fmla="*/ 2147483647 w 138"/>
                    <a:gd name="T21" fmla="*/ 2147483647 h 402"/>
                    <a:gd name="T22" fmla="*/ 2147483647 w 138"/>
                    <a:gd name="T23" fmla="*/ 2147483647 h 402"/>
                    <a:gd name="T24" fmla="*/ 2147483647 w 138"/>
                    <a:gd name="T25" fmla="*/ 2147483647 h 402"/>
                    <a:gd name="T26" fmla="*/ 2147483647 w 138"/>
                    <a:gd name="T27" fmla="*/ 2147483647 h 402"/>
                    <a:gd name="T28" fmla="*/ 2147483647 w 138"/>
                    <a:gd name="T29" fmla="*/ 2147483647 h 402"/>
                    <a:gd name="T30" fmla="*/ 2147483647 w 138"/>
                    <a:gd name="T31" fmla="*/ 2147483647 h 402"/>
                    <a:gd name="T32" fmla="*/ 2147483647 w 138"/>
                    <a:gd name="T33" fmla="*/ 0 h 402"/>
                    <a:gd name="T34" fmla="*/ 2147483647 w 138"/>
                    <a:gd name="T35" fmla="*/ 0 h 402"/>
                    <a:gd name="T36" fmla="*/ 2147483647 w 138"/>
                    <a:gd name="T37" fmla="*/ 2147483647 h 402"/>
                    <a:gd name="T38" fmla="*/ 0 w 138"/>
                    <a:gd name="T39" fmla="*/ 2147483647 h 402"/>
                    <a:gd name="T40" fmla="*/ 2147483647 w 138"/>
                    <a:gd name="T41" fmla="*/ 2147483647 h 402"/>
                    <a:gd name="T42" fmla="*/ 2147483647 w 138"/>
                    <a:gd name="T43" fmla="*/ 2147483647 h 402"/>
                    <a:gd name="T44" fmla="*/ 2147483647 w 138"/>
                    <a:gd name="T45" fmla="*/ 2147483647 h 402"/>
                    <a:gd name="T46" fmla="*/ 2147483647 w 138"/>
                    <a:gd name="T47" fmla="*/ 2147483647 h 402"/>
                    <a:gd name="T48" fmla="*/ 2147483647 w 138"/>
                    <a:gd name="T49" fmla="*/ 2147483647 h 402"/>
                    <a:gd name="T50" fmla="*/ 2147483647 w 138"/>
                    <a:gd name="T51" fmla="*/ 2147483647 h 402"/>
                    <a:gd name="T52" fmla="*/ 2147483647 w 138"/>
                    <a:gd name="T53" fmla="*/ 2147483647 h 402"/>
                    <a:gd name="T54" fmla="*/ 2147483647 w 138"/>
                    <a:gd name="T55" fmla="*/ 2147483647 h 402"/>
                    <a:gd name="T56" fmla="*/ 2147483647 w 138"/>
                    <a:gd name="T57" fmla="*/ 2147483647 h 402"/>
                    <a:gd name="T58" fmla="*/ 2147483647 w 138"/>
                    <a:gd name="T59" fmla="*/ 2147483647 h 402"/>
                    <a:gd name="T60" fmla="*/ 2147483647 w 138"/>
                    <a:gd name="T61" fmla="*/ 2147483647 h 402"/>
                    <a:gd name="T62" fmla="*/ 2147483647 w 138"/>
                    <a:gd name="T63" fmla="*/ 2147483647 h 402"/>
                    <a:gd name="T64" fmla="*/ 2147483647 w 138"/>
                    <a:gd name="T65" fmla="*/ 2147483647 h 402"/>
                    <a:gd name="T66" fmla="*/ 2147483647 w 138"/>
                    <a:gd name="T67" fmla="*/ 2147483647 h 402"/>
                    <a:gd name="T68" fmla="*/ 2147483647 w 138"/>
                    <a:gd name="T69" fmla="*/ 2147483647 h 402"/>
                    <a:gd name="T70" fmla="*/ 2147483647 w 138"/>
                    <a:gd name="T71" fmla="*/ 2147483647 h 402"/>
                    <a:gd name="T72" fmla="*/ 2147483647 w 138"/>
                    <a:gd name="T73" fmla="*/ 2147483647 h 402"/>
                    <a:gd name="T74" fmla="*/ 2147483647 w 138"/>
                    <a:gd name="T75" fmla="*/ 2147483647 h 402"/>
                    <a:gd name="T76" fmla="*/ 2147483647 w 138"/>
                    <a:gd name="T77" fmla="*/ 2147483647 h 402"/>
                    <a:gd name="T78" fmla="*/ 2147483647 w 138"/>
                    <a:gd name="T79" fmla="*/ 2147483647 h 402"/>
                    <a:gd name="T80" fmla="*/ 2147483647 w 138"/>
                    <a:gd name="T81" fmla="*/ 2147483647 h 402"/>
                    <a:gd name="T82" fmla="*/ 2147483647 w 138"/>
                    <a:gd name="T83" fmla="*/ 2147483647 h 402"/>
                    <a:gd name="T84" fmla="*/ 2147483647 w 138"/>
                    <a:gd name="T85" fmla="*/ 2147483647 h 402"/>
                    <a:gd name="T86" fmla="*/ 2147483647 w 138"/>
                    <a:gd name="T87" fmla="*/ 2147483647 h 402"/>
                    <a:gd name="T88" fmla="*/ 2147483647 w 138"/>
                    <a:gd name="T89" fmla="*/ 2147483647 h 402"/>
                    <a:gd name="T90" fmla="*/ 2147483647 w 138"/>
                    <a:gd name="T91" fmla="*/ 2147483647 h 402"/>
                    <a:gd name="T92" fmla="*/ 2147483647 w 138"/>
                    <a:gd name="T93" fmla="*/ 2147483647 h 402"/>
                    <a:gd name="T94" fmla="*/ 2147483647 w 138"/>
                    <a:gd name="T95" fmla="*/ 2147483647 h 402"/>
                    <a:gd name="T96" fmla="*/ 2147483647 w 138"/>
                    <a:gd name="T97" fmla="*/ 2147483647 h 402"/>
                    <a:gd name="T98" fmla="*/ 2147483647 w 138"/>
                    <a:gd name="T99" fmla="*/ 2147483647 h 402"/>
                    <a:gd name="T100" fmla="*/ 2147483647 w 138"/>
                    <a:gd name="T101" fmla="*/ 2147483647 h 402"/>
                    <a:gd name="T102" fmla="*/ 2147483647 w 138"/>
                    <a:gd name="T103" fmla="*/ 2147483647 h 40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38"/>
                    <a:gd name="T157" fmla="*/ 0 h 402"/>
                    <a:gd name="T158" fmla="*/ 138 w 138"/>
                    <a:gd name="T159" fmla="*/ 402 h 40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38" h="402">
                      <a:moveTo>
                        <a:pt x="126" y="354"/>
                      </a:moveTo>
                      <a:lnTo>
                        <a:pt x="120" y="288"/>
                      </a:lnTo>
                      <a:lnTo>
                        <a:pt x="132" y="282"/>
                      </a:lnTo>
                      <a:lnTo>
                        <a:pt x="120" y="270"/>
                      </a:lnTo>
                      <a:lnTo>
                        <a:pt x="120" y="210"/>
                      </a:lnTo>
                      <a:lnTo>
                        <a:pt x="132" y="198"/>
                      </a:lnTo>
                      <a:lnTo>
                        <a:pt x="126" y="186"/>
                      </a:lnTo>
                      <a:lnTo>
                        <a:pt x="126" y="156"/>
                      </a:lnTo>
                      <a:lnTo>
                        <a:pt x="120" y="144"/>
                      </a:lnTo>
                      <a:lnTo>
                        <a:pt x="108" y="132"/>
                      </a:lnTo>
                      <a:lnTo>
                        <a:pt x="108" y="90"/>
                      </a:lnTo>
                      <a:lnTo>
                        <a:pt x="78" y="60"/>
                      </a:lnTo>
                      <a:lnTo>
                        <a:pt x="66" y="54"/>
                      </a:lnTo>
                      <a:lnTo>
                        <a:pt x="66" y="24"/>
                      </a:lnTo>
                      <a:lnTo>
                        <a:pt x="72" y="6"/>
                      </a:lnTo>
                      <a:lnTo>
                        <a:pt x="54" y="6"/>
                      </a:lnTo>
                      <a:lnTo>
                        <a:pt x="30" y="0"/>
                      </a:lnTo>
                      <a:lnTo>
                        <a:pt x="12" y="0"/>
                      </a:lnTo>
                      <a:lnTo>
                        <a:pt x="12" y="18"/>
                      </a:lnTo>
                      <a:lnTo>
                        <a:pt x="0" y="30"/>
                      </a:lnTo>
                      <a:lnTo>
                        <a:pt x="36" y="54"/>
                      </a:lnTo>
                      <a:lnTo>
                        <a:pt x="24" y="132"/>
                      </a:lnTo>
                      <a:lnTo>
                        <a:pt x="36" y="120"/>
                      </a:lnTo>
                      <a:lnTo>
                        <a:pt x="42" y="120"/>
                      </a:lnTo>
                      <a:lnTo>
                        <a:pt x="48" y="126"/>
                      </a:lnTo>
                      <a:lnTo>
                        <a:pt x="48" y="150"/>
                      </a:lnTo>
                      <a:lnTo>
                        <a:pt x="42" y="162"/>
                      </a:lnTo>
                      <a:lnTo>
                        <a:pt x="54" y="174"/>
                      </a:lnTo>
                      <a:lnTo>
                        <a:pt x="54" y="180"/>
                      </a:lnTo>
                      <a:lnTo>
                        <a:pt x="48" y="180"/>
                      </a:lnTo>
                      <a:lnTo>
                        <a:pt x="36" y="192"/>
                      </a:lnTo>
                      <a:lnTo>
                        <a:pt x="42" y="198"/>
                      </a:lnTo>
                      <a:lnTo>
                        <a:pt x="54" y="204"/>
                      </a:lnTo>
                      <a:lnTo>
                        <a:pt x="60" y="210"/>
                      </a:lnTo>
                      <a:lnTo>
                        <a:pt x="60" y="222"/>
                      </a:lnTo>
                      <a:lnTo>
                        <a:pt x="54" y="228"/>
                      </a:lnTo>
                      <a:lnTo>
                        <a:pt x="54" y="270"/>
                      </a:lnTo>
                      <a:lnTo>
                        <a:pt x="48" y="276"/>
                      </a:lnTo>
                      <a:lnTo>
                        <a:pt x="48" y="294"/>
                      </a:lnTo>
                      <a:lnTo>
                        <a:pt x="54" y="294"/>
                      </a:lnTo>
                      <a:lnTo>
                        <a:pt x="60" y="300"/>
                      </a:lnTo>
                      <a:lnTo>
                        <a:pt x="60" y="312"/>
                      </a:lnTo>
                      <a:lnTo>
                        <a:pt x="54" y="324"/>
                      </a:lnTo>
                      <a:lnTo>
                        <a:pt x="54" y="336"/>
                      </a:lnTo>
                      <a:lnTo>
                        <a:pt x="66" y="378"/>
                      </a:lnTo>
                      <a:lnTo>
                        <a:pt x="96" y="402"/>
                      </a:lnTo>
                      <a:lnTo>
                        <a:pt x="108" y="396"/>
                      </a:lnTo>
                      <a:lnTo>
                        <a:pt x="120" y="384"/>
                      </a:lnTo>
                      <a:lnTo>
                        <a:pt x="138" y="384"/>
                      </a:lnTo>
                      <a:lnTo>
                        <a:pt x="138" y="372"/>
                      </a:lnTo>
                      <a:lnTo>
                        <a:pt x="126" y="360"/>
                      </a:lnTo>
                      <a:lnTo>
                        <a:pt x="126" y="354"/>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540" name="Thailand"/>
                <p:cNvSpPr>
                  <a:spLocks/>
                </p:cNvSpPr>
                <p:nvPr/>
              </p:nvSpPr>
              <p:spPr bwMode="gray">
                <a:xfrm>
                  <a:off x="4403" y="1889"/>
                  <a:ext cx="158" cy="304"/>
                </a:xfrm>
                <a:custGeom>
                  <a:avLst/>
                  <a:gdLst>
                    <a:gd name="T0" fmla="*/ 2147483647 w 618"/>
                    <a:gd name="T1" fmla="*/ 2147483647 h 1188"/>
                    <a:gd name="T2" fmla="*/ 2147483647 w 618"/>
                    <a:gd name="T3" fmla="*/ 2147483647 h 1188"/>
                    <a:gd name="T4" fmla="*/ 2147483647 w 618"/>
                    <a:gd name="T5" fmla="*/ 2147483647 h 1188"/>
                    <a:gd name="T6" fmla="*/ 2147483647 w 618"/>
                    <a:gd name="T7" fmla="*/ 2147483647 h 1188"/>
                    <a:gd name="T8" fmla="*/ 2147483647 w 618"/>
                    <a:gd name="T9" fmla="*/ 2147483647 h 1188"/>
                    <a:gd name="T10" fmla="*/ 2147483647 w 618"/>
                    <a:gd name="T11" fmla="*/ 2147483647 h 1188"/>
                    <a:gd name="T12" fmla="*/ 2147483647 w 618"/>
                    <a:gd name="T13" fmla="*/ 2147483647 h 1188"/>
                    <a:gd name="T14" fmla="*/ 2147483647 w 618"/>
                    <a:gd name="T15" fmla="*/ 2147483647 h 1188"/>
                    <a:gd name="T16" fmla="*/ 2147483647 w 618"/>
                    <a:gd name="T17" fmla="*/ 2147483647 h 1188"/>
                    <a:gd name="T18" fmla="*/ 2147483647 w 618"/>
                    <a:gd name="T19" fmla="*/ 2147483647 h 1188"/>
                    <a:gd name="T20" fmla="*/ 2147483647 w 618"/>
                    <a:gd name="T21" fmla="*/ 2147483647 h 1188"/>
                    <a:gd name="T22" fmla="*/ 2147483647 w 618"/>
                    <a:gd name="T23" fmla="*/ 2147483647 h 1188"/>
                    <a:gd name="T24" fmla="*/ 2147483647 w 618"/>
                    <a:gd name="T25" fmla="*/ 0 h 1188"/>
                    <a:gd name="T26" fmla="*/ 2147483647 w 618"/>
                    <a:gd name="T27" fmla="*/ 2147483647 h 1188"/>
                    <a:gd name="T28" fmla="*/ 2147483647 w 618"/>
                    <a:gd name="T29" fmla="*/ 2147483647 h 1188"/>
                    <a:gd name="T30" fmla="*/ 2147483647 w 618"/>
                    <a:gd name="T31" fmla="*/ 2147483647 h 1188"/>
                    <a:gd name="T32" fmla="*/ 0 w 618"/>
                    <a:gd name="T33" fmla="*/ 2147483647 h 1188"/>
                    <a:gd name="T34" fmla="*/ 2147483647 w 618"/>
                    <a:gd name="T35" fmla="*/ 2147483647 h 1188"/>
                    <a:gd name="T36" fmla="*/ 2147483647 w 618"/>
                    <a:gd name="T37" fmla="*/ 2147483647 h 1188"/>
                    <a:gd name="T38" fmla="*/ 2147483647 w 618"/>
                    <a:gd name="T39" fmla="*/ 2147483647 h 1188"/>
                    <a:gd name="T40" fmla="*/ 2147483647 w 618"/>
                    <a:gd name="T41" fmla="*/ 2147483647 h 1188"/>
                    <a:gd name="T42" fmla="*/ 2147483647 w 618"/>
                    <a:gd name="T43" fmla="*/ 2147483647 h 1188"/>
                    <a:gd name="T44" fmla="*/ 2147483647 w 618"/>
                    <a:gd name="T45" fmla="*/ 2147483647 h 1188"/>
                    <a:gd name="T46" fmla="*/ 2147483647 w 618"/>
                    <a:gd name="T47" fmla="*/ 2147483647 h 1188"/>
                    <a:gd name="T48" fmla="*/ 2147483647 w 618"/>
                    <a:gd name="T49" fmla="*/ 2147483647 h 1188"/>
                    <a:gd name="T50" fmla="*/ 2147483647 w 618"/>
                    <a:gd name="T51" fmla="*/ 2147483647 h 1188"/>
                    <a:gd name="T52" fmla="*/ 2147483647 w 618"/>
                    <a:gd name="T53" fmla="*/ 2147483647 h 1188"/>
                    <a:gd name="T54" fmla="*/ 2147483647 w 618"/>
                    <a:gd name="T55" fmla="*/ 2147483647 h 1188"/>
                    <a:gd name="T56" fmla="*/ 2147483647 w 618"/>
                    <a:gd name="T57" fmla="*/ 2147483647 h 1188"/>
                    <a:gd name="T58" fmla="*/ 2147483647 w 618"/>
                    <a:gd name="T59" fmla="*/ 2147483647 h 1188"/>
                    <a:gd name="T60" fmla="*/ 2147483647 w 618"/>
                    <a:gd name="T61" fmla="*/ 2147483647 h 1188"/>
                    <a:gd name="T62" fmla="*/ 2147483647 w 618"/>
                    <a:gd name="T63" fmla="*/ 2147483647 h 1188"/>
                    <a:gd name="T64" fmla="*/ 2147483647 w 618"/>
                    <a:gd name="T65" fmla="*/ 2147483647 h 1188"/>
                    <a:gd name="T66" fmla="*/ 2147483647 w 618"/>
                    <a:gd name="T67" fmla="*/ 2147483647 h 1188"/>
                    <a:gd name="T68" fmla="*/ 2147483647 w 618"/>
                    <a:gd name="T69" fmla="*/ 2147483647 h 1188"/>
                    <a:gd name="T70" fmla="*/ 2147483647 w 618"/>
                    <a:gd name="T71" fmla="*/ 2147483647 h 1188"/>
                    <a:gd name="T72" fmla="*/ 2147483647 w 618"/>
                    <a:gd name="T73" fmla="*/ 2147483647 h 1188"/>
                    <a:gd name="T74" fmla="*/ 2147483647 w 618"/>
                    <a:gd name="T75" fmla="*/ 2147483647 h 1188"/>
                    <a:gd name="T76" fmla="*/ 2147483647 w 618"/>
                    <a:gd name="T77" fmla="*/ 2147483647 h 1188"/>
                    <a:gd name="T78" fmla="*/ 2147483647 w 618"/>
                    <a:gd name="T79" fmla="*/ 2147483647 h 1188"/>
                    <a:gd name="T80" fmla="*/ 2147483647 w 618"/>
                    <a:gd name="T81" fmla="*/ 2147483647 h 1188"/>
                    <a:gd name="T82" fmla="*/ 2147483647 w 618"/>
                    <a:gd name="T83" fmla="*/ 2147483647 h 1188"/>
                    <a:gd name="T84" fmla="*/ 2147483647 w 618"/>
                    <a:gd name="T85" fmla="*/ 2147483647 h 1188"/>
                    <a:gd name="T86" fmla="*/ 2147483647 w 618"/>
                    <a:gd name="T87" fmla="*/ 2147483647 h 1188"/>
                    <a:gd name="T88" fmla="*/ 2147483647 w 618"/>
                    <a:gd name="T89" fmla="*/ 2147483647 h 1188"/>
                    <a:gd name="T90" fmla="*/ 2147483647 w 618"/>
                    <a:gd name="T91" fmla="*/ 2147483647 h 1188"/>
                    <a:gd name="T92" fmla="*/ 2147483647 w 618"/>
                    <a:gd name="T93" fmla="*/ 2147483647 h 1188"/>
                    <a:gd name="T94" fmla="*/ 2147483647 w 618"/>
                    <a:gd name="T95" fmla="*/ 2147483647 h 1188"/>
                    <a:gd name="T96" fmla="*/ 2147483647 w 618"/>
                    <a:gd name="T97" fmla="*/ 2147483647 h 1188"/>
                    <a:gd name="T98" fmla="*/ 2147483647 w 618"/>
                    <a:gd name="T99" fmla="*/ 2147483647 h 1188"/>
                    <a:gd name="T100" fmla="*/ 2147483647 w 618"/>
                    <a:gd name="T101" fmla="*/ 2147483647 h 1188"/>
                    <a:gd name="T102" fmla="*/ 2147483647 w 618"/>
                    <a:gd name="T103" fmla="*/ 2147483647 h 1188"/>
                    <a:gd name="T104" fmla="*/ 2147483647 w 618"/>
                    <a:gd name="T105" fmla="*/ 2147483647 h 1188"/>
                    <a:gd name="T106" fmla="*/ 2147483647 w 618"/>
                    <a:gd name="T107" fmla="*/ 2147483647 h 1188"/>
                    <a:gd name="T108" fmla="*/ 2147483647 w 618"/>
                    <a:gd name="T109" fmla="*/ 2147483647 h 1188"/>
                    <a:gd name="T110" fmla="*/ 2147483647 w 618"/>
                    <a:gd name="T111" fmla="*/ 2147483647 h 1188"/>
                    <a:gd name="T112" fmla="*/ 2147483647 w 618"/>
                    <a:gd name="T113" fmla="*/ 2147483647 h 1188"/>
                    <a:gd name="T114" fmla="*/ 2147483647 w 618"/>
                    <a:gd name="T115" fmla="*/ 2147483647 h 1188"/>
                    <a:gd name="T116" fmla="*/ 2147483647 w 618"/>
                    <a:gd name="T117" fmla="*/ 2147483647 h 118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18"/>
                    <a:gd name="T178" fmla="*/ 0 h 1188"/>
                    <a:gd name="T179" fmla="*/ 618 w 618"/>
                    <a:gd name="T180" fmla="*/ 1188 h 118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18" h="1188">
                      <a:moveTo>
                        <a:pt x="588" y="426"/>
                      </a:moveTo>
                      <a:lnTo>
                        <a:pt x="588" y="420"/>
                      </a:lnTo>
                      <a:lnTo>
                        <a:pt x="594" y="414"/>
                      </a:lnTo>
                      <a:lnTo>
                        <a:pt x="606" y="390"/>
                      </a:lnTo>
                      <a:lnTo>
                        <a:pt x="594" y="378"/>
                      </a:lnTo>
                      <a:lnTo>
                        <a:pt x="594" y="372"/>
                      </a:lnTo>
                      <a:lnTo>
                        <a:pt x="588" y="378"/>
                      </a:lnTo>
                      <a:lnTo>
                        <a:pt x="588" y="366"/>
                      </a:lnTo>
                      <a:lnTo>
                        <a:pt x="582" y="360"/>
                      </a:lnTo>
                      <a:lnTo>
                        <a:pt x="582" y="354"/>
                      </a:lnTo>
                      <a:lnTo>
                        <a:pt x="546" y="318"/>
                      </a:lnTo>
                      <a:lnTo>
                        <a:pt x="534" y="294"/>
                      </a:lnTo>
                      <a:lnTo>
                        <a:pt x="534" y="282"/>
                      </a:lnTo>
                      <a:lnTo>
                        <a:pt x="528" y="240"/>
                      </a:lnTo>
                      <a:lnTo>
                        <a:pt x="510" y="222"/>
                      </a:lnTo>
                      <a:lnTo>
                        <a:pt x="498" y="216"/>
                      </a:lnTo>
                      <a:lnTo>
                        <a:pt x="480" y="204"/>
                      </a:lnTo>
                      <a:lnTo>
                        <a:pt x="468" y="192"/>
                      </a:lnTo>
                      <a:lnTo>
                        <a:pt x="468" y="180"/>
                      </a:lnTo>
                      <a:lnTo>
                        <a:pt x="462" y="174"/>
                      </a:lnTo>
                      <a:lnTo>
                        <a:pt x="438" y="174"/>
                      </a:lnTo>
                      <a:lnTo>
                        <a:pt x="426" y="168"/>
                      </a:lnTo>
                      <a:lnTo>
                        <a:pt x="420" y="162"/>
                      </a:lnTo>
                      <a:lnTo>
                        <a:pt x="402" y="162"/>
                      </a:lnTo>
                      <a:lnTo>
                        <a:pt x="396" y="168"/>
                      </a:lnTo>
                      <a:lnTo>
                        <a:pt x="396" y="180"/>
                      </a:lnTo>
                      <a:lnTo>
                        <a:pt x="378" y="198"/>
                      </a:lnTo>
                      <a:lnTo>
                        <a:pt x="360" y="198"/>
                      </a:lnTo>
                      <a:lnTo>
                        <a:pt x="336" y="186"/>
                      </a:lnTo>
                      <a:lnTo>
                        <a:pt x="330" y="180"/>
                      </a:lnTo>
                      <a:lnTo>
                        <a:pt x="318" y="180"/>
                      </a:lnTo>
                      <a:lnTo>
                        <a:pt x="312" y="186"/>
                      </a:lnTo>
                      <a:lnTo>
                        <a:pt x="306" y="198"/>
                      </a:lnTo>
                      <a:lnTo>
                        <a:pt x="294" y="210"/>
                      </a:lnTo>
                      <a:lnTo>
                        <a:pt x="294" y="216"/>
                      </a:lnTo>
                      <a:lnTo>
                        <a:pt x="288" y="222"/>
                      </a:lnTo>
                      <a:lnTo>
                        <a:pt x="264" y="234"/>
                      </a:lnTo>
                      <a:lnTo>
                        <a:pt x="246" y="234"/>
                      </a:lnTo>
                      <a:lnTo>
                        <a:pt x="246" y="222"/>
                      </a:lnTo>
                      <a:lnTo>
                        <a:pt x="270" y="174"/>
                      </a:lnTo>
                      <a:lnTo>
                        <a:pt x="270" y="162"/>
                      </a:lnTo>
                      <a:lnTo>
                        <a:pt x="264" y="156"/>
                      </a:lnTo>
                      <a:lnTo>
                        <a:pt x="252" y="156"/>
                      </a:lnTo>
                      <a:lnTo>
                        <a:pt x="264" y="144"/>
                      </a:lnTo>
                      <a:lnTo>
                        <a:pt x="270" y="132"/>
                      </a:lnTo>
                      <a:lnTo>
                        <a:pt x="270" y="120"/>
                      </a:lnTo>
                      <a:lnTo>
                        <a:pt x="264" y="108"/>
                      </a:lnTo>
                      <a:lnTo>
                        <a:pt x="258" y="102"/>
                      </a:lnTo>
                      <a:lnTo>
                        <a:pt x="264" y="96"/>
                      </a:lnTo>
                      <a:lnTo>
                        <a:pt x="264" y="66"/>
                      </a:lnTo>
                      <a:lnTo>
                        <a:pt x="252" y="60"/>
                      </a:lnTo>
                      <a:lnTo>
                        <a:pt x="246" y="60"/>
                      </a:lnTo>
                      <a:lnTo>
                        <a:pt x="240" y="66"/>
                      </a:lnTo>
                      <a:lnTo>
                        <a:pt x="228" y="66"/>
                      </a:lnTo>
                      <a:lnTo>
                        <a:pt x="228" y="78"/>
                      </a:lnTo>
                      <a:lnTo>
                        <a:pt x="210" y="78"/>
                      </a:lnTo>
                      <a:lnTo>
                        <a:pt x="204" y="72"/>
                      </a:lnTo>
                      <a:lnTo>
                        <a:pt x="198" y="60"/>
                      </a:lnTo>
                      <a:lnTo>
                        <a:pt x="198" y="36"/>
                      </a:lnTo>
                      <a:lnTo>
                        <a:pt x="204" y="30"/>
                      </a:lnTo>
                      <a:lnTo>
                        <a:pt x="204" y="18"/>
                      </a:lnTo>
                      <a:lnTo>
                        <a:pt x="198" y="12"/>
                      </a:lnTo>
                      <a:lnTo>
                        <a:pt x="186" y="12"/>
                      </a:lnTo>
                      <a:lnTo>
                        <a:pt x="174" y="6"/>
                      </a:lnTo>
                      <a:lnTo>
                        <a:pt x="168" y="0"/>
                      </a:lnTo>
                      <a:lnTo>
                        <a:pt x="138" y="0"/>
                      </a:lnTo>
                      <a:lnTo>
                        <a:pt x="132" y="6"/>
                      </a:lnTo>
                      <a:lnTo>
                        <a:pt x="126" y="6"/>
                      </a:lnTo>
                      <a:lnTo>
                        <a:pt x="120" y="30"/>
                      </a:lnTo>
                      <a:lnTo>
                        <a:pt x="96" y="30"/>
                      </a:lnTo>
                      <a:lnTo>
                        <a:pt x="96" y="36"/>
                      </a:lnTo>
                      <a:lnTo>
                        <a:pt x="90" y="42"/>
                      </a:lnTo>
                      <a:lnTo>
                        <a:pt x="84" y="54"/>
                      </a:lnTo>
                      <a:lnTo>
                        <a:pt x="78" y="60"/>
                      </a:lnTo>
                      <a:lnTo>
                        <a:pt x="66" y="60"/>
                      </a:lnTo>
                      <a:lnTo>
                        <a:pt x="54" y="54"/>
                      </a:lnTo>
                      <a:lnTo>
                        <a:pt x="24" y="54"/>
                      </a:lnTo>
                      <a:lnTo>
                        <a:pt x="24" y="102"/>
                      </a:lnTo>
                      <a:lnTo>
                        <a:pt x="18" y="108"/>
                      </a:lnTo>
                      <a:lnTo>
                        <a:pt x="12" y="108"/>
                      </a:lnTo>
                      <a:lnTo>
                        <a:pt x="6" y="114"/>
                      </a:lnTo>
                      <a:lnTo>
                        <a:pt x="6" y="120"/>
                      </a:lnTo>
                      <a:lnTo>
                        <a:pt x="24" y="138"/>
                      </a:lnTo>
                      <a:lnTo>
                        <a:pt x="24" y="156"/>
                      </a:lnTo>
                      <a:lnTo>
                        <a:pt x="0" y="156"/>
                      </a:lnTo>
                      <a:lnTo>
                        <a:pt x="0" y="162"/>
                      </a:lnTo>
                      <a:lnTo>
                        <a:pt x="24" y="186"/>
                      </a:lnTo>
                      <a:lnTo>
                        <a:pt x="36" y="192"/>
                      </a:lnTo>
                      <a:lnTo>
                        <a:pt x="30" y="216"/>
                      </a:lnTo>
                      <a:lnTo>
                        <a:pt x="36" y="216"/>
                      </a:lnTo>
                      <a:lnTo>
                        <a:pt x="36" y="222"/>
                      </a:lnTo>
                      <a:lnTo>
                        <a:pt x="42" y="234"/>
                      </a:lnTo>
                      <a:lnTo>
                        <a:pt x="60" y="252"/>
                      </a:lnTo>
                      <a:lnTo>
                        <a:pt x="72" y="258"/>
                      </a:lnTo>
                      <a:lnTo>
                        <a:pt x="84" y="270"/>
                      </a:lnTo>
                      <a:lnTo>
                        <a:pt x="96" y="276"/>
                      </a:lnTo>
                      <a:lnTo>
                        <a:pt x="102" y="282"/>
                      </a:lnTo>
                      <a:lnTo>
                        <a:pt x="102" y="288"/>
                      </a:lnTo>
                      <a:lnTo>
                        <a:pt x="96" y="288"/>
                      </a:lnTo>
                      <a:lnTo>
                        <a:pt x="96" y="306"/>
                      </a:lnTo>
                      <a:lnTo>
                        <a:pt x="102" y="318"/>
                      </a:lnTo>
                      <a:lnTo>
                        <a:pt x="108" y="324"/>
                      </a:lnTo>
                      <a:lnTo>
                        <a:pt x="114" y="324"/>
                      </a:lnTo>
                      <a:lnTo>
                        <a:pt x="120" y="318"/>
                      </a:lnTo>
                      <a:lnTo>
                        <a:pt x="126" y="324"/>
                      </a:lnTo>
                      <a:lnTo>
                        <a:pt x="126" y="342"/>
                      </a:lnTo>
                      <a:lnTo>
                        <a:pt x="120" y="348"/>
                      </a:lnTo>
                      <a:lnTo>
                        <a:pt x="108" y="348"/>
                      </a:lnTo>
                      <a:lnTo>
                        <a:pt x="114" y="360"/>
                      </a:lnTo>
                      <a:lnTo>
                        <a:pt x="114" y="384"/>
                      </a:lnTo>
                      <a:lnTo>
                        <a:pt x="108" y="396"/>
                      </a:lnTo>
                      <a:lnTo>
                        <a:pt x="102" y="402"/>
                      </a:lnTo>
                      <a:lnTo>
                        <a:pt x="84" y="438"/>
                      </a:lnTo>
                      <a:lnTo>
                        <a:pt x="90" y="444"/>
                      </a:lnTo>
                      <a:lnTo>
                        <a:pt x="90" y="450"/>
                      </a:lnTo>
                      <a:lnTo>
                        <a:pt x="96" y="456"/>
                      </a:lnTo>
                      <a:lnTo>
                        <a:pt x="102" y="468"/>
                      </a:lnTo>
                      <a:lnTo>
                        <a:pt x="108" y="474"/>
                      </a:lnTo>
                      <a:lnTo>
                        <a:pt x="114" y="486"/>
                      </a:lnTo>
                      <a:lnTo>
                        <a:pt x="156" y="528"/>
                      </a:lnTo>
                      <a:lnTo>
                        <a:pt x="162" y="540"/>
                      </a:lnTo>
                      <a:lnTo>
                        <a:pt x="162" y="570"/>
                      </a:lnTo>
                      <a:lnTo>
                        <a:pt x="168" y="588"/>
                      </a:lnTo>
                      <a:lnTo>
                        <a:pt x="168" y="612"/>
                      </a:lnTo>
                      <a:lnTo>
                        <a:pt x="192" y="636"/>
                      </a:lnTo>
                      <a:lnTo>
                        <a:pt x="192" y="660"/>
                      </a:lnTo>
                      <a:lnTo>
                        <a:pt x="198" y="672"/>
                      </a:lnTo>
                      <a:lnTo>
                        <a:pt x="198" y="702"/>
                      </a:lnTo>
                      <a:lnTo>
                        <a:pt x="192" y="714"/>
                      </a:lnTo>
                      <a:lnTo>
                        <a:pt x="192" y="732"/>
                      </a:lnTo>
                      <a:lnTo>
                        <a:pt x="174" y="768"/>
                      </a:lnTo>
                      <a:lnTo>
                        <a:pt x="156" y="786"/>
                      </a:lnTo>
                      <a:lnTo>
                        <a:pt x="156" y="798"/>
                      </a:lnTo>
                      <a:lnTo>
                        <a:pt x="162" y="804"/>
                      </a:lnTo>
                      <a:lnTo>
                        <a:pt x="162" y="816"/>
                      </a:lnTo>
                      <a:lnTo>
                        <a:pt x="156" y="828"/>
                      </a:lnTo>
                      <a:lnTo>
                        <a:pt x="150" y="834"/>
                      </a:lnTo>
                      <a:lnTo>
                        <a:pt x="144" y="846"/>
                      </a:lnTo>
                      <a:lnTo>
                        <a:pt x="144" y="852"/>
                      </a:lnTo>
                      <a:lnTo>
                        <a:pt x="138" y="858"/>
                      </a:lnTo>
                      <a:lnTo>
                        <a:pt x="132" y="876"/>
                      </a:lnTo>
                      <a:lnTo>
                        <a:pt x="126" y="888"/>
                      </a:lnTo>
                      <a:lnTo>
                        <a:pt x="126" y="906"/>
                      </a:lnTo>
                      <a:lnTo>
                        <a:pt x="120" y="918"/>
                      </a:lnTo>
                      <a:lnTo>
                        <a:pt x="120" y="966"/>
                      </a:lnTo>
                      <a:lnTo>
                        <a:pt x="126" y="978"/>
                      </a:lnTo>
                      <a:lnTo>
                        <a:pt x="126" y="1008"/>
                      </a:lnTo>
                      <a:lnTo>
                        <a:pt x="132" y="1014"/>
                      </a:lnTo>
                      <a:lnTo>
                        <a:pt x="132" y="1020"/>
                      </a:lnTo>
                      <a:lnTo>
                        <a:pt x="138" y="1020"/>
                      </a:lnTo>
                      <a:lnTo>
                        <a:pt x="138" y="1002"/>
                      </a:lnTo>
                      <a:lnTo>
                        <a:pt x="144" y="990"/>
                      </a:lnTo>
                      <a:lnTo>
                        <a:pt x="144" y="978"/>
                      </a:lnTo>
                      <a:lnTo>
                        <a:pt x="150" y="972"/>
                      </a:lnTo>
                      <a:lnTo>
                        <a:pt x="150" y="996"/>
                      </a:lnTo>
                      <a:lnTo>
                        <a:pt x="162" y="996"/>
                      </a:lnTo>
                      <a:lnTo>
                        <a:pt x="186" y="1020"/>
                      </a:lnTo>
                      <a:lnTo>
                        <a:pt x="192" y="1032"/>
                      </a:lnTo>
                      <a:lnTo>
                        <a:pt x="198" y="1038"/>
                      </a:lnTo>
                      <a:lnTo>
                        <a:pt x="198" y="1044"/>
                      </a:lnTo>
                      <a:lnTo>
                        <a:pt x="228" y="1074"/>
                      </a:lnTo>
                      <a:lnTo>
                        <a:pt x="228" y="1098"/>
                      </a:lnTo>
                      <a:lnTo>
                        <a:pt x="234" y="1110"/>
                      </a:lnTo>
                      <a:lnTo>
                        <a:pt x="246" y="1128"/>
                      </a:lnTo>
                      <a:lnTo>
                        <a:pt x="264" y="1146"/>
                      </a:lnTo>
                      <a:lnTo>
                        <a:pt x="270" y="1140"/>
                      </a:lnTo>
                      <a:lnTo>
                        <a:pt x="276" y="1128"/>
                      </a:lnTo>
                      <a:lnTo>
                        <a:pt x="270" y="1122"/>
                      </a:lnTo>
                      <a:lnTo>
                        <a:pt x="270" y="1110"/>
                      </a:lnTo>
                      <a:lnTo>
                        <a:pt x="276" y="1104"/>
                      </a:lnTo>
                      <a:lnTo>
                        <a:pt x="288" y="1104"/>
                      </a:lnTo>
                      <a:lnTo>
                        <a:pt x="294" y="1116"/>
                      </a:lnTo>
                      <a:lnTo>
                        <a:pt x="294" y="1122"/>
                      </a:lnTo>
                      <a:lnTo>
                        <a:pt x="312" y="1122"/>
                      </a:lnTo>
                      <a:lnTo>
                        <a:pt x="324" y="1128"/>
                      </a:lnTo>
                      <a:lnTo>
                        <a:pt x="330" y="1134"/>
                      </a:lnTo>
                      <a:lnTo>
                        <a:pt x="330" y="1146"/>
                      </a:lnTo>
                      <a:lnTo>
                        <a:pt x="342" y="1146"/>
                      </a:lnTo>
                      <a:lnTo>
                        <a:pt x="342" y="1158"/>
                      </a:lnTo>
                      <a:lnTo>
                        <a:pt x="330" y="1170"/>
                      </a:lnTo>
                      <a:lnTo>
                        <a:pt x="330" y="1176"/>
                      </a:lnTo>
                      <a:lnTo>
                        <a:pt x="336" y="1182"/>
                      </a:lnTo>
                      <a:lnTo>
                        <a:pt x="354" y="1182"/>
                      </a:lnTo>
                      <a:lnTo>
                        <a:pt x="354" y="1176"/>
                      </a:lnTo>
                      <a:lnTo>
                        <a:pt x="366" y="1176"/>
                      </a:lnTo>
                      <a:lnTo>
                        <a:pt x="372" y="1170"/>
                      </a:lnTo>
                      <a:lnTo>
                        <a:pt x="378" y="1170"/>
                      </a:lnTo>
                      <a:lnTo>
                        <a:pt x="396" y="1188"/>
                      </a:lnTo>
                      <a:lnTo>
                        <a:pt x="402" y="1182"/>
                      </a:lnTo>
                      <a:lnTo>
                        <a:pt x="402" y="1176"/>
                      </a:lnTo>
                      <a:lnTo>
                        <a:pt x="408" y="1164"/>
                      </a:lnTo>
                      <a:lnTo>
                        <a:pt x="414" y="1158"/>
                      </a:lnTo>
                      <a:lnTo>
                        <a:pt x="420" y="1146"/>
                      </a:lnTo>
                      <a:lnTo>
                        <a:pt x="396" y="1134"/>
                      </a:lnTo>
                      <a:lnTo>
                        <a:pt x="390" y="1128"/>
                      </a:lnTo>
                      <a:lnTo>
                        <a:pt x="390" y="1116"/>
                      </a:lnTo>
                      <a:lnTo>
                        <a:pt x="384" y="1104"/>
                      </a:lnTo>
                      <a:lnTo>
                        <a:pt x="384" y="1092"/>
                      </a:lnTo>
                      <a:lnTo>
                        <a:pt x="378" y="1080"/>
                      </a:lnTo>
                      <a:lnTo>
                        <a:pt x="372" y="1074"/>
                      </a:lnTo>
                      <a:lnTo>
                        <a:pt x="354" y="1074"/>
                      </a:lnTo>
                      <a:lnTo>
                        <a:pt x="342" y="1080"/>
                      </a:lnTo>
                      <a:lnTo>
                        <a:pt x="336" y="1086"/>
                      </a:lnTo>
                      <a:lnTo>
                        <a:pt x="318" y="1086"/>
                      </a:lnTo>
                      <a:lnTo>
                        <a:pt x="312" y="1080"/>
                      </a:lnTo>
                      <a:lnTo>
                        <a:pt x="306" y="1068"/>
                      </a:lnTo>
                      <a:lnTo>
                        <a:pt x="306" y="1056"/>
                      </a:lnTo>
                      <a:lnTo>
                        <a:pt x="294" y="1032"/>
                      </a:lnTo>
                      <a:lnTo>
                        <a:pt x="288" y="1032"/>
                      </a:lnTo>
                      <a:lnTo>
                        <a:pt x="288" y="1050"/>
                      </a:lnTo>
                      <a:lnTo>
                        <a:pt x="282" y="1056"/>
                      </a:lnTo>
                      <a:lnTo>
                        <a:pt x="276" y="1056"/>
                      </a:lnTo>
                      <a:lnTo>
                        <a:pt x="270" y="1044"/>
                      </a:lnTo>
                      <a:lnTo>
                        <a:pt x="264" y="1038"/>
                      </a:lnTo>
                      <a:lnTo>
                        <a:pt x="258" y="1026"/>
                      </a:lnTo>
                      <a:lnTo>
                        <a:pt x="258" y="1014"/>
                      </a:lnTo>
                      <a:lnTo>
                        <a:pt x="270" y="1002"/>
                      </a:lnTo>
                      <a:lnTo>
                        <a:pt x="270" y="1008"/>
                      </a:lnTo>
                      <a:lnTo>
                        <a:pt x="276" y="1008"/>
                      </a:lnTo>
                      <a:lnTo>
                        <a:pt x="276" y="1014"/>
                      </a:lnTo>
                      <a:lnTo>
                        <a:pt x="282" y="1014"/>
                      </a:lnTo>
                      <a:lnTo>
                        <a:pt x="288" y="1008"/>
                      </a:lnTo>
                      <a:lnTo>
                        <a:pt x="282" y="1002"/>
                      </a:lnTo>
                      <a:lnTo>
                        <a:pt x="282" y="990"/>
                      </a:lnTo>
                      <a:lnTo>
                        <a:pt x="276" y="978"/>
                      </a:lnTo>
                      <a:lnTo>
                        <a:pt x="270" y="972"/>
                      </a:lnTo>
                      <a:lnTo>
                        <a:pt x="270" y="960"/>
                      </a:lnTo>
                      <a:lnTo>
                        <a:pt x="258" y="948"/>
                      </a:lnTo>
                      <a:lnTo>
                        <a:pt x="246" y="948"/>
                      </a:lnTo>
                      <a:lnTo>
                        <a:pt x="246" y="894"/>
                      </a:lnTo>
                      <a:lnTo>
                        <a:pt x="192" y="906"/>
                      </a:lnTo>
                      <a:lnTo>
                        <a:pt x="192" y="864"/>
                      </a:lnTo>
                      <a:lnTo>
                        <a:pt x="186" y="828"/>
                      </a:lnTo>
                      <a:lnTo>
                        <a:pt x="186" y="804"/>
                      </a:lnTo>
                      <a:lnTo>
                        <a:pt x="180" y="792"/>
                      </a:lnTo>
                      <a:lnTo>
                        <a:pt x="174" y="786"/>
                      </a:lnTo>
                      <a:lnTo>
                        <a:pt x="180" y="786"/>
                      </a:lnTo>
                      <a:lnTo>
                        <a:pt x="192" y="774"/>
                      </a:lnTo>
                      <a:lnTo>
                        <a:pt x="198" y="762"/>
                      </a:lnTo>
                      <a:lnTo>
                        <a:pt x="204" y="744"/>
                      </a:lnTo>
                      <a:lnTo>
                        <a:pt x="204" y="678"/>
                      </a:lnTo>
                      <a:lnTo>
                        <a:pt x="210" y="678"/>
                      </a:lnTo>
                      <a:lnTo>
                        <a:pt x="216" y="672"/>
                      </a:lnTo>
                      <a:lnTo>
                        <a:pt x="222" y="660"/>
                      </a:lnTo>
                      <a:lnTo>
                        <a:pt x="228" y="654"/>
                      </a:lnTo>
                      <a:lnTo>
                        <a:pt x="228" y="612"/>
                      </a:lnTo>
                      <a:lnTo>
                        <a:pt x="222" y="600"/>
                      </a:lnTo>
                      <a:lnTo>
                        <a:pt x="222" y="594"/>
                      </a:lnTo>
                      <a:lnTo>
                        <a:pt x="216" y="588"/>
                      </a:lnTo>
                      <a:lnTo>
                        <a:pt x="222" y="558"/>
                      </a:lnTo>
                      <a:lnTo>
                        <a:pt x="234" y="558"/>
                      </a:lnTo>
                      <a:lnTo>
                        <a:pt x="234" y="552"/>
                      </a:lnTo>
                      <a:lnTo>
                        <a:pt x="240" y="546"/>
                      </a:lnTo>
                      <a:lnTo>
                        <a:pt x="264" y="546"/>
                      </a:lnTo>
                      <a:lnTo>
                        <a:pt x="270" y="552"/>
                      </a:lnTo>
                      <a:lnTo>
                        <a:pt x="294" y="564"/>
                      </a:lnTo>
                      <a:lnTo>
                        <a:pt x="300" y="570"/>
                      </a:lnTo>
                      <a:lnTo>
                        <a:pt x="288" y="576"/>
                      </a:lnTo>
                      <a:lnTo>
                        <a:pt x="288" y="588"/>
                      </a:lnTo>
                      <a:lnTo>
                        <a:pt x="282" y="594"/>
                      </a:lnTo>
                      <a:lnTo>
                        <a:pt x="282" y="612"/>
                      </a:lnTo>
                      <a:lnTo>
                        <a:pt x="288" y="624"/>
                      </a:lnTo>
                      <a:lnTo>
                        <a:pt x="306" y="624"/>
                      </a:lnTo>
                      <a:lnTo>
                        <a:pt x="330" y="612"/>
                      </a:lnTo>
                      <a:lnTo>
                        <a:pt x="342" y="612"/>
                      </a:lnTo>
                      <a:lnTo>
                        <a:pt x="354" y="606"/>
                      </a:lnTo>
                      <a:lnTo>
                        <a:pt x="360" y="600"/>
                      </a:lnTo>
                      <a:lnTo>
                        <a:pt x="366" y="600"/>
                      </a:lnTo>
                      <a:lnTo>
                        <a:pt x="396" y="684"/>
                      </a:lnTo>
                      <a:lnTo>
                        <a:pt x="402" y="678"/>
                      </a:lnTo>
                      <a:lnTo>
                        <a:pt x="414" y="672"/>
                      </a:lnTo>
                      <a:lnTo>
                        <a:pt x="426" y="672"/>
                      </a:lnTo>
                      <a:lnTo>
                        <a:pt x="426" y="642"/>
                      </a:lnTo>
                      <a:lnTo>
                        <a:pt x="414" y="630"/>
                      </a:lnTo>
                      <a:lnTo>
                        <a:pt x="414" y="600"/>
                      </a:lnTo>
                      <a:lnTo>
                        <a:pt x="402" y="588"/>
                      </a:lnTo>
                      <a:lnTo>
                        <a:pt x="396" y="552"/>
                      </a:lnTo>
                      <a:lnTo>
                        <a:pt x="426" y="522"/>
                      </a:lnTo>
                      <a:lnTo>
                        <a:pt x="426" y="516"/>
                      </a:lnTo>
                      <a:lnTo>
                        <a:pt x="432" y="504"/>
                      </a:lnTo>
                      <a:lnTo>
                        <a:pt x="438" y="498"/>
                      </a:lnTo>
                      <a:lnTo>
                        <a:pt x="450" y="492"/>
                      </a:lnTo>
                      <a:lnTo>
                        <a:pt x="468" y="486"/>
                      </a:lnTo>
                      <a:lnTo>
                        <a:pt x="504" y="486"/>
                      </a:lnTo>
                      <a:lnTo>
                        <a:pt x="510" y="492"/>
                      </a:lnTo>
                      <a:lnTo>
                        <a:pt x="522" y="492"/>
                      </a:lnTo>
                      <a:lnTo>
                        <a:pt x="534" y="486"/>
                      </a:lnTo>
                      <a:lnTo>
                        <a:pt x="564" y="486"/>
                      </a:lnTo>
                      <a:lnTo>
                        <a:pt x="576" y="492"/>
                      </a:lnTo>
                      <a:lnTo>
                        <a:pt x="582" y="498"/>
                      </a:lnTo>
                      <a:lnTo>
                        <a:pt x="588" y="498"/>
                      </a:lnTo>
                      <a:lnTo>
                        <a:pt x="594" y="492"/>
                      </a:lnTo>
                      <a:lnTo>
                        <a:pt x="600" y="480"/>
                      </a:lnTo>
                      <a:lnTo>
                        <a:pt x="618" y="462"/>
                      </a:lnTo>
                      <a:lnTo>
                        <a:pt x="618" y="450"/>
                      </a:lnTo>
                      <a:lnTo>
                        <a:pt x="612" y="444"/>
                      </a:lnTo>
                      <a:lnTo>
                        <a:pt x="600" y="438"/>
                      </a:lnTo>
                      <a:lnTo>
                        <a:pt x="588" y="426"/>
                      </a:lnTo>
                      <a:close/>
                    </a:path>
                  </a:pathLst>
                </a:custGeom>
                <a:solidFill>
                  <a:schemeClr val="accent1"/>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541" name="Tanzania"/>
                <p:cNvSpPr>
                  <a:spLocks noEditPoints="1"/>
                </p:cNvSpPr>
                <p:nvPr/>
              </p:nvSpPr>
              <p:spPr bwMode="gray">
                <a:xfrm>
                  <a:off x="3191" y="2331"/>
                  <a:ext cx="196" cy="222"/>
                </a:xfrm>
                <a:custGeom>
                  <a:avLst/>
                  <a:gdLst>
                    <a:gd name="T0" fmla="*/ 2147483647 w 768"/>
                    <a:gd name="T1" fmla="*/ 2147483647 h 870"/>
                    <a:gd name="T2" fmla="*/ 2147483647 w 768"/>
                    <a:gd name="T3" fmla="*/ 2147483647 h 870"/>
                    <a:gd name="T4" fmla="*/ 2147483647 w 768"/>
                    <a:gd name="T5" fmla="*/ 2147483647 h 870"/>
                    <a:gd name="T6" fmla="*/ 2147483647 w 768"/>
                    <a:gd name="T7" fmla="*/ 2147483647 h 870"/>
                    <a:gd name="T8" fmla="*/ 2147483647 w 768"/>
                    <a:gd name="T9" fmla="*/ 2147483647 h 870"/>
                    <a:gd name="T10" fmla="*/ 2147483647 w 768"/>
                    <a:gd name="T11" fmla="*/ 2147483647 h 870"/>
                    <a:gd name="T12" fmla="*/ 2147483647 w 768"/>
                    <a:gd name="T13" fmla="*/ 2147483647 h 870"/>
                    <a:gd name="T14" fmla="*/ 2147483647 w 768"/>
                    <a:gd name="T15" fmla="*/ 2147483647 h 870"/>
                    <a:gd name="T16" fmla="*/ 2147483647 w 768"/>
                    <a:gd name="T17" fmla="*/ 2147483647 h 870"/>
                    <a:gd name="T18" fmla="*/ 2147483647 w 768"/>
                    <a:gd name="T19" fmla="*/ 2147483647 h 870"/>
                    <a:gd name="T20" fmla="*/ 2147483647 w 768"/>
                    <a:gd name="T21" fmla="*/ 2147483647 h 870"/>
                    <a:gd name="T22" fmla="*/ 2147483647 w 768"/>
                    <a:gd name="T23" fmla="*/ 2147483647 h 870"/>
                    <a:gd name="T24" fmla="*/ 2147483647 w 768"/>
                    <a:gd name="T25" fmla="*/ 2147483647 h 870"/>
                    <a:gd name="T26" fmla="*/ 2147483647 w 768"/>
                    <a:gd name="T27" fmla="*/ 2147483647 h 870"/>
                    <a:gd name="T28" fmla="*/ 2147483647 w 768"/>
                    <a:gd name="T29" fmla="*/ 2147483647 h 870"/>
                    <a:gd name="T30" fmla="*/ 2147483647 w 768"/>
                    <a:gd name="T31" fmla="*/ 2147483647 h 870"/>
                    <a:gd name="T32" fmla="*/ 2147483647 w 768"/>
                    <a:gd name="T33" fmla="*/ 2147483647 h 870"/>
                    <a:gd name="T34" fmla="*/ 2147483647 w 768"/>
                    <a:gd name="T35" fmla="*/ 2147483647 h 870"/>
                    <a:gd name="T36" fmla="*/ 2147483647 w 768"/>
                    <a:gd name="T37" fmla="*/ 2147483647 h 870"/>
                    <a:gd name="T38" fmla="*/ 2147483647 w 768"/>
                    <a:gd name="T39" fmla="*/ 2147483647 h 870"/>
                    <a:gd name="T40" fmla="*/ 2147483647 w 768"/>
                    <a:gd name="T41" fmla="*/ 2147483647 h 870"/>
                    <a:gd name="T42" fmla="*/ 2147483647 w 768"/>
                    <a:gd name="T43" fmla="*/ 2147483647 h 870"/>
                    <a:gd name="T44" fmla="*/ 2147483647 w 768"/>
                    <a:gd name="T45" fmla="*/ 2147483647 h 870"/>
                    <a:gd name="T46" fmla="*/ 2147483647 w 768"/>
                    <a:gd name="T47" fmla="*/ 2147483647 h 870"/>
                    <a:gd name="T48" fmla="*/ 2147483647 w 768"/>
                    <a:gd name="T49" fmla="*/ 2147483647 h 870"/>
                    <a:gd name="T50" fmla="*/ 2147483647 w 768"/>
                    <a:gd name="T51" fmla="*/ 2147483647 h 870"/>
                    <a:gd name="T52" fmla="*/ 2147483647 w 768"/>
                    <a:gd name="T53" fmla="*/ 2147483647 h 870"/>
                    <a:gd name="T54" fmla="*/ 2147483647 w 768"/>
                    <a:gd name="T55" fmla="*/ 2147483647 h 870"/>
                    <a:gd name="T56" fmla="*/ 2147483647 w 768"/>
                    <a:gd name="T57" fmla="*/ 2147483647 h 870"/>
                    <a:gd name="T58" fmla="*/ 2147483647 w 768"/>
                    <a:gd name="T59" fmla="*/ 2147483647 h 870"/>
                    <a:gd name="T60" fmla="*/ 2147483647 w 768"/>
                    <a:gd name="T61" fmla="*/ 2147483647 h 870"/>
                    <a:gd name="T62" fmla="*/ 2147483647 w 768"/>
                    <a:gd name="T63" fmla="*/ 2147483647 h 870"/>
                    <a:gd name="T64" fmla="*/ 2147483647 w 768"/>
                    <a:gd name="T65" fmla="*/ 2147483647 h 870"/>
                    <a:gd name="T66" fmla="*/ 2147483647 w 768"/>
                    <a:gd name="T67" fmla="*/ 2147483647 h 870"/>
                    <a:gd name="T68" fmla="*/ 2147483647 w 768"/>
                    <a:gd name="T69" fmla="*/ 2147483647 h 870"/>
                    <a:gd name="T70" fmla="*/ 2147483647 w 768"/>
                    <a:gd name="T71" fmla="*/ 2147483647 h 870"/>
                    <a:gd name="T72" fmla="*/ 2147483647 w 768"/>
                    <a:gd name="T73" fmla="*/ 2147483647 h 870"/>
                    <a:gd name="T74" fmla="*/ 2147483647 w 768"/>
                    <a:gd name="T75" fmla="*/ 2147483647 h 870"/>
                    <a:gd name="T76" fmla="*/ 2147483647 w 768"/>
                    <a:gd name="T77" fmla="*/ 2147483647 h 870"/>
                    <a:gd name="T78" fmla="*/ 2147483647 w 768"/>
                    <a:gd name="T79" fmla="*/ 2147483647 h 870"/>
                    <a:gd name="T80" fmla="*/ 2147483647 w 768"/>
                    <a:gd name="T81" fmla="*/ 2147483647 h 870"/>
                    <a:gd name="T82" fmla="*/ 2147483647 w 768"/>
                    <a:gd name="T83" fmla="*/ 2147483647 h 870"/>
                    <a:gd name="T84" fmla="*/ 2147483647 w 768"/>
                    <a:gd name="T85" fmla="*/ 2147483647 h 870"/>
                    <a:gd name="T86" fmla="*/ 2147483647 w 768"/>
                    <a:gd name="T87" fmla="*/ 2147483647 h 870"/>
                    <a:gd name="T88" fmla="*/ 2147483647 w 768"/>
                    <a:gd name="T89" fmla="*/ 2147483647 h 870"/>
                    <a:gd name="T90" fmla="*/ 2147483647 w 768"/>
                    <a:gd name="T91" fmla="*/ 2147483647 h 870"/>
                    <a:gd name="T92" fmla="*/ 2147483647 w 768"/>
                    <a:gd name="T93" fmla="*/ 2147483647 h 870"/>
                    <a:gd name="T94" fmla="*/ 2147483647 w 768"/>
                    <a:gd name="T95" fmla="*/ 2147483647 h 870"/>
                    <a:gd name="T96" fmla="*/ 2147483647 w 768"/>
                    <a:gd name="T97" fmla="*/ 2147483647 h 870"/>
                    <a:gd name="T98" fmla="*/ 2147483647 w 768"/>
                    <a:gd name="T99" fmla="*/ 2147483647 h 870"/>
                    <a:gd name="T100" fmla="*/ 2147483647 w 768"/>
                    <a:gd name="T101" fmla="*/ 2147483647 h 870"/>
                    <a:gd name="T102" fmla="*/ 2147483647 w 768"/>
                    <a:gd name="T103" fmla="*/ 2147483647 h 87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768"/>
                    <a:gd name="T157" fmla="*/ 0 h 870"/>
                    <a:gd name="T158" fmla="*/ 768 w 768"/>
                    <a:gd name="T159" fmla="*/ 870 h 87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768" h="870">
                      <a:moveTo>
                        <a:pt x="762" y="744"/>
                      </a:moveTo>
                      <a:lnTo>
                        <a:pt x="750" y="744"/>
                      </a:lnTo>
                      <a:lnTo>
                        <a:pt x="744" y="738"/>
                      </a:lnTo>
                      <a:lnTo>
                        <a:pt x="732" y="732"/>
                      </a:lnTo>
                      <a:lnTo>
                        <a:pt x="720" y="720"/>
                      </a:lnTo>
                      <a:lnTo>
                        <a:pt x="720" y="708"/>
                      </a:lnTo>
                      <a:lnTo>
                        <a:pt x="714" y="690"/>
                      </a:lnTo>
                      <a:lnTo>
                        <a:pt x="714" y="654"/>
                      </a:lnTo>
                      <a:lnTo>
                        <a:pt x="690" y="612"/>
                      </a:lnTo>
                      <a:lnTo>
                        <a:pt x="702" y="564"/>
                      </a:lnTo>
                      <a:lnTo>
                        <a:pt x="684" y="540"/>
                      </a:lnTo>
                      <a:lnTo>
                        <a:pt x="690" y="528"/>
                      </a:lnTo>
                      <a:lnTo>
                        <a:pt x="696" y="522"/>
                      </a:lnTo>
                      <a:lnTo>
                        <a:pt x="708" y="498"/>
                      </a:lnTo>
                      <a:lnTo>
                        <a:pt x="708" y="480"/>
                      </a:lnTo>
                      <a:lnTo>
                        <a:pt x="702" y="474"/>
                      </a:lnTo>
                      <a:lnTo>
                        <a:pt x="690" y="468"/>
                      </a:lnTo>
                      <a:lnTo>
                        <a:pt x="672" y="456"/>
                      </a:lnTo>
                      <a:lnTo>
                        <a:pt x="660" y="450"/>
                      </a:lnTo>
                      <a:lnTo>
                        <a:pt x="654" y="438"/>
                      </a:lnTo>
                      <a:lnTo>
                        <a:pt x="654" y="426"/>
                      </a:lnTo>
                      <a:lnTo>
                        <a:pt x="660" y="414"/>
                      </a:lnTo>
                      <a:lnTo>
                        <a:pt x="666" y="396"/>
                      </a:lnTo>
                      <a:lnTo>
                        <a:pt x="666" y="384"/>
                      </a:lnTo>
                      <a:lnTo>
                        <a:pt x="672" y="366"/>
                      </a:lnTo>
                      <a:lnTo>
                        <a:pt x="678" y="354"/>
                      </a:lnTo>
                      <a:lnTo>
                        <a:pt x="678" y="330"/>
                      </a:lnTo>
                      <a:lnTo>
                        <a:pt x="684" y="318"/>
                      </a:lnTo>
                      <a:lnTo>
                        <a:pt x="684" y="300"/>
                      </a:lnTo>
                      <a:lnTo>
                        <a:pt x="570" y="192"/>
                      </a:lnTo>
                      <a:lnTo>
                        <a:pt x="576" y="186"/>
                      </a:lnTo>
                      <a:lnTo>
                        <a:pt x="582" y="186"/>
                      </a:lnTo>
                      <a:lnTo>
                        <a:pt x="588" y="180"/>
                      </a:lnTo>
                      <a:lnTo>
                        <a:pt x="588" y="174"/>
                      </a:lnTo>
                      <a:lnTo>
                        <a:pt x="576" y="162"/>
                      </a:lnTo>
                      <a:lnTo>
                        <a:pt x="324" y="6"/>
                      </a:lnTo>
                      <a:lnTo>
                        <a:pt x="312" y="6"/>
                      </a:lnTo>
                      <a:lnTo>
                        <a:pt x="312" y="18"/>
                      </a:lnTo>
                      <a:lnTo>
                        <a:pt x="318" y="24"/>
                      </a:lnTo>
                      <a:lnTo>
                        <a:pt x="318" y="36"/>
                      </a:lnTo>
                      <a:lnTo>
                        <a:pt x="294" y="48"/>
                      </a:lnTo>
                      <a:lnTo>
                        <a:pt x="276" y="66"/>
                      </a:lnTo>
                      <a:lnTo>
                        <a:pt x="264" y="84"/>
                      </a:lnTo>
                      <a:lnTo>
                        <a:pt x="264" y="90"/>
                      </a:lnTo>
                      <a:lnTo>
                        <a:pt x="270" y="96"/>
                      </a:lnTo>
                      <a:lnTo>
                        <a:pt x="294" y="96"/>
                      </a:lnTo>
                      <a:lnTo>
                        <a:pt x="306" y="90"/>
                      </a:lnTo>
                      <a:lnTo>
                        <a:pt x="312" y="90"/>
                      </a:lnTo>
                      <a:lnTo>
                        <a:pt x="306" y="96"/>
                      </a:lnTo>
                      <a:lnTo>
                        <a:pt x="294" y="102"/>
                      </a:lnTo>
                      <a:lnTo>
                        <a:pt x="276" y="120"/>
                      </a:lnTo>
                      <a:lnTo>
                        <a:pt x="270" y="120"/>
                      </a:lnTo>
                      <a:lnTo>
                        <a:pt x="264" y="114"/>
                      </a:lnTo>
                      <a:lnTo>
                        <a:pt x="252" y="108"/>
                      </a:lnTo>
                      <a:lnTo>
                        <a:pt x="246" y="108"/>
                      </a:lnTo>
                      <a:lnTo>
                        <a:pt x="234" y="120"/>
                      </a:lnTo>
                      <a:lnTo>
                        <a:pt x="234" y="138"/>
                      </a:lnTo>
                      <a:lnTo>
                        <a:pt x="246" y="150"/>
                      </a:lnTo>
                      <a:lnTo>
                        <a:pt x="216" y="150"/>
                      </a:lnTo>
                      <a:lnTo>
                        <a:pt x="216" y="138"/>
                      </a:lnTo>
                      <a:lnTo>
                        <a:pt x="222" y="132"/>
                      </a:lnTo>
                      <a:lnTo>
                        <a:pt x="222" y="126"/>
                      </a:lnTo>
                      <a:lnTo>
                        <a:pt x="228" y="114"/>
                      </a:lnTo>
                      <a:lnTo>
                        <a:pt x="210" y="120"/>
                      </a:lnTo>
                      <a:lnTo>
                        <a:pt x="192" y="102"/>
                      </a:lnTo>
                      <a:lnTo>
                        <a:pt x="186" y="102"/>
                      </a:lnTo>
                      <a:lnTo>
                        <a:pt x="174" y="114"/>
                      </a:lnTo>
                      <a:lnTo>
                        <a:pt x="174" y="132"/>
                      </a:lnTo>
                      <a:lnTo>
                        <a:pt x="168" y="138"/>
                      </a:lnTo>
                      <a:lnTo>
                        <a:pt x="162" y="138"/>
                      </a:lnTo>
                      <a:lnTo>
                        <a:pt x="156" y="132"/>
                      </a:lnTo>
                      <a:lnTo>
                        <a:pt x="156" y="48"/>
                      </a:lnTo>
                      <a:lnTo>
                        <a:pt x="162" y="36"/>
                      </a:lnTo>
                      <a:lnTo>
                        <a:pt x="162" y="24"/>
                      </a:lnTo>
                      <a:lnTo>
                        <a:pt x="168" y="12"/>
                      </a:lnTo>
                      <a:lnTo>
                        <a:pt x="168" y="6"/>
                      </a:lnTo>
                      <a:lnTo>
                        <a:pt x="78" y="0"/>
                      </a:lnTo>
                      <a:lnTo>
                        <a:pt x="72" y="24"/>
                      </a:lnTo>
                      <a:lnTo>
                        <a:pt x="78" y="30"/>
                      </a:lnTo>
                      <a:lnTo>
                        <a:pt x="84" y="42"/>
                      </a:lnTo>
                      <a:lnTo>
                        <a:pt x="90" y="48"/>
                      </a:lnTo>
                      <a:lnTo>
                        <a:pt x="90" y="66"/>
                      </a:lnTo>
                      <a:lnTo>
                        <a:pt x="96" y="72"/>
                      </a:lnTo>
                      <a:lnTo>
                        <a:pt x="96" y="96"/>
                      </a:lnTo>
                      <a:lnTo>
                        <a:pt x="78" y="114"/>
                      </a:lnTo>
                      <a:lnTo>
                        <a:pt x="66" y="114"/>
                      </a:lnTo>
                      <a:lnTo>
                        <a:pt x="66" y="126"/>
                      </a:lnTo>
                      <a:lnTo>
                        <a:pt x="60" y="138"/>
                      </a:lnTo>
                      <a:lnTo>
                        <a:pt x="60" y="156"/>
                      </a:lnTo>
                      <a:lnTo>
                        <a:pt x="66" y="156"/>
                      </a:lnTo>
                      <a:lnTo>
                        <a:pt x="72" y="162"/>
                      </a:lnTo>
                      <a:lnTo>
                        <a:pt x="90" y="162"/>
                      </a:lnTo>
                      <a:lnTo>
                        <a:pt x="90" y="180"/>
                      </a:lnTo>
                      <a:lnTo>
                        <a:pt x="78" y="186"/>
                      </a:lnTo>
                      <a:lnTo>
                        <a:pt x="84" y="198"/>
                      </a:lnTo>
                      <a:lnTo>
                        <a:pt x="72" y="198"/>
                      </a:lnTo>
                      <a:lnTo>
                        <a:pt x="54" y="216"/>
                      </a:lnTo>
                      <a:lnTo>
                        <a:pt x="48" y="228"/>
                      </a:lnTo>
                      <a:lnTo>
                        <a:pt x="48" y="246"/>
                      </a:lnTo>
                      <a:lnTo>
                        <a:pt x="42" y="258"/>
                      </a:lnTo>
                      <a:lnTo>
                        <a:pt x="30" y="270"/>
                      </a:lnTo>
                      <a:lnTo>
                        <a:pt x="6" y="282"/>
                      </a:lnTo>
                      <a:lnTo>
                        <a:pt x="0" y="294"/>
                      </a:lnTo>
                      <a:lnTo>
                        <a:pt x="6" y="306"/>
                      </a:lnTo>
                      <a:lnTo>
                        <a:pt x="18" y="318"/>
                      </a:lnTo>
                      <a:lnTo>
                        <a:pt x="18" y="330"/>
                      </a:lnTo>
                      <a:lnTo>
                        <a:pt x="12" y="342"/>
                      </a:lnTo>
                      <a:lnTo>
                        <a:pt x="12" y="348"/>
                      </a:lnTo>
                      <a:lnTo>
                        <a:pt x="18" y="354"/>
                      </a:lnTo>
                      <a:lnTo>
                        <a:pt x="18" y="366"/>
                      </a:lnTo>
                      <a:lnTo>
                        <a:pt x="24" y="378"/>
                      </a:lnTo>
                      <a:lnTo>
                        <a:pt x="24" y="396"/>
                      </a:lnTo>
                      <a:lnTo>
                        <a:pt x="18" y="402"/>
                      </a:lnTo>
                      <a:lnTo>
                        <a:pt x="18" y="432"/>
                      </a:lnTo>
                      <a:lnTo>
                        <a:pt x="30" y="444"/>
                      </a:lnTo>
                      <a:lnTo>
                        <a:pt x="36" y="444"/>
                      </a:lnTo>
                      <a:lnTo>
                        <a:pt x="48" y="450"/>
                      </a:lnTo>
                      <a:lnTo>
                        <a:pt x="72" y="474"/>
                      </a:lnTo>
                      <a:lnTo>
                        <a:pt x="78" y="486"/>
                      </a:lnTo>
                      <a:lnTo>
                        <a:pt x="78" y="546"/>
                      </a:lnTo>
                      <a:lnTo>
                        <a:pt x="84" y="558"/>
                      </a:lnTo>
                      <a:lnTo>
                        <a:pt x="114" y="594"/>
                      </a:lnTo>
                      <a:lnTo>
                        <a:pt x="114" y="600"/>
                      </a:lnTo>
                      <a:lnTo>
                        <a:pt x="108" y="612"/>
                      </a:lnTo>
                      <a:lnTo>
                        <a:pt x="108" y="618"/>
                      </a:lnTo>
                      <a:lnTo>
                        <a:pt x="126" y="618"/>
                      </a:lnTo>
                      <a:lnTo>
                        <a:pt x="138" y="612"/>
                      </a:lnTo>
                      <a:lnTo>
                        <a:pt x="138" y="630"/>
                      </a:lnTo>
                      <a:lnTo>
                        <a:pt x="144" y="636"/>
                      </a:lnTo>
                      <a:lnTo>
                        <a:pt x="162" y="636"/>
                      </a:lnTo>
                      <a:lnTo>
                        <a:pt x="180" y="654"/>
                      </a:lnTo>
                      <a:lnTo>
                        <a:pt x="192" y="654"/>
                      </a:lnTo>
                      <a:lnTo>
                        <a:pt x="204" y="648"/>
                      </a:lnTo>
                      <a:lnTo>
                        <a:pt x="204" y="666"/>
                      </a:lnTo>
                      <a:lnTo>
                        <a:pt x="222" y="666"/>
                      </a:lnTo>
                      <a:lnTo>
                        <a:pt x="240" y="678"/>
                      </a:lnTo>
                      <a:lnTo>
                        <a:pt x="264" y="678"/>
                      </a:lnTo>
                      <a:lnTo>
                        <a:pt x="270" y="696"/>
                      </a:lnTo>
                      <a:lnTo>
                        <a:pt x="300" y="696"/>
                      </a:lnTo>
                      <a:lnTo>
                        <a:pt x="300" y="690"/>
                      </a:lnTo>
                      <a:lnTo>
                        <a:pt x="312" y="678"/>
                      </a:lnTo>
                      <a:lnTo>
                        <a:pt x="318" y="684"/>
                      </a:lnTo>
                      <a:lnTo>
                        <a:pt x="330" y="690"/>
                      </a:lnTo>
                      <a:lnTo>
                        <a:pt x="336" y="702"/>
                      </a:lnTo>
                      <a:lnTo>
                        <a:pt x="348" y="714"/>
                      </a:lnTo>
                      <a:lnTo>
                        <a:pt x="348" y="774"/>
                      </a:lnTo>
                      <a:lnTo>
                        <a:pt x="354" y="774"/>
                      </a:lnTo>
                      <a:lnTo>
                        <a:pt x="360" y="780"/>
                      </a:lnTo>
                      <a:lnTo>
                        <a:pt x="360" y="792"/>
                      </a:lnTo>
                      <a:lnTo>
                        <a:pt x="354" y="798"/>
                      </a:lnTo>
                      <a:lnTo>
                        <a:pt x="354" y="804"/>
                      </a:lnTo>
                      <a:lnTo>
                        <a:pt x="348" y="810"/>
                      </a:lnTo>
                      <a:lnTo>
                        <a:pt x="348" y="816"/>
                      </a:lnTo>
                      <a:lnTo>
                        <a:pt x="366" y="834"/>
                      </a:lnTo>
                      <a:lnTo>
                        <a:pt x="378" y="840"/>
                      </a:lnTo>
                      <a:lnTo>
                        <a:pt x="372" y="858"/>
                      </a:lnTo>
                      <a:lnTo>
                        <a:pt x="408" y="858"/>
                      </a:lnTo>
                      <a:lnTo>
                        <a:pt x="414" y="852"/>
                      </a:lnTo>
                      <a:lnTo>
                        <a:pt x="420" y="852"/>
                      </a:lnTo>
                      <a:lnTo>
                        <a:pt x="432" y="840"/>
                      </a:lnTo>
                      <a:lnTo>
                        <a:pt x="444" y="840"/>
                      </a:lnTo>
                      <a:lnTo>
                        <a:pt x="456" y="846"/>
                      </a:lnTo>
                      <a:lnTo>
                        <a:pt x="462" y="858"/>
                      </a:lnTo>
                      <a:lnTo>
                        <a:pt x="474" y="864"/>
                      </a:lnTo>
                      <a:lnTo>
                        <a:pt x="480" y="870"/>
                      </a:lnTo>
                      <a:lnTo>
                        <a:pt x="492" y="870"/>
                      </a:lnTo>
                      <a:lnTo>
                        <a:pt x="510" y="852"/>
                      </a:lnTo>
                      <a:lnTo>
                        <a:pt x="516" y="852"/>
                      </a:lnTo>
                      <a:lnTo>
                        <a:pt x="522" y="858"/>
                      </a:lnTo>
                      <a:lnTo>
                        <a:pt x="534" y="864"/>
                      </a:lnTo>
                      <a:lnTo>
                        <a:pt x="552" y="864"/>
                      </a:lnTo>
                      <a:lnTo>
                        <a:pt x="564" y="852"/>
                      </a:lnTo>
                      <a:lnTo>
                        <a:pt x="576" y="846"/>
                      </a:lnTo>
                      <a:lnTo>
                        <a:pt x="582" y="834"/>
                      </a:lnTo>
                      <a:lnTo>
                        <a:pt x="588" y="828"/>
                      </a:lnTo>
                      <a:lnTo>
                        <a:pt x="612" y="828"/>
                      </a:lnTo>
                      <a:lnTo>
                        <a:pt x="618" y="834"/>
                      </a:lnTo>
                      <a:lnTo>
                        <a:pt x="618" y="840"/>
                      </a:lnTo>
                      <a:lnTo>
                        <a:pt x="630" y="840"/>
                      </a:lnTo>
                      <a:lnTo>
                        <a:pt x="642" y="834"/>
                      </a:lnTo>
                      <a:lnTo>
                        <a:pt x="654" y="822"/>
                      </a:lnTo>
                      <a:lnTo>
                        <a:pt x="660" y="822"/>
                      </a:lnTo>
                      <a:lnTo>
                        <a:pt x="690" y="816"/>
                      </a:lnTo>
                      <a:lnTo>
                        <a:pt x="768" y="762"/>
                      </a:lnTo>
                      <a:lnTo>
                        <a:pt x="762" y="744"/>
                      </a:lnTo>
                      <a:close/>
                      <a:moveTo>
                        <a:pt x="726" y="360"/>
                      </a:moveTo>
                      <a:lnTo>
                        <a:pt x="732" y="354"/>
                      </a:lnTo>
                      <a:lnTo>
                        <a:pt x="732" y="324"/>
                      </a:lnTo>
                      <a:lnTo>
                        <a:pt x="720" y="312"/>
                      </a:lnTo>
                      <a:lnTo>
                        <a:pt x="714" y="312"/>
                      </a:lnTo>
                      <a:lnTo>
                        <a:pt x="708" y="318"/>
                      </a:lnTo>
                      <a:lnTo>
                        <a:pt x="708" y="348"/>
                      </a:lnTo>
                      <a:lnTo>
                        <a:pt x="714" y="354"/>
                      </a:lnTo>
                      <a:lnTo>
                        <a:pt x="726" y="360"/>
                      </a:lnTo>
                      <a:close/>
                      <a:moveTo>
                        <a:pt x="678" y="420"/>
                      </a:moveTo>
                      <a:lnTo>
                        <a:pt x="690" y="426"/>
                      </a:lnTo>
                      <a:lnTo>
                        <a:pt x="696" y="438"/>
                      </a:lnTo>
                      <a:lnTo>
                        <a:pt x="708" y="444"/>
                      </a:lnTo>
                      <a:lnTo>
                        <a:pt x="720" y="444"/>
                      </a:lnTo>
                      <a:lnTo>
                        <a:pt x="726" y="438"/>
                      </a:lnTo>
                      <a:lnTo>
                        <a:pt x="720" y="432"/>
                      </a:lnTo>
                      <a:lnTo>
                        <a:pt x="720" y="426"/>
                      </a:lnTo>
                      <a:lnTo>
                        <a:pt x="708" y="414"/>
                      </a:lnTo>
                      <a:lnTo>
                        <a:pt x="708" y="390"/>
                      </a:lnTo>
                      <a:lnTo>
                        <a:pt x="702" y="378"/>
                      </a:lnTo>
                      <a:lnTo>
                        <a:pt x="684" y="378"/>
                      </a:lnTo>
                      <a:lnTo>
                        <a:pt x="678" y="384"/>
                      </a:lnTo>
                      <a:lnTo>
                        <a:pt x="678" y="42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542" name="Tajikistan"/>
                <p:cNvSpPr>
                  <a:spLocks/>
                </p:cNvSpPr>
                <p:nvPr/>
              </p:nvSpPr>
              <p:spPr bwMode="gray">
                <a:xfrm>
                  <a:off x="3801" y="1466"/>
                  <a:ext cx="141" cy="89"/>
                </a:xfrm>
                <a:custGeom>
                  <a:avLst/>
                  <a:gdLst>
                    <a:gd name="T0" fmla="*/ 2147483647 w 552"/>
                    <a:gd name="T1" fmla="*/ 2147483647 h 348"/>
                    <a:gd name="T2" fmla="*/ 2147483647 w 552"/>
                    <a:gd name="T3" fmla="*/ 2147483647 h 348"/>
                    <a:gd name="T4" fmla="*/ 2147483647 w 552"/>
                    <a:gd name="T5" fmla="*/ 2147483647 h 348"/>
                    <a:gd name="T6" fmla="*/ 2147483647 w 552"/>
                    <a:gd name="T7" fmla="*/ 2147483647 h 348"/>
                    <a:gd name="T8" fmla="*/ 2147483647 w 552"/>
                    <a:gd name="T9" fmla="*/ 2147483647 h 348"/>
                    <a:gd name="T10" fmla="*/ 2147483647 w 552"/>
                    <a:gd name="T11" fmla="*/ 2147483647 h 348"/>
                    <a:gd name="T12" fmla="*/ 2147483647 w 552"/>
                    <a:gd name="T13" fmla="*/ 2147483647 h 348"/>
                    <a:gd name="T14" fmla="*/ 2147483647 w 552"/>
                    <a:gd name="T15" fmla="*/ 2147483647 h 348"/>
                    <a:gd name="T16" fmla="*/ 2147483647 w 552"/>
                    <a:gd name="T17" fmla="*/ 2147483647 h 348"/>
                    <a:gd name="T18" fmla="*/ 2147483647 w 552"/>
                    <a:gd name="T19" fmla="*/ 2147483647 h 348"/>
                    <a:gd name="T20" fmla="*/ 2147483647 w 552"/>
                    <a:gd name="T21" fmla="*/ 2147483647 h 348"/>
                    <a:gd name="T22" fmla="*/ 2147483647 w 552"/>
                    <a:gd name="T23" fmla="*/ 2147483647 h 348"/>
                    <a:gd name="T24" fmla="*/ 2147483647 w 552"/>
                    <a:gd name="T25" fmla="*/ 2147483647 h 348"/>
                    <a:gd name="T26" fmla="*/ 2147483647 w 552"/>
                    <a:gd name="T27" fmla="*/ 2147483647 h 348"/>
                    <a:gd name="T28" fmla="*/ 2147483647 w 552"/>
                    <a:gd name="T29" fmla="*/ 2147483647 h 348"/>
                    <a:gd name="T30" fmla="*/ 2147483647 w 552"/>
                    <a:gd name="T31" fmla="*/ 2147483647 h 348"/>
                    <a:gd name="T32" fmla="*/ 2147483647 w 552"/>
                    <a:gd name="T33" fmla="*/ 2147483647 h 348"/>
                    <a:gd name="T34" fmla="*/ 2147483647 w 552"/>
                    <a:gd name="T35" fmla="*/ 2147483647 h 348"/>
                    <a:gd name="T36" fmla="*/ 2147483647 w 552"/>
                    <a:gd name="T37" fmla="*/ 2147483647 h 348"/>
                    <a:gd name="T38" fmla="*/ 2147483647 w 552"/>
                    <a:gd name="T39" fmla="*/ 0 h 348"/>
                    <a:gd name="T40" fmla="*/ 2147483647 w 552"/>
                    <a:gd name="T41" fmla="*/ 2147483647 h 348"/>
                    <a:gd name="T42" fmla="*/ 2147483647 w 552"/>
                    <a:gd name="T43" fmla="*/ 2147483647 h 348"/>
                    <a:gd name="T44" fmla="*/ 2147483647 w 552"/>
                    <a:gd name="T45" fmla="*/ 2147483647 h 348"/>
                    <a:gd name="T46" fmla="*/ 2147483647 w 552"/>
                    <a:gd name="T47" fmla="*/ 2147483647 h 348"/>
                    <a:gd name="T48" fmla="*/ 2147483647 w 552"/>
                    <a:gd name="T49" fmla="*/ 2147483647 h 348"/>
                    <a:gd name="T50" fmla="*/ 2147483647 w 552"/>
                    <a:gd name="T51" fmla="*/ 2147483647 h 348"/>
                    <a:gd name="T52" fmla="*/ 2147483647 w 552"/>
                    <a:gd name="T53" fmla="*/ 2147483647 h 348"/>
                    <a:gd name="T54" fmla="*/ 2147483647 w 552"/>
                    <a:gd name="T55" fmla="*/ 2147483647 h 348"/>
                    <a:gd name="T56" fmla="*/ 2147483647 w 552"/>
                    <a:gd name="T57" fmla="*/ 2147483647 h 348"/>
                    <a:gd name="T58" fmla="*/ 2147483647 w 552"/>
                    <a:gd name="T59" fmla="*/ 2147483647 h 348"/>
                    <a:gd name="T60" fmla="*/ 2147483647 w 552"/>
                    <a:gd name="T61" fmla="*/ 2147483647 h 348"/>
                    <a:gd name="T62" fmla="*/ 2147483647 w 552"/>
                    <a:gd name="T63" fmla="*/ 2147483647 h 348"/>
                    <a:gd name="T64" fmla="*/ 2147483647 w 552"/>
                    <a:gd name="T65" fmla="*/ 2147483647 h 348"/>
                    <a:gd name="T66" fmla="*/ 2147483647 w 552"/>
                    <a:gd name="T67" fmla="*/ 2147483647 h 348"/>
                    <a:gd name="T68" fmla="*/ 2147483647 w 552"/>
                    <a:gd name="T69" fmla="*/ 2147483647 h 348"/>
                    <a:gd name="T70" fmla="*/ 2147483647 w 552"/>
                    <a:gd name="T71" fmla="*/ 2147483647 h 348"/>
                    <a:gd name="T72" fmla="*/ 2147483647 w 552"/>
                    <a:gd name="T73" fmla="*/ 2147483647 h 348"/>
                    <a:gd name="T74" fmla="*/ 2147483647 w 552"/>
                    <a:gd name="T75" fmla="*/ 2147483647 h 348"/>
                    <a:gd name="T76" fmla="*/ 2147483647 w 552"/>
                    <a:gd name="T77" fmla="*/ 2147483647 h 348"/>
                    <a:gd name="T78" fmla="*/ 2147483647 w 552"/>
                    <a:gd name="T79" fmla="*/ 2147483647 h 348"/>
                    <a:gd name="T80" fmla="*/ 2147483647 w 552"/>
                    <a:gd name="T81" fmla="*/ 2147483647 h 348"/>
                    <a:gd name="T82" fmla="*/ 2147483647 w 552"/>
                    <a:gd name="T83" fmla="*/ 2147483647 h 348"/>
                    <a:gd name="T84" fmla="*/ 2147483647 w 552"/>
                    <a:gd name="T85" fmla="*/ 2147483647 h 348"/>
                    <a:gd name="T86" fmla="*/ 2147483647 w 552"/>
                    <a:gd name="T87" fmla="*/ 2147483647 h 348"/>
                    <a:gd name="T88" fmla="*/ 2147483647 w 552"/>
                    <a:gd name="T89" fmla="*/ 2147483647 h 348"/>
                    <a:gd name="T90" fmla="*/ 2147483647 w 552"/>
                    <a:gd name="T91" fmla="*/ 2147483647 h 348"/>
                    <a:gd name="T92" fmla="*/ 2147483647 w 552"/>
                    <a:gd name="T93" fmla="*/ 2147483647 h 348"/>
                    <a:gd name="T94" fmla="*/ 2147483647 w 552"/>
                    <a:gd name="T95" fmla="*/ 2147483647 h 348"/>
                    <a:gd name="T96" fmla="*/ 2147483647 w 552"/>
                    <a:gd name="T97" fmla="*/ 2147483647 h 348"/>
                    <a:gd name="T98" fmla="*/ 2147483647 w 552"/>
                    <a:gd name="T99" fmla="*/ 2147483647 h 34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552"/>
                    <a:gd name="T151" fmla="*/ 0 h 348"/>
                    <a:gd name="T152" fmla="*/ 552 w 552"/>
                    <a:gd name="T153" fmla="*/ 348 h 348"/>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552" h="348">
                      <a:moveTo>
                        <a:pt x="528" y="270"/>
                      </a:moveTo>
                      <a:lnTo>
                        <a:pt x="516" y="246"/>
                      </a:lnTo>
                      <a:lnTo>
                        <a:pt x="516" y="204"/>
                      </a:lnTo>
                      <a:lnTo>
                        <a:pt x="510" y="198"/>
                      </a:lnTo>
                      <a:lnTo>
                        <a:pt x="498" y="192"/>
                      </a:lnTo>
                      <a:lnTo>
                        <a:pt x="492" y="192"/>
                      </a:lnTo>
                      <a:lnTo>
                        <a:pt x="480" y="186"/>
                      </a:lnTo>
                      <a:lnTo>
                        <a:pt x="456" y="186"/>
                      </a:lnTo>
                      <a:lnTo>
                        <a:pt x="450" y="192"/>
                      </a:lnTo>
                      <a:lnTo>
                        <a:pt x="438" y="192"/>
                      </a:lnTo>
                      <a:lnTo>
                        <a:pt x="426" y="180"/>
                      </a:lnTo>
                      <a:lnTo>
                        <a:pt x="426" y="168"/>
                      </a:lnTo>
                      <a:lnTo>
                        <a:pt x="432" y="156"/>
                      </a:lnTo>
                      <a:lnTo>
                        <a:pt x="432" y="144"/>
                      </a:lnTo>
                      <a:lnTo>
                        <a:pt x="414" y="144"/>
                      </a:lnTo>
                      <a:lnTo>
                        <a:pt x="414" y="120"/>
                      </a:lnTo>
                      <a:lnTo>
                        <a:pt x="396" y="114"/>
                      </a:lnTo>
                      <a:lnTo>
                        <a:pt x="384" y="126"/>
                      </a:lnTo>
                      <a:lnTo>
                        <a:pt x="342" y="126"/>
                      </a:lnTo>
                      <a:lnTo>
                        <a:pt x="336" y="132"/>
                      </a:lnTo>
                      <a:lnTo>
                        <a:pt x="324" y="138"/>
                      </a:lnTo>
                      <a:lnTo>
                        <a:pt x="312" y="138"/>
                      </a:lnTo>
                      <a:lnTo>
                        <a:pt x="312" y="132"/>
                      </a:lnTo>
                      <a:lnTo>
                        <a:pt x="306" y="132"/>
                      </a:lnTo>
                      <a:lnTo>
                        <a:pt x="294" y="138"/>
                      </a:lnTo>
                      <a:lnTo>
                        <a:pt x="264" y="108"/>
                      </a:lnTo>
                      <a:lnTo>
                        <a:pt x="258" y="114"/>
                      </a:lnTo>
                      <a:lnTo>
                        <a:pt x="246" y="120"/>
                      </a:lnTo>
                      <a:lnTo>
                        <a:pt x="240" y="126"/>
                      </a:lnTo>
                      <a:lnTo>
                        <a:pt x="222" y="126"/>
                      </a:lnTo>
                      <a:lnTo>
                        <a:pt x="210" y="114"/>
                      </a:lnTo>
                      <a:lnTo>
                        <a:pt x="186" y="114"/>
                      </a:lnTo>
                      <a:lnTo>
                        <a:pt x="174" y="108"/>
                      </a:lnTo>
                      <a:lnTo>
                        <a:pt x="156" y="108"/>
                      </a:lnTo>
                      <a:lnTo>
                        <a:pt x="150" y="114"/>
                      </a:lnTo>
                      <a:lnTo>
                        <a:pt x="138" y="114"/>
                      </a:lnTo>
                      <a:lnTo>
                        <a:pt x="126" y="120"/>
                      </a:lnTo>
                      <a:lnTo>
                        <a:pt x="120" y="114"/>
                      </a:lnTo>
                      <a:lnTo>
                        <a:pt x="120" y="108"/>
                      </a:lnTo>
                      <a:lnTo>
                        <a:pt x="114" y="102"/>
                      </a:lnTo>
                      <a:lnTo>
                        <a:pt x="114" y="90"/>
                      </a:lnTo>
                      <a:lnTo>
                        <a:pt x="126" y="84"/>
                      </a:lnTo>
                      <a:lnTo>
                        <a:pt x="132" y="78"/>
                      </a:lnTo>
                      <a:lnTo>
                        <a:pt x="132" y="66"/>
                      </a:lnTo>
                      <a:lnTo>
                        <a:pt x="138" y="60"/>
                      </a:lnTo>
                      <a:lnTo>
                        <a:pt x="150" y="60"/>
                      </a:lnTo>
                      <a:lnTo>
                        <a:pt x="186" y="72"/>
                      </a:lnTo>
                      <a:lnTo>
                        <a:pt x="198" y="78"/>
                      </a:lnTo>
                      <a:lnTo>
                        <a:pt x="204" y="78"/>
                      </a:lnTo>
                      <a:lnTo>
                        <a:pt x="210" y="72"/>
                      </a:lnTo>
                      <a:lnTo>
                        <a:pt x="210" y="66"/>
                      </a:lnTo>
                      <a:lnTo>
                        <a:pt x="204" y="60"/>
                      </a:lnTo>
                      <a:lnTo>
                        <a:pt x="198" y="60"/>
                      </a:lnTo>
                      <a:lnTo>
                        <a:pt x="186" y="54"/>
                      </a:lnTo>
                      <a:lnTo>
                        <a:pt x="180" y="48"/>
                      </a:lnTo>
                      <a:lnTo>
                        <a:pt x="174" y="48"/>
                      </a:lnTo>
                      <a:lnTo>
                        <a:pt x="198" y="12"/>
                      </a:lnTo>
                      <a:lnTo>
                        <a:pt x="192" y="6"/>
                      </a:lnTo>
                      <a:lnTo>
                        <a:pt x="180" y="0"/>
                      </a:lnTo>
                      <a:lnTo>
                        <a:pt x="162" y="0"/>
                      </a:lnTo>
                      <a:lnTo>
                        <a:pt x="156" y="12"/>
                      </a:lnTo>
                      <a:lnTo>
                        <a:pt x="144" y="18"/>
                      </a:lnTo>
                      <a:lnTo>
                        <a:pt x="138" y="30"/>
                      </a:lnTo>
                      <a:lnTo>
                        <a:pt x="132" y="30"/>
                      </a:lnTo>
                      <a:lnTo>
                        <a:pt x="114" y="12"/>
                      </a:lnTo>
                      <a:lnTo>
                        <a:pt x="102" y="12"/>
                      </a:lnTo>
                      <a:lnTo>
                        <a:pt x="102" y="24"/>
                      </a:lnTo>
                      <a:lnTo>
                        <a:pt x="96" y="30"/>
                      </a:lnTo>
                      <a:lnTo>
                        <a:pt x="96" y="42"/>
                      </a:lnTo>
                      <a:lnTo>
                        <a:pt x="108" y="54"/>
                      </a:lnTo>
                      <a:lnTo>
                        <a:pt x="108" y="60"/>
                      </a:lnTo>
                      <a:lnTo>
                        <a:pt x="66" y="60"/>
                      </a:lnTo>
                      <a:lnTo>
                        <a:pt x="90" y="84"/>
                      </a:lnTo>
                      <a:lnTo>
                        <a:pt x="72" y="96"/>
                      </a:lnTo>
                      <a:lnTo>
                        <a:pt x="78" y="96"/>
                      </a:lnTo>
                      <a:lnTo>
                        <a:pt x="78" y="108"/>
                      </a:lnTo>
                      <a:lnTo>
                        <a:pt x="54" y="120"/>
                      </a:lnTo>
                      <a:lnTo>
                        <a:pt x="6" y="120"/>
                      </a:lnTo>
                      <a:lnTo>
                        <a:pt x="0" y="126"/>
                      </a:lnTo>
                      <a:lnTo>
                        <a:pt x="0" y="144"/>
                      </a:lnTo>
                      <a:lnTo>
                        <a:pt x="18" y="144"/>
                      </a:lnTo>
                      <a:lnTo>
                        <a:pt x="30" y="156"/>
                      </a:lnTo>
                      <a:lnTo>
                        <a:pt x="36" y="156"/>
                      </a:lnTo>
                      <a:lnTo>
                        <a:pt x="42" y="162"/>
                      </a:lnTo>
                      <a:lnTo>
                        <a:pt x="54" y="162"/>
                      </a:lnTo>
                      <a:lnTo>
                        <a:pt x="66" y="174"/>
                      </a:lnTo>
                      <a:lnTo>
                        <a:pt x="66" y="180"/>
                      </a:lnTo>
                      <a:lnTo>
                        <a:pt x="60" y="186"/>
                      </a:lnTo>
                      <a:lnTo>
                        <a:pt x="60" y="204"/>
                      </a:lnTo>
                      <a:lnTo>
                        <a:pt x="66" y="210"/>
                      </a:lnTo>
                      <a:lnTo>
                        <a:pt x="78" y="216"/>
                      </a:lnTo>
                      <a:lnTo>
                        <a:pt x="90" y="228"/>
                      </a:lnTo>
                      <a:lnTo>
                        <a:pt x="90" y="246"/>
                      </a:lnTo>
                      <a:lnTo>
                        <a:pt x="84" y="258"/>
                      </a:lnTo>
                      <a:lnTo>
                        <a:pt x="72" y="264"/>
                      </a:lnTo>
                      <a:lnTo>
                        <a:pt x="66" y="276"/>
                      </a:lnTo>
                      <a:lnTo>
                        <a:pt x="60" y="282"/>
                      </a:lnTo>
                      <a:lnTo>
                        <a:pt x="60" y="306"/>
                      </a:lnTo>
                      <a:lnTo>
                        <a:pt x="66" y="312"/>
                      </a:lnTo>
                      <a:lnTo>
                        <a:pt x="78" y="318"/>
                      </a:lnTo>
                      <a:lnTo>
                        <a:pt x="84" y="324"/>
                      </a:lnTo>
                      <a:lnTo>
                        <a:pt x="90" y="324"/>
                      </a:lnTo>
                      <a:lnTo>
                        <a:pt x="108" y="306"/>
                      </a:lnTo>
                      <a:lnTo>
                        <a:pt x="120" y="300"/>
                      </a:lnTo>
                      <a:lnTo>
                        <a:pt x="126" y="294"/>
                      </a:lnTo>
                      <a:lnTo>
                        <a:pt x="138" y="294"/>
                      </a:lnTo>
                      <a:lnTo>
                        <a:pt x="144" y="300"/>
                      </a:lnTo>
                      <a:lnTo>
                        <a:pt x="150" y="312"/>
                      </a:lnTo>
                      <a:lnTo>
                        <a:pt x="156" y="318"/>
                      </a:lnTo>
                      <a:lnTo>
                        <a:pt x="162" y="318"/>
                      </a:lnTo>
                      <a:lnTo>
                        <a:pt x="162" y="288"/>
                      </a:lnTo>
                      <a:lnTo>
                        <a:pt x="174" y="276"/>
                      </a:lnTo>
                      <a:lnTo>
                        <a:pt x="186" y="270"/>
                      </a:lnTo>
                      <a:lnTo>
                        <a:pt x="204" y="270"/>
                      </a:lnTo>
                      <a:lnTo>
                        <a:pt x="216" y="282"/>
                      </a:lnTo>
                      <a:lnTo>
                        <a:pt x="222" y="258"/>
                      </a:lnTo>
                      <a:lnTo>
                        <a:pt x="216" y="258"/>
                      </a:lnTo>
                      <a:lnTo>
                        <a:pt x="210" y="252"/>
                      </a:lnTo>
                      <a:lnTo>
                        <a:pt x="210" y="246"/>
                      </a:lnTo>
                      <a:lnTo>
                        <a:pt x="222" y="234"/>
                      </a:lnTo>
                      <a:lnTo>
                        <a:pt x="228" y="234"/>
                      </a:lnTo>
                      <a:lnTo>
                        <a:pt x="234" y="228"/>
                      </a:lnTo>
                      <a:lnTo>
                        <a:pt x="234" y="204"/>
                      </a:lnTo>
                      <a:lnTo>
                        <a:pt x="240" y="198"/>
                      </a:lnTo>
                      <a:lnTo>
                        <a:pt x="258" y="198"/>
                      </a:lnTo>
                      <a:lnTo>
                        <a:pt x="276" y="216"/>
                      </a:lnTo>
                      <a:lnTo>
                        <a:pt x="276" y="246"/>
                      </a:lnTo>
                      <a:lnTo>
                        <a:pt x="294" y="246"/>
                      </a:lnTo>
                      <a:lnTo>
                        <a:pt x="306" y="312"/>
                      </a:lnTo>
                      <a:lnTo>
                        <a:pt x="306" y="318"/>
                      </a:lnTo>
                      <a:lnTo>
                        <a:pt x="336" y="348"/>
                      </a:lnTo>
                      <a:lnTo>
                        <a:pt x="342" y="348"/>
                      </a:lnTo>
                      <a:lnTo>
                        <a:pt x="348" y="342"/>
                      </a:lnTo>
                      <a:lnTo>
                        <a:pt x="360" y="336"/>
                      </a:lnTo>
                      <a:lnTo>
                        <a:pt x="366" y="324"/>
                      </a:lnTo>
                      <a:lnTo>
                        <a:pt x="372" y="318"/>
                      </a:lnTo>
                      <a:lnTo>
                        <a:pt x="390" y="318"/>
                      </a:lnTo>
                      <a:lnTo>
                        <a:pt x="396" y="312"/>
                      </a:lnTo>
                      <a:lnTo>
                        <a:pt x="402" y="300"/>
                      </a:lnTo>
                      <a:lnTo>
                        <a:pt x="408" y="294"/>
                      </a:lnTo>
                      <a:lnTo>
                        <a:pt x="432" y="282"/>
                      </a:lnTo>
                      <a:lnTo>
                        <a:pt x="456" y="282"/>
                      </a:lnTo>
                      <a:lnTo>
                        <a:pt x="456" y="300"/>
                      </a:lnTo>
                      <a:lnTo>
                        <a:pt x="492" y="288"/>
                      </a:lnTo>
                      <a:lnTo>
                        <a:pt x="516" y="288"/>
                      </a:lnTo>
                      <a:lnTo>
                        <a:pt x="522" y="294"/>
                      </a:lnTo>
                      <a:lnTo>
                        <a:pt x="546" y="294"/>
                      </a:lnTo>
                      <a:lnTo>
                        <a:pt x="552" y="288"/>
                      </a:lnTo>
                      <a:lnTo>
                        <a:pt x="540" y="276"/>
                      </a:lnTo>
                      <a:lnTo>
                        <a:pt x="534" y="276"/>
                      </a:lnTo>
                      <a:lnTo>
                        <a:pt x="528" y="27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543" name="Taiwan"/>
                <p:cNvSpPr>
                  <a:spLocks/>
                </p:cNvSpPr>
                <p:nvPr/>
              </p:nvSpPr>
              <p:spPr bwMode="gray">
                <a:xfrm>
                  <a:off x="4789" y="1788"/>
                  <a:ext cx="31" cy="69"/>
                </a:xfrm>
                <a:custGeom>
                  <a:avLst/>
                  <a:gdLst>
                    <a:gd name="T0" fmla="*/ 2147483647 w 120"/>
                    <a:gd name="T1" fmla="*/ 2147483647 h 270"/>
                    <a:gd name="T2" fmla="*/ 2147483647 w 120"/>
                    <a:gd name="T3" fmla="*/ 2147483647 h 270"/>
                    <a:gd name="T4" fmla="*/ 2147483647 w 120"/>
                    <a:gd name="T5" fmla="*/ 2147483647 h 270"/>
                    <a:gd name="T6" fmla="*/ 2147483647 w 120"/>
                    <a:gd name="T7" fmla="*/ 2147483647 h 270"/>
                    <a:gd name="T8" fmla="*/ 2147483647 w 120"/>
                    <a:gd name="T9" fmla="*/ 2147483647 h 270"/>
                    <a:gd name="T10" fmla="*/ 2147483647 w 120"/>
                    <a:gd name="T11" fmla="*/ 2147483647 h 270"/>
                    <a:gd name="T12" fmla="*/ 2147483647 w 120"/>
                    <a:gd name="T13" fmla="*/ 2147483647 h 270"/>
                    <a:gd name="T14" fmla="*/ 2147483647 w 120"/>
                    <a:gd name="T15" fmla="*/ 2147483647 h 270"/>
                    <a:gd name="T16" fmla="*/ 2147483647 w 120"/>
                    <a:gd name="T17" fmla="*/ 2147483647 h 270"/>
                    <a:gd name="T18" fmla="*/ 2147483647 w 120"/>
                    <a:gd name="T19" fmla="*/ 2147483647 h 270"/>
                    <a:gd name="T20" fmla="*/ 2147483647 w 120"/>
                    <a:gd name="T21" fmla="*/ 0 h 270"/>
                    <a:gd name="T22" fmla="*/ 2147483647 w 120"/>
                    <a:gd name="T23" fmla="*/ 2147483647 h 270"/>
                    <a:gd name="T24" fmla="*/ 2147483647 w 120"/>
                    <a:gd name="T25" fmla="*/ 2147483647 h 270"/>
                    <a:gd name="T26" fmla="*/ 2147483647 w 120"/>
                    <a:gd name="T27" fmla="*/ 2147483647 h 270"/>
                    <a:gd name="T28" fmla="*/ 2147483647 w 120"/>
                    <a:gd name="T29" fmla="*/ 2147483647 h 270"/>
                    <a:gd name="T30" fmla="*/ 0 w 120"/>
                    <a:gd name="T31" fmla="*/ 2147483647 h 270"/>
                    <a:gd name="T32" fmla="*/ 0 w 120"/>
                    <a:gd name="T33" fmla="*/ 2147483647 h 270"/>
                    <a:gd name="T34" fmla="*/ 2147483647 w 120"/>
                    <a:gd name="T35" fmla="*/ 2147483647 h 270"/>
                    <a:gd name="T36" fmla="*/ 2147483647 w 120"/>
                    <a:gd name="T37" fmla="*/ 2147483647 h 270"/>
                    <a:gd name="T38" fmla="*/ 2147483647 w 120"/>
                    <a:gd name="T39" fmla="*/ 2147483647 h 270"/>
                    <a:gd name="T40" fmla="*/ 2147483647 w 120"/>
                    <a:gd name="T41" fmla="*/ 2147483647 h 270"/>
                    <a:gd name="T42" fmla="*/ 2147483647 w 120"/>
                    <a:gd name="T43" fmla="*/ 2147483647 h 270"/>
                    <a:gd name="T44" fmla="*/ 2147483647 w 120"/>
                    <a:gd name="T45" fmla="*/ 2147483647 h 270"/>
                    <a:gd name="T46" fmla="*/ 2147483647 w 120"/>
                    <a:gd name="T47" fmla="*/ 2147483647 h 270"/>
                    <a:gd name="T48" fmla="*/ 2147483647 w 120"/>
                    <a:gd name="T49" fmla="*/ 2147483647 h 270"/>
                    <a:gd name="T50" fmla="*/ 2147483647 w 120"/>
                    <a:gd name="T51" fmla="*/ 2147483647 h 27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20"/>
                    <a:gd name="T79" fmla="*/ 0 h 270"/>
                    <a:gd name="T80" fmla="*/ 120 w 120"/>
                    <a:gd name="T81" fmla="*/ 270 h 27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20" h="270">
                      <a:moveTo>
                        <a:pt x="84" y="270"/>
                      </a:moveTo>
                      <a:lnTo>
                        <a:pt x="84" y="222"/>
                      </a:lnTo>
                      <a:lnTo>
                        <a:pt x="90" y="216"/>
                      </a:lnTo>
                      <a:lnTo>
                        <a:pt x="102" y="192"/>
                      </a:lnTo>
                      <a:lnTo>
                        <a:pt x="102" y="102"/>
                      </a:lnTo>
                      <a:lnTo>
                        <a:pt x="108" y="96"/>
                      </a:lnTo>
                      <a:lnTo>
                        <a:pt x="114" y="84"/>
                      </a:lnTo>
                      <a:lnTo>
                        <a:pt x="114" y="54"/>
                      </a:lnTo>
                      <a:lnTo>
                        <a:pt x="120" y="36"/>
                      </a:lnTo>
                      <a:lnTo>
                        <a:pt x="120" y="24"/>
                      </a:lnTo>
                      <a:lnTo>
                        <a:pt x="72" y="0"/>
                      </a:lnTo>
                      <a:lnTo>
                        <a:pt x="48" y="30"/>
                      </a:lnTo>
                      <a:lnTo>
                        <a:pt x="42" y="42"/>
                      </a:lnTo>
                      <a:lnTo>
                        <a:pt x="30" y="78"/>
                      </a:lnTo>
                      <a:lnTo>
                        <a:pt x="12" y="114"/>
                      </a:lnTo>
                      <a:lnTo>
                        <a:pt x="0" y="150"/>
                      </a:lnTo>
                      <a:lnTo>
                        <a:pt x="0" y="168"/>
                      </a:lnTo>
                      <a:lnTo>
                        <a:pt x="6" y="180"/>
                      </a:lnTo>
                      <a:lnTo>
                        <a:pt x="18" y="192"/>
                      </a:lnTo>
                      <a:lnTo>
                        <a:pt x="24" y="204"/>
                      </a:lnTo>
                      <a:lnTo>
                        <a:pt x="36" y="210"/>
                      </a:lnTo>
                      <a:lnTo>
                        <a:pt x="42" y="222"/>
                      </a:lnTo>
                      <a:lnTo>
                        <a:pt x="42" y="228"/>
                      </a:lnTo>
                      <a:lnTo>
                        <a:pt x="48" y="234"/>
                      </a:lnTo>
                      <a:lnTo>
                        <a:pt x="60" y="258"/>
                      </a:lnTo>
                      <a:lnTo>
                        <a:pt x="84" y="270"/>
                      </a:lnTo>
                      <a:close/>
                    </a:path>
                  </a:pathLst>
                </a:custGeom>
                <a:solidFill>
                  <a:srgbClr val="FF9900"/>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544" name="Syria"/>
                <p:cNvSpPr>
                  <a:spLocks/>
                </p:cNvSpPr>
                <p:nvPr/>
              </p:nvSpPr>
              <p:spPr bwMode="gray">
                <a:xfrm>
                  <a:off x="3272" y="1539"/>
                  <a:ext cx="115" cy="106"/>
                </a:xfrm>
                <a:custGeom>
                  <a:avLst/>
                  <a:gdLst>
                    <a:gd name="T0" fmla="*/ 2147483647 w 450"/>
                    <a:gd name="T1" fmla="*/ 2147483647 h 414"/>
                    <a:gd name="T2" fmla="*/ 2147483647 w 450"/>
                    <a:gd name="T3" fmla="*/ 2147483647 h 414"/>
                    <a:gd name="T4" fmla="*/ 2147483647 w 450"/>
                    <a:gd name="T5" fmla="*/ 2147483647 h 414"/>
                    <a:gd name="T6" fmla="*/ 2147483647 w 450"/>
                    <a:gd name="T7" fmla="*/ 0 h 414"/>
                    <a:gd name="T8" fmla="*/ 2147483647 w 450"/>
                    <a:gd name="T9" fmla="*/ 2147483647 h 414"/>
                    <a:gd name="T10" fmla="*/ 2147483647 w 450"/>
                    <a:gd name="T11" fmla="*/ 2147483647 h 414"/>
                    <a:gd name="T12" fmla="*/ 2147483647 w 450"/>
                    <a:gd name="T13" fmla="*/ 2147483647 h 414"/>
                    <a:gd name="T14" fmla="*/ 2147483647 w 450"/>
                    <a:gd name="T15" fmla="*/ 2147483647 h 414"/>
                    <a:gd name="T16" fmla="*/ 2147483647 w 450"/>
                    <a:gd name="T17" fmla="*/ 2147483647 h 414"/>
                    <a:gd name="T18" fmla="*/ 2147483647 w 450"/>
                    <a:gd name="T19" fmla="*/ 2147483647 h 414"/>
                    <a:gd name="T20" fmla="*/ 2147483647 w 450"/>
                    <a:gd name="T21" fmla="*/ 2147483647 h 414"/>
                    <a:gd name="T22" fmla="*/ 2147483647 w 450"/>
                    <a:gd name="T23" fmla="*/ 2147483647 h 414"/>
                    <a:gd name="T24" fmla="*/ 2147483647 w 450"/>
                    <a:gd name="T25" fmla="*/ 2147483647 h 414"/>
                    <a:gd name="T26" fmla="*/ 2147483647 w 450"/>
                    <a:gd name="T27" fmla="*/ 2147483647 h 414"/>
                    <a:gd name="T28" fmla="*/ 2147483647 w 450"/>
                    <a:gd name="T29" fmla="*/ 2147483647 h 414"/>
                    <a:gd name="T30" fmla="*/ 2147483647 w 450"/>
                    <a:gd name="T31" fmla="*/ 2147483647 h 414"/>
                    <a:gd name="T32" fmla="*/ 2147483647 w 450"/>
                    <a:gd name="T33" fmla="*/ 2147483647 h 414"/>
                    <a:gd name="T34" fmla="*/ 2147483647 w 450"/>
                    <a:gd name="T35" fmla="*/ 2147483647 h 414"/>
                    <a:gd name="T36" fmla="*/ 2147483647 w 450"/>
                    <a:gd name="T37" fmla="*/ 2147483647 h 414"/>
                    <a:gd name="T38" fmla="*/ 2147483647 w 450"/>
                    <a:gd name="T39" fmla="*/ 2147483647 h 414"/>
                    <a:gd name="T40" fmla="*/ 2147483647 w 450"/>
                    <a:gd name="T41" fmla="*/ 2147483647 h 414"/>
                    <a:gd name="T42" fmla="*/ 2147483647 w 450"/>
                    <a:gd name="T43" fmla="*/ 2147483647 h 414"/>
                    <a:gd name="T44" fmla="*/ 2147483647 w 450"/>
                    <a:gd name="T45" fmla="*/ 2147483647 h 414"/>
                    <a:gd name="T46" fmla="*/ 2147483647 w 450"/>
                    <a:gd name="T47" fmla="*/ 2147483647 h 414"/>
                    <a:gd name="T48" fmla="*/ 2147483647 w 450"/>
                    <a:gd name="T49" fmla="*/ 2147483647 h 414"/>
                    <a:gd name="T50" fmla="*/ 2147483647 w 450"/>
                    <a:gd name="T51" fmla="*/ 2147483647 h 414"/>
                    <a:gd name="T52" fmla="*/ 2147483647 w 450"/>
                    <a:gd name="T53" fmla="*/ 2147483647 h 414"/>
                    <a:gd name="T54" fmla="*/ 2147483647 w 450"/>
                    <a:gd name="T55" fmla="*/ 2147483647 h 414"/>
                    <a:gd name="T56" fmla="*/ 2147483647 w 450"/>
                    <a:gd name="T57" fmla="*/ 2147483647 h 414"/>
                    <a:gd name="T58" fmla="*/ 2147483647 w 450"/>
                    <a:gd name="T59" fmla="*/ 2147483647 h 414"/>
                    <a:gd name="T60" fmla="*/ 2147483647 w 450"/>
                    <a:gd name="T61" fmla="*/ 2147483647 h 414"/>
                    <a:gd name="T62" fmla="*/ 2147483647 w 450"/>
                    <a:gd name="T63" fmla="*/ 2147483647 h 414"/>
                    <a:gd name="T64" fmla="*/ 2147483647 w 450"/>
                    <a:gd name="T65" fmla="*/ 2147483647 h 414"/>
                    <a:gd name="T66" fmla="*/ 2147483647 w 450"/>
                    <a:gd name="T67" fmla="*/ 2147483647 h 414"/>
                    <a:gd name="T68" fmla="*/ 2147483647 w 450"/>
                    <a:gd name="T69" fmla="*/ 2147483647 h 414"/>
                    <a:gd name="T70" fmla="*/ 2147483647 w 450"/>
                    <a:gd name="T71" fmla="*/ 2147483647 h 414"/>
                    <a:gd name="T72" fmla="*/ 2147483647 w 450"/>
                    <a:gd name="T73" fmla="*/ 2147483647 h 414"/>
                    <a:gd name="T74" fmla="*/ 2147483647 w 450"/>
                    <a:gd name="T75" fmla="*/ 2147483647 h 414"/>
                    <a:gd name="T76" fmla="*/ 2147483647 w 450"/>
                    <a:gd name="T77" fmla="*/ 2147483647 h 414"/>
                    <a:gd name="T78" fmla="*/ 2147483647 w 450"/>
                    <a:gd name="T79" fmla="*/ 2147483647 h 414"/>
                    <a:gd name="T80" fmla="*/ 2147483647 w 450"/>
                    <a:gd name="T81" fmla="*/ 2147483647 h 414"/>
                    <a:gd name="T82" fmla="*/ 2147483647 w 450"/>
                    <a:gd name="T83" fmla="*/ 2147483647 h 414"/>
                    <a:gd name="T84" fmla="*/ 2147483647 w 450"/>
                    <a:gd name="T85" fmla="*/ 2147483647 h 414"/>
                    <a:gd name="T86" fmla="*/ 2147483647 w 450"/>
                    <a:gd name="T87" fmla="*/ 2147483647 h 414"/>
                    <a:gd name="T88" fmla="*/ 2147483647 w 450"/>
                    <a:gd name="T89" fmla="*/ 2147483647 h 414"/>
                    <a:gd name="T90" fmla="*/ 2147483647 w 450"/>
                    <a:gd name="T91" fmla="*/ 2147483647 h 414"/>
                    <a:gd name="T92" fmla="*/ 2147483647 w 450"/>
                    <a:gd name="T93" fmla="*/ 2147483647 h 414"/>
                    <a:gd name="T94" fmla="*/ 2147483647 w 450"/>
                    <a:gd name="T95" fmla="*/ 2147483647 h 414"/>
                    <a:gd name="T96" fmla="*/ 2147483647 w 450"/>
                    <a:gd name="T97" fmla="*/ 2147483647 h 41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50"/>
                    <a:gd name="T148" fmla="*/ 0 h 414"/>
                    <a:gd name="T149" fmla="*/ 450 w 450"/>
                    <a:gd name="T150" fmla="*/ 414 h 41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50" h="414">
                      <a:moveTo>
                        <a:pt x="426" y="60"/>
                      </a:moveTo>
                      <a:lnTo>
                        <a:pt x="432" y="54"/>
                      </a:lnTo>
                      <a:lnTo>
                        <a:pt x="438" y="42"/>
                      </a:lnTo>
                      <a:lnTo>
                        <a:pt x="450" y="30"/>
                      </a:lnTo>
                      <a:lnTo>
                        <a:pt x="444" y="30"/>
                      </a:lnTo>
                      <a:lnTo>
                        <a:pt x="438" y="24"/>
                      </a:lnTo>
                      <a:lnTo>
                        <a:pt x="438" y="0"/>
                      </a:lnTo>
                      <a:lnTo>
                        <a:pt x="432" y="0"/>
                      </a:lnTo>
                      <a:lnTo>
                        <a:pt x="432" y="6"/>
                      </a:lnTo>
                      <a:lnTo>
                        <a:pt x="426" y="18"/>
                      </a:lnTo>
                      <a:lnTo>
                        <a:pt x="402" y="18"/>
                      </a:lnTo>
                      <a:lnTo>
                        <a:pt x="390" y="30"/>
                      </a:lnTo>
                      <a:lnTo>
                        <a:pt x="372" y="30"/>
                      </a:lnTo>
                      <a:lnTo>
                        <a:pt x="366" y="24"/>
                      </a:lnTo>
                      <a:lnTo>
                        <a:pt x="318" y="24"/>
                      </a:lnTo>
                      <a:lnTo>
                        <a:pt x="306" y="30"/>
                      </a:lnTo>
                      <a:lnTo>
                        <a:pt x="294" y="42"/>
                      </a:lnTo>
                      <a:lnTo>
                        <a:pt x="282" y="48"/>
                      </a:lnTo>
                      <a:lnTo>
                        <a:pt x="276" y="54"/>
                      </a:lnTo>
                      <a:lnTo>
                        <a:pt x="258" y="54"/>
                      </a:lnTo>
                      <a:lnTo>
                        <a:pt x="246" y="60"/>
                      </a:lnTo>
                      <a:lnTo>
                        <a:pt x="234" y="60"/>
                      </a:lnTo>
                      <a:lnTo>
                        <a:pt x="222" y="54"/>
                      </a:lnTo>
                      <a:lnTo>
                        <a:pt x="204" y="54"/>
                      </a:lnTo>
                      <a:lnTo>
                        <a:pt x="192" y="42"/>
                      </a:lnTo>
                      <a:lnTo>
                        <a:pt x="180" y="36"/>
                      </a:lnTo>
                      <a:lnTo>
                        <a:pt x="174" y="30"/>
                      </a:lnTo>
                      <a:lnTo>
                        <a:pt x="168" y="30"/>
                      </a:lnTo>
                      <a:lnTo>
                        <a:pt x="150" y="48"/>
                      </a:lnTo>
                      <a:lnTo>
                        <a:pt x="144" y="48"/>
                      </a:lnTo>
                      <a:lnTo>
                        <a:pt x="138" y="54"/>
                      </a:lnTo>
                      <a:lnTo>
                        <a:pt x="120" y="60"/>
                      </a:lnTo>
                      <a:lnTo>
                        <a:pt x="84" y="60"/>
                      </a:lnTo>
                      <a:lnTo>
                        <a:pt x="84" y="54"/>
                      </a:lnTo>
                      <a:lnTo>
                        <a:pt x="90" y="48"/>
                      </a:lnTo>
                      <a:lnTo>
                        <a:pt x="66" y="48"/>
                      </a:lnTo>
                      <a:lnTo>
                        <a:pt x="66" y="78"/>
                      </a:lnTo>
                      <a:lnTo>
                        <a:pt x="72" y="78"/>
                      </a:lnTo>
                      <a:lnTo>
                        <a:pt x="72" y="102"/>
                      </a:lnTo>
                      <a:lnTo>
                        <a:pt x="60" y="102"/>
                      </a:lnTo>
                      <a:lnTo>
                        <a:pt x="54" y="96"/>
                      </a:lnTo>
                      <a:lnTo>
                        <a:pt x="54" y="114"/>
                      </a:lnTo>
                      <a:lnTo>
                        <a:pt x="48" y="120"/>
                      </a:lnTo>
                      <a:lnTo>
                        <a:pt x="48" y="126"/>
                      </a:lnTo>
                      <a:lnTo>
                        <a:pt x="36" y="126"/>
                      </a:lnTo>
                      <a:lnTo>
                        <a:pt x="24" y="114"/>
                      </a:lnTo>
                      <a:lnTo>
                        <a:pt x="18" y="120"/>
                      </a:lnTo>
                      <a:lnTo>
                        <a:pt x="12" y="132"/>
                      </a:lnTo>
                      <a:lnTo>
                        <a:pt x="12" y="150"/>
                      </a:lnTo>
                      <a:lnTo>
                        <a:pt x="6" y="150"/>
                      </a:lnTo>
                      <a:lnTo>
                        <a:pt x="0" y="198"/>
                      </a:lnTo>
                      <a:lnTo>
                        <a:pt x="6" y="204"/>
                      </a:lnTo>
                      <a:lnTo>
                        <a:pt x="18" y="210"/>
                      </a:lnTo>
                      <a:lnTo>
                        <a:pt x="24" y="216"/>
                      </a:lnTo>
                      <a:lnTo>
                        <a:pt x="24" y="222"/>
                      </a:lnTo>
                      <a:lnTo>
                        <a:pt x="72" y="222"/>
                      </a:lnTo>
                      <a:lnTo>
                        <a:pt x="66" y="234"/>
                      </a:lnTo>
                      <a:lnTo>
                        <a:pt x="72" y="240"/>
                      </a:lnTo>
                      <a:lnTo>
                        <a:pt x="78" y="252"/>
                      </a:lnTo>
                      <a:lnTo>
                        <a:pt x="78" y="270"/>
                      </a:lnTo>
                      <a:lnTo>
                        <a:pt x="72" y="282"/>
                      </a:lnTo>
                      <a:lnTo>
                        <a:pt x="66" y="282"/>
                      </a:lnTo>
                      <a:lnTo>
                        <a:pt x="54" y="288"/>
                      </a:lnTo>
                      <a:lnTo>
                        <a:pt x="48" y="288"/>
                      </a:lnTo>
                      <a:lnTo>
                        <a:pt x="42" y="294"/>
                      </a:lnTo>
                      <a:lnTo>
                        <a:pt x="42" y="318"/>
                      </a:lnTo>
                      <a:lnTo>
                        <a:pt x="24" y="336"/>
                      </a:lnTo>
                      <a:lnTo>
                        <a:pt x="30" y="378"/>
                      </a:lnTo>
                      <a:lnTo>
                        <a:pt x="36" y="378"/>
                      </a:lnTo>
                      <a:lnTo>
                        <a:pt x="72" y="396"/>
                      </a:lnTo>
                      <a:lnTo>
                        <a:pt x="84" y="408"/>
                      </a:lnTo>
                      <a:lnTo>
                        <a:pt x="96" y="414"/>
                      </a:lnTo>
                      <a:lnTo>
                        <a:pt x="114" y="414"/>
                      </a:lnTo>
                      <a:lnTo>
                        <a:pt x="174" y="384"/>
                      </a:lnTo>
                      <a:lnTo>
                        <a:pt x="204" y="354"/>
                      </a:lnTo>
                      <a:lnTo>
                        <a:pt x="228" y="336"/>
                      </a:lnTo>
                      <a:lnTo>
                        <a:pt x="240" y="324"/>
                      </a:lnTo>
                      <a:lnTo>
                        <a:pt x="300" y="276"/>
                      </a:lnTo>
                      <a:lnTo>
                        <a:pt x="312" y="270"/>
                      </a:lnTo>
                      <a:lnTo>
                        <a:pt x="372" y="246"/>
                      </a:lnTo>
                      <a:lnTo>
                        <a:pt x="396" y="234"/>
                      </a:lnTo>
                      <a:lnTo>
                        <a:pt x="402" y="228"/>
                      </a:lnTo>
                      <a:lnTo>
                        <a:pt x="402" y="222"/>
                      </a:lnTo>
                      <a:lnTo>
                        <a:pt x="384" y="204"/>
                      </a:lnTo>
                      <a:lnTo>
                        <a:pt x="384" y="198"/>
                      </a:lnTo>
                      <a:lnTo>
                        <a:pt x="390" y="180"/>
                      </a:lnTo>
                      <a:lnTo>
                        <a:pt x="396" y="168"/>
                      </a:lnTo>
                      <a:lnTo>
                        <a:pt x="396" y="138"/>
                      </a:lnTo>
                      <a:lnTo>
                        <a:pt x="390" y="126"/>
                      </a:lnTo>
                      <a:lnTo>
                        <a:pt x="390" y="114"/>
                      </a:lnTo>
                      <a:lnTo>
                        <a:pt x="384" y="108"/>
                      </a:lnTo>
                      <a:lnTo>
                        <a:pt x="378" y="96"/>
                      </a:lnTo>
                      <a:lnTo>
                        <a:pt x="378" y="84"/>
                      </a:lnTo>
                      <a:lnTo>
                        <a:pt x="384" y="72"/>
                      </a:lnTo>
                      <a:lnTo>
                        <a:pt x="390" y="66"/>
                      </a:lnTo>
                      <a:lnTo>
                        <a:pt x="402" y="66"/>
                      </a:lnTo>
                      <a:lnTo>
                        <a:pt x="414" y="60"/>
                      </a:lnTo>
                      <a:lnTo>
                        <a:pt x="426" y="6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545" name="Switzerland"/>
                <p:cNvSpPr>
                  <a:spLocks/>
                </p:cNvSpPr>
                <p:nvPr/>
              </p:nvSpPr>
              <p:spPr bwMode="gray">
                <a:xfrm>
                  <a:off x="2770" y="1326"/>
                  <a:ext cx="74" cy="41"/>
                </a:xfrm>
                <a:custGeom>
                  <a:avLst/>
                  <a:gdLst>
                    <a:gd name="T0" fmla="*/ 2147483647 w 288"/>
                    <a:gd name="T1" fmla="*/ 2147483647 h 162"/>
                    <a:gd name="T2" fmla="*/ 2147483647 w 288"/>
                    <a:gd name="T3" fmla="*/ 2147483647 h 162"/>
                    <a:gd name="T4" fmla="*/ 2147483647 w 288"/>
                    <a:gd name="T5" fmla="*/ 2147483647 h 162"/>
                    <a:gd name="T6" fmla="*/ 2147483647 w 288"/>
                    <a:gd name="T7" fmla="*/ 2147483647 h 162"/>
                    <a:gd name="T8" fmla="*/ 2147483647 w 288"/>
                    <a:gd name="T9" fmla="*/ 2147483647 h 162"/>
                    <a:gd name="T10" fmla="*/ 2147483647 w 288"/>
                    <a:gd name="T11" fmla="*/ 2147483647 h 162"/>
                    <a:gd name="T12" fmla="*/ 2147483647 w 288"/>
                    <a:gd name="T13" fmla="*/ 2147483647 h 162"/>
                    <a:gd name="T14" fmla="*/ 0 w 288"/>
                    <a:gd name="T15" fmla="*/ 2147483647 h 162"/>
                    <a:gd name="T16" fmla="*/ 2147483647 w 288"/>
                    <a:gd name="T17" fmla="*/ 2147483647 h 162"/>
                    <a:gd name="T18" fmla="*/ 2147483647 w 288"/>
                    <a:gd name="T19" fmla="*/ 2147483647 h 162"/>
                    <a:gd name="T20" fmla="*/ 2147483647 w 288"/>
                    <a:gd name="T21" fmla="*/ 2147483647 h 162"/>
                    <a:gd name="T22" fmla="*/ 2147483647 w 288"/>
                    <a:gd name="T23" fmla="*/ 2147483647 h 162"/>
                    <a:gd name="T24" fmla="*/ 2147483647 w 288"/>
                    <a:gd name="T25" fmla="*/ 2147483647 h 162"/>
                    <a:gd name="T26" fmla="*/ 2147483647 w 288"/>
                    <a:gd name="T27" fmla="*/ 2147483647 h 162"/>
                    <a:gd name="T28" fmla="*/ 2147483647 w 288"/>
                    <a:gd name="T29" fmla="*/ 2147483647 h 162"/>
                    <a:gd name="T30" fmla="*/ 2147483647 w 288"/>
                    <a:gd name="T31" fmla="*/ 2147483647 h 162"/>
                    <a:gd name="T32" fmla="*/ 2147483647 w 288"/>
                    <a:gd name="T33" fmla="*/ 2147483647 h 162"/>
                    <a:gd name="T34" fmla="*/ 2147483647 w 288"/>
                    <a:gd name="T35" fmla="*/ 2147483647 h 162"/>
                    <a:gd name="T36" fmla="*/ 2147483647 w 288"/>
                    <a:gd name="T37" fmla="*/ 2147483647 h 162"/>
                    <a:gd name="T38" fmla="*/ 2147483647 w 288"/>
                    <a:gd name="T39" fmla="*/ 2147483647 h 162"/>
                    <a:gd name="T40" fmla="*/ 2147483647 w 288"/>
                    <a:gd name="T41" fmla="*/ 2147483647 h 162"/>
                    <a:gd name="T42" fmla="*/ 2147483647 w 288"/>
                    <a:gd name="T43" fmla="*/ 2147483647 h 162"/>
                    <a:gd name="T44" fmla="*/ 2147483647 w 288"/>
                    <a:gd name="T45" fmla="*/ 2147483647 h 162"/>
                    <a:gd name="T46" fmla="*/ 2147483647 w 288"/>
                    <a:gd name="T47" fmla="*/ 2147483647 h 162"/>
                    <a:gd name="T48" fmla="*/ 2147483647 w 288"/>
                    <a:gd name="T49" fmla="*/ 2147483647 h 162"/>
                    <a:gd name="T50" fmla="*/ 2147483647 w 288"/>
                    <a:gd name="T51" fmla="*/ 2147483647 h 162"/>
                    <a:gd name="T52" fmla="*/ 2147483647 w 288"/>
                    <a:gd name="T53" fmla="*/ 2147483647 h 162"/>
                    <a:gd name="T54" fmla="*/ 2147483647 w 288"/>
                    <a:gd name="T55" fmla="*/ 2147483647 h 162"/>
                    <a:gd name="T56" fmla="*/ 2147483647 w 288"/>
                    <a:gd name="T57" fmla="*/ 2147483647 h 162"/>
                    <a:gd name="T58" fmla="*/ 2147483647 w 288"/>
                    <a:gd name="T59" fmla="*/ 2147483647 h 162"/>
                    <a:gd name="T60" fmla="*/ 2147483647 w 288"/>
                    <a:gd name="T61" fmla="*/ 2147483647 h 162"/>
                    <a:gd name="T62" fmla="*/ 2147483647 w 288"/>
                    <a:gd name="T63" fmla="*/ 2147483647 h 162"/>
                    <a:gd name="T64" fmla="*/ 2147483647 w 288"/>
                    <a:gd name="T65" fmla="*/ 2147483647 h 162"/>
                    <a:gd name="T66" fmla="*/ 2147483647 w 288"/>
                    <a:gd name="T67" fmla="*/ 0 h 162"/>
                    <a:gd name="T68" fmla="*/ 2147483647 w 288"/>
                    <a:gd name="T69" fmla="*/ 2147483647 h 162"/>
                    <a:gd name="T70" fmla="*/ 2147483647 w 288"/>
                    <a:gd name="T71" fmla="*/ 2147483647 h 162"/>
                    <a:gd name="T72" fmla="*/ 2147483647 w 288"/>
                    <a:gd name="T73" fmla="*/ 2147483647 h 16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88"/>
                    <a:gd name="T112" fmla="*/ 0 h 162"/>
                    <a:gd name="T113" fmla="*/ 288 w 288"/>
                    <a:gd name="T114" fmla="*/ 162 h 16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88" h="162">
                      <a:moveTo>
                        <a:pt x="132" y="24"/>
                      </a:moveTo>
                      <a:lnTo>
                        <a:pt x="96" y="24"/>
                      </a:lnTo>
                      <a:lnTo>
                        <a:pt x="90" y="42"/>
                      </a:lnTo>
                      <a:lnTo>
                        <a:pt x="72" y="30"/>
                      </a:lnTo>
                      <a:lnTo>
                        <a:pt x="66" y="42"/>
                      </a:lnTo>
                      <a:lnTo>
                        <a:pt x="60" y="48"/>
                      </a:lnTo>
                      <a:lnTo>
                        <a:pt x="54" y="60"/>
                      </a:lnTo>
                      <a:lnTo>
                        <a:pt x="48" y="66"/>
                      </a:lnTo>
                      <a:lnTo>
                        <a:pt x="30" y="66"/>
                      </a:lnTo>
                      <a:lnTo>
                        <a:pt x="30" y="78"/>
                      </a:lnTo>
                      <a:lnTo>
                        <a:pt x="18" y="90"/>
                      </a:lnTo>
                      <a:lnTo>
                        <a:pt x="12" y="102"/>
                      </a:lnTo>
                      <a:lnTo>
                        <a:pt x="0" y="108"/>
                      </a:lnTo>
                      <a:lnTo>
                        <a:pt x="6" y="120"/>
                      </a:lnTo>
                      <a:lnTo>
                        <a:pt x="0" y="126"/>
                      </a:lnTo>
                      <a:lnTo>
                        <a:pt x="0" y="132"/>
                      </a:lnTo>
                      <a:lnTo>
                        <a:pt x="6" y="132"/>
                      </a:lnTo>
                      <a:lnTo>
                        <a:pt x="30" y="108"/>
                      </a:lnTo>
                      <a:lnTo>
                        <a:pt x="48" y="108"/>
                      </a:lnTo>
                      <a:lnTo>
                        <a:pt x="54" y="114"/>
                      </a:lnTo>
                      <a:lnTo>
                        <a:pt x="48" y="138"/>
                      </a:lnTo>
                      <a:lnTo>
                        <a:pt x="60" y="150"/>
                      </a:lnTo>
                      <a:lnTo>
                        <a:pt x="60" y="156"/>
                      </a:lnTo>
                      <a:lnTo>
                        <a:pt x="72" y="156"/>
                      </a:lnTo>
                      <a:lnTo>
                        <a:pt x="84" y="144"/>
                      </a:lnTo>
                      <a:lnTo>
                        <a:pt x="96" y="144"/>
                      </a:lnTo>
                      <a:lnTo>
                        <a:pt x="108" y="156"/>
                      </a:lnTo>
                      <a:lnTo>
                        <a:pt x="114" y="156"/>
                      </a:lnTo>
                      <a:lnTo>
                        <a:pt x="132" y="138"/>
                      </a:lnTo>
                      <a:lnTo>
                        <a:pt x="132" y="120"/>
                      </a:lnTo>
                      <a:lnTo>
                        <a:pt x="138" y="114"/>
                      </a:lnTo>
                      <a:lnTo>
                        <a:pt x="150" y="114"/>
                      </a:lnTo>
                      <a:lnTo>
                        <a:pt x="156" y="120"/>
                      </a:lnTo>
                      <a:lnTo>
                        <a:pt x="156" y="126"/>
                      </a:lnTo>
                      <a:lnTo>
                        <a:pt x="162" y="132"/>
                      </a:lnTo>
                      <a:lnTo>
                        <a:pt x="162" y="138"/>
                      </a:lnTo>
                      <a:lnTo>
                        <a:pt x="168" y="138"/>
                      </a:lnTo>
                      <a:lnTo>
                        <a:pt x="192" y="162"/>
                      </a:lnTo>
                      <a:lnTo>
                        <a:pt x="192" y="144"/>
                      </a:lnTo>
                      <a:lnTo>
                        <a:pt x="204" y="132"/>
                      </a:lnTo>
                      <a:lnTo>
                        <a:pt x="210" y="108"/>
                      </a:lnTo>
                      <a:lnTo>
                        <a:pt x="222" y="126"/>
                      </a:lnTo>
                      <a:lnTo>
                        <a:pt x="240" y="120"/>
                      </a:lnTo>
                      <a:lnTo>
                        <a:pt x="258" y="132"/>
                      </a:lnTo>
                      <a:lnTo>
                        <a:pt x="264" y="120"/>
                      </a:lnTo>
                      <a:lnTo>
                        <a:pt x="252" y="108"/>
                      </a:lnTo>
                      <a:lnTo>
                        <a:pt x="252" y="102"/>
                      </a:lnTo>
                      <a:lnTo>
                        <a:pt x="276" y="102"/>
                      </a:lnTo>
                      <a:lnTo>
                        <a:pt x="282" y="84"/>
                      </a:lnTo>
                      <a:lnTo>
                        <a:pt x="288" y="84"/>
                      </a:lnTo>
                      <a:lnTo>
                        <a:pt x="288" y="78"/>
                      </a:lnTo>
                      <a:lnTo>
                        <a:pt x="276" y="66"/>
                      </a:lnTo>
                      <a:lnTo>
                        <a:pt x="270" y="66"/>
                      </a:lnTo>
                      <a:lnTo>
                        <a:pt x="252" y="84"/>
                      </a:lnTo>
                      <a:lnTo>
                        <a:pt x="246" y="84"/>
                      </a:lnTo>
                      <a:lnTo>
                        <a:pt x="246" y="66"/>
                      </a:lnTo>
                      <a:lnTo>
                        <a:pt x="210" y="66"/>
                      </a:lnTo>
                      <a:lnTo>
                        <a:pt x="210" y="60"/>
                      </a:lnTo>
                      <a:lnTo>
                        <a:pt x="216" y="48"/>
                      </a:lnTo>
                      <a:lnTo>
                        <a:pt x="222" y="42"/>
                      </a:lnTo>
                      <a:lnTo>
                        <a:pt x="228" y="42"/>
                      </a:lnTo>
                      <a:lnTo>
                        <a:pt x="228" y="30"/>
                      </a:lnTo>
                      <a:lnTo>
                        <a:pt x="216" y="30"/>
                      </a:lnTo>
                      <a:lnTo>
                        <a:pt x="210" y="18"/>
                      </a:lnTo>
                      <a:lnTo>
                        <a:pt x="192" y="12"/>
                      </a:lnTo>
                      <a:lnTo>
                        <a:pt x="180" y="12"/>
                      </a:lnTo>
                      <a:lnTo>
                        <a:pt x="174" y="6"/>
                      </a:lnTo>
                      <a:lnTo>
                        <a:pt x="162" y="0"/>
                      </a:lnTo>
                      <a:lnTo>
                        <a:pt x="156" y="0"/>
                      </a:lnTo>
                      <a:lnTo>
                        <a:pt x="150" y="6"/>
                      </a:lnTo>
                      <a:lnTo>
                        <a:pt x="150" y="18"/>
                      </a:lnTo>
                      <a:lnTo>
                        <a:pt x="156" y="24"/>
                      </a:lnTo>
                      <a:lnTo>
                        <a:pt x="150" y="18"/>
                      </a:lnTo>
                      <a:lnTo>
                        <a:pt x="132" y="24"/>
                      </a:lnTo>
                      <a:close/>
                    </a:path>
                  </a:pathLst>
                </a:custGeom>
                <a:solidFill>
                  <a:schemeClr val="accent1"/>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546" name="Sweden"/>
                <p:cNvSpPr>
                  <a:spLocks noEditPoints="1"/>
                </p:cNvSpPr>
                <p:nvPr/>
              </p:nvSpPr>
              <p:spPr bwMode="gray">
                <a:xfrm>
                  <a:off x="2854" y="924"/>
                  <a:ext cx="177" cy="253"/>
                </a:xfrm>
                <a:custGeom>
                  <a:avLst/>
                  <a:gdLst>
                    <a:gd name="T0" fmla="*/ 2147483647 w 690"/>
                    <a:gd name="T1" fmla="*/ 2147483647 h 990"/>
                    <a:gd name="T2" fmla="*/ 2147483647 w 690"/>
                    <a:gd name="T3" fmla="*/ 2147483647 h 990"/>
                    <a:gd name="T4" fmla="*/ 2147483647 w 690"/>
                    <a:gd name="T5" fmla="*/ 2147483647 h 990"/>
                    <a:gd name="T6" fmla="*/ 2147483647 w 690"/>
                    <a:gd name="T7" fmla="*/ 2147483647 h 990"/>
                    <a:gd name="T8" fmla="*/ 2147483647 w 690"/>
                    <a:gd name="T9" fmla="*/ 2147483647 h 990"/>
                    <a:gd name="T10" fmla="*/ 2147483647 w 690"/>
                    <a:gd name="T11" fmla="*/ 2147483647 h 990"/>
                    <a:gd name="T12" fmla="*/ 2147483647 w 690"/>
                    <a:gd name="T13" fmla="*/ 2147483647 h 990"/>
                    <a:gd name="T14" fmla="*/ 2147483647 w 690"/>
                    <a:gd name="T15" fmla="*/ 2147483647 h 990"/>
                    <a:gd name="T16" fmla="*/ 2147483647 w 690"/>
                    <a:gd name="T17" fmla="*/ 2147483647 h 990"/>
                    <a:gd name="T18" fmla="*/ 2147483647 w 690"/>
                    <a:gd name="T19" fmla="*/ 2147483647 h 990"/>
                    <a:gd name="T20" fmla="*/ 2147483647 w 690"/>
                    <a:gd name="T21" fmla="*/ 2147483647 h 990"/>
                    <a:gd name="T22" fmla="*/ 2147483647 w 690"/>
                    <a:gd name="T23" fmla="*/ 2147483647 h 990"/>
                    <a:gd name="T24" fmla="*/ 2147483647 w 690"/>
                    <a:gd name="T25" fmla="*/ 2147483647 h 990"/>
                    <a:gd name="T26" fmla="*/ 2147483647 w 690"/>
                    <a:gd name="T27" fmla="*/ 2147483647 h 990"/>
                    <a:gd name="T28" fmla="*/ 2147483647 w 690"/>
                    <a:gd name="T29" fmla="*/ 2147483647 h 990"/>
                    <a:gd name="T30" fmla="*/ 2147483647 w 690"/>
                    <a:gd name="T31" fmla="*/ 2147483647 h 990"/>
                    <a:gd name="T32" fmla="*/ 2147483647 w 690"/>
                    <a:gd name="T33" fmla="*/ 2147483647 h 990"/>
                    <a:gd name="T34" fmla="*/ 2147483647 w 690"/>
                    <a:gd name="T35" fmla="*/ 2147483647 h 990"/>
                    <a:gd name="T36" fmla="*/ 2147483647 w 690"/>
                    <a:gd name="T37" fmla="*/ 2147483647 h 990"/>
                    <a:gd name="T38" fmla="*/ 2147483647 w 690"/>
                    <a:gd name="T39" fmla="*/ 2147483647 h 990"/>
                    <a:gd name="T40" fmla="*/ 2147483647 w 690"/>
                    <a:gd name="T41" fmla="*/ 2147483647 h 990"/>
                    <a:gd name="T42" fmla="*/ 2147483647 w 690"/>
                    <a:gd name="T43" fmla="*/ 2147483647 h 990"/>
                    <a:gd name="T44" fmla="*/ 2147483647 w 690"/>
                    <a:gd name="T45" fmla="*/ 2147483647 h 990"/>
                    <a:gd name="T46" fmla="*/ 0 w 690"/>
                    <a:gd name="T47" fmla="*/ 2147483647 h 990"/>
                    <a:gd name="T48" fmla="*/ 2147483647 w 690"/>
                    <a:gd name="T49" fmla="*/ 2147483647 h 990"/>
                    <a:gd name="T50" fmla="*/ 2147483647 w 690"/>
                    <a:gd name="T51" fmla="*/ 2147483647 h 990"/>
                    <a:gd name="T52" fmla="*/ 2147483647 w 690"/>
                    <a:gd name="T53" fmla="*/ 2147483647 h 990"/>
                    <a:gd name="T54" fmla="*/ 2147483647 w 690"/>
                    <a:gd name="T55" fmla="*/ 2147483647 h 990"/>
                    <a:gd name="T56" fmla="*/ 2147483647 w 690"/>
                    <a:gd name="T57" fmla="*/ 2147483647 h 990"/>
                    <a:gd name="T58" fmla="*/ 2147483647 w 690"/>
                    <a:gd name="T59" fmla="*/ 2147483647 h 990"/>
                    <a:gd name="T60" fmla="*/ 2147483647 w 690"/>
                    <a:gd name="T61" fmla="*/ 2147483647 h 990"/>
                    <a:gd name="T62" fmla="*/ 2147483647 w 690"/>
                    <a:gd name="T63" fmla="*/ 2147483647 h 990"/>
                    <a:gd name="T64" fmla="*/ 2147483647 w 690"/>
                    <a:gd name="T65" fmla="*/ 2147483647 h 990"/>
                    <a:gd name="T66" fmla="*/ 2147483647 w 690"/>
                    <a:gd name="T67" fmla="*/ 2147483647 h 990"/>
                    <a:gd name="T68" fmla="*/ 2147483647 w 690"/>
                    <a:gd name="T69" fmla="*/ 2147483647 h 990"/>
                    <a:gd name="T70" fmla="*/ 2147483647 w 690"/>
                    <a:gd name="T71" fmla="*/ 2147483647 h 990"/>
                    <a:gd name="T72" fmla="*/ 2147483647 w 690"/>
                    <a:gd name="T73" fmla="*/ 2147483647 h 990"/>
                    <a:gd name="T74" fmla="*/ 2147483647 w 690"/>
                    <a:gd name="T75" fmla="*/ 2147483647 h 990"/>
                    <a:gd name="T76" fmla="*/ 2147483647 w 690"/>
                    <a:gd name="T77" fmla="*/ 2147483647 h 990"/>
                    <a:gd name="T78" fmla="*/ 2147483647 w 690"/>
                    <a:gd name="T79" fmla="*/ 2147483647 h 990"/>
                    <a:gd name="T80" fmla="*/ 2147483647 w 690"/>
                    <a:gd name="T81" fmla="*/ 2147483647 h 990"/>
                    <a:gd name="T82" fmla="*/ 2147483647 w 690"/>
                    <a:gd name="T83" fmla="*/ 2147483647 h 990"/>
                    <a:gd name="T84" fmla="*/ 2147483647 w 690"/>
                    <a:gd name="T85" fmla="*/ 2147483647 h 990"/>
                    <a:gd name="T86" fmla="*/ 2147483647 w 690"/>
                    <a:gd name="T87" fmla="*/ 2147483647 h 990"/>
                    <a:gd name="T88" fmla="*/ 2147483647 w 690"/>
                    <a:gd name="T89" fmla="*/ 2147483647 h 990"/>
                    <a:gd name="T90" fmla="*/ 2147483647 w 690"/>
                    <a:gd name="T91" fmla="*/ 2147483647 h 990"/>
                    <a:gd name="T92" fmla="*/ 2147483647 w 690"/>
                    <a:gd name="T93" fmla="*/ 2147483647 h 990"/>
                    <a:gd name="T94" fmla="*/ 2147483647 w 690"/>
                    <a:gd name="T95" fmla="*/ 2147483647 h 990"/>
                    <a:gd name="T96" fmla="*/ 2147483647 w 690"/>
                    <a:gd name="T97" fmla="*/ 2147483647 h 990"/>
                    <a:gd name="T98" fmla="*/ 2147483647 w 690"/>
                    <a:gd name="T99" fmla="*/ 2147483647 h 990"/>
                    <a:gd name="T100" fmla="*/ 2147483647 w 690"/>
                    <a:gd name="T101" fmla="*/ 2147483647 h 99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90"/>
                    <a:gd name="T154" fmla="*/ 0 h 990"/>
                    <a:gd name="T155" fmla="*/ 690 w 690"/>
                    <a:gd name="T156" fmla="*/ 990 h 990"/>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90" h="990">
                      <a:moveTo>
                        <a:pt x="678" y="204"/>
                      </a:moveTo>
                      <a:lnTo>
                        <a:pt x="672" y="198"/>
                      </a:lnTo>
                      <a:lnTo>
                        <a:pt x="660" y="192"/>
                      </a:lnTo>
                      <a:lnTo>
                        <a:pt x="648" y="180"/>
                      </a:lnTo>
                      <a:lnTo>
                        <a:pt x="648" y="174"/>
                      </a:lnTo>
                      <a:lnTo>
                        <a:pt x="654" y="162"/>
                      </a:lnTo>
                      <a:lnTo>
                        <a:pt x="660" y="156"/>
                      </a:lnTo>
                      <a:lnTo>
                        <a:pt x="666" y="144"/>
                      </a:lnTo>
                      <a:lnTo>
                        <a:pt x="642" y="132"/>
                      </a:lnTo>
                      <a:lnTo>
                        <a:pt x="648" y="108"/>
                      </a:lnTo>
                      <a:lnTo>
                        <a:pt x="636" y="102"/>
                      </a:lnTo>
                      <a:lnTo>
                        <a:pt x="636" y="96"/>
                      </a:lnTo>
                      <a:lnTo>
                        <a:pt x="642" y="90"/>
                      </a:lnTo>
                      <a:lnTo>
                        <a:pt x="642" y="66"/>
                      </a:lnTo>
                      <a:lnTo>
                        <a:pt x="636" y="66"/>
                      </a:lnTo>
                      <a:lnTo>
                        <a:pt x="630" y="60"/>
                      </a:lnTo>
                      <a:lnTo>
                        <a:pt x="618" y="60"/>
                      </a:lnTo>
                      <a:lnTo>
                        <a:pt x="588" y="42"/>
                      </a:lnTo>
                      <a:lnTo>
                        <a:pt x="552" y="42"/>
                      </a:lnTo>
                      <a:lnTo>
                        <a:pt x="540" y="30"/>
                      </a:lnTo>
                      <a:lnTo>
                        <a:pt x="534" y="30"/>
                      </a:lnTo>
                      <a:lnTo>
                        <a:pt x="528" y="24"/>
                      </a:lnTo>
                      <a:lnTo>
                        <a:pt x="516" y="24"/>
                      </a:lnTo>
                      <a:lnTo>
                        <a:pt x="504" y="18"/>
                      </a:lnTo>
                      <a:lnTo>
                        <a:pt x="498" y="12"/>
                      </a:lnTo>
                      <a:lnTo>
                        <a:pt x="486" y="6"/>
                      </a:lnTo>
                      <a:lnTo>
                        <a:pt x="456" y="0"/>
                      </a:lnTo>
                      <a:lnTo>
                        <a:pt x="456" y="24"/>
                      </a:lnTo>
                      <a:lnTo>
                        <a:pt x="444" y="24"/>
                      </a:lnTo>
                      <a:lnTo>
                        <a:pt x="444" y="30"/>
                      </a:lnTo>
                      <a:lnTo>
                        <a:pt x="456" y="42"/>
                      </a:lnTo>
                      <a:lnTo>
                        <a:pt x="462" y="42"/>
                      </a:lnTo>
                      <a:lnTo>
                        <a:pt x="456" y="48"/>
                      </a:lnTo>
                      <a:lnTo>
                        <a:pt x="444" y="48"/>
                      </a:lnTo>
                      <a:lnTo>
                        <a:pt x="438" y="42"/>
                      </a:lnTo>
                      <a:lnTo>
                        <a:pt x="414" y="42"/>
                      </a:lnTo>
                      <a:lnTo>
                        <a:pt x="390" y="36"/>
                      </a:lnTo>
                      <a:lnTo>
                        <a:pt x="366" y="42"/>
                      </a:lnTo>
                      <a:lnTo>
                        <a:pt x="366" y="30"/>
                      </a:lnTo>
                      <a:lnTo>
                        <a:pt x="360" y="24"/>
                      </a:lnTo>
                      <a:lnTo>
                        <a:pt x="348" y="36"/>
                      </a:lnTo>
                      <a:lnTo>
                        <a:pt x="348" y="66"/>
                      </a:lnTo>
                      <a:lnTo>
                        <a:pt x="342" y="72"/>
                      </a:lnTo>
                      <a:lnTo>
                        <a:pt x="324" y="72"/>
                      </a:lnTo>
                      <a:lnTo>
                        <a:pt x="282" y="78"/>
                      </a:lnTo>
                      <a:lnTo>
                        <a:pt x="264" y="96"/>
                      </a:lnTo>
                      <a:lnTo>
                        <a:pt x="252" y="102"/>
                      </a:lnTo>
                      <a:lnTo>
                        <a:pt x="246" y="102"/>
                      </a:lnTo>
                      <a:lnTo>
                        <a:pt x="246" y="114"/>
                      </a:lnTo>
                      <a:lnTo>
                        <a:pt x="258" y="120"/>
                      </a:lnTo>
                      <a:lnTo>
                        <a:pt x="264" y="126"/>
                      </a:lnTo>
                      <a:lnTo>
                        <a:pt x="258" y="144"/>
                      </a:lnTo>
                      <a:lnTo>
                        <a:pt x="252" y="144"/>
                      </a:lnTo>
                      <a:lnTo>
                        <a:pt x="240" y="150"/>
                      </a:lnTo>
                      <a:lnTo>
                        <a:pt x="234" y="156"/>
                      </a:lnTo>
                      <a:lnTo>
                        <a:pt x="234" y="162"/>
                      </a:lnTo>
                      <a:lnTo>
                        <a:pt x="228" y="168"/>
                      </a:lnTo>
                      <a:lnTo>
                        <a:pt x="210" y="168"/>
                      </a:lnTo>
                      <a:lnTo>
                        <a:pt x="216" y="174"/>
                      </a:lnTo>
                      <a:lnTo>
                        <a:pt x="216" y="180"/>
                      </a:lnTo>
                      <a:lnTo>
                        <a:pt x="222" y="186"/>
                      </a:lnTo>
                      <a:lnTo>
                        <a:pt x="222" y="192"/>
                      </a:lnTo>
                      <a:lnTo>
                        <a:pt x="216" y="192"/>
                      </a:lnTo>
                      <a:lnTo>
                        <a:pt x="210" y="198"/>
                      </a:lnTo>
                      <a:lnTo>
                        <a:pt x="204" y="198"/>
                      </a:lnTo>
                      <a:lnTo>
                        <a:pt x="192" y="204"/>
                      </a:lnTo>
                      <a:lnTo>
                        <a:pt x="174" y="192"/>
                      </a:lnTo>
                      <a:lnTo>
                        <a:pt x="174" y="228"/>
                      </a:lnTo>
                      <a:lnTo>
                        <a:pt x="168" y="270"/>
                      </a:lnTo>
                      <a:lnTo>
                        <a:pt x="138" y="300"/>
                      </a:lnTo>
                      <a:lnTo>
                        <a:pt x="132" y="300"/>
                      </a:lnTo>
                      <a:lnTo>
                        <a:pt x="120" y="306"/>
                      </a:lnTo>
                      <a:lnTo>
                        <a:pt x="132" y="312"/>
                      </a:lnTo>
                      <a:lnTo>
                        <a:pt x="150" y="330"/>
                      </a:lnTo>
                      <a:lnTo>
                        <a:pt x="150" y="336"/>
                      </a:lnTo>
                      <a:lnTo>
                        <a:pt x="144" y="342"/>
                      </a:lnTo>
                      <a:lnTo>
                        <a:pt x="102" y="342"/>
                      </a:lnTo>
                      <a:lnTo>
                        <a:pt x="90" y="348"/>
                      </a:lnTo>
                      <a:lnTo>
                        <a:pt x="84" y="354"/>
                      </a:lnTo>
                      <a:lnTo>
                        <a:pt x="72" y="360"/>
                      </a:lnTo>
                      <a:lnTo>
                        <a:pt x="30" y="402"/>
                      </a:lnTo>
                      <a:lnTo>
                        <a:pt x="36" y="408"/>
                      </a:lnTo>
                      <a:lnTo>
                        <a:pt x="42" y="408"/>
                      </a:lnTo>
                      <a:lnTo>
                        <a:pt x="48" y="414"/>
                      </a:lnTo>
                      <a:lnTo>
                        <a:pt x="48" y="420"/>
                      </a:lnTo>
                      <a:lnTo>
                        <a:pt x="42" y="426"/>
                      </a:lnTo>
                      <a:lnTo>
                        <a:pt x="36" y="426"/>
                      </a:lnTo>
                      <a:lnTo>
                        <a:pt x="30" y="432"/>
                      </a:lnTo>
                      <a:lnTo>
                        <a:pt x="30" y="444"/>
                      </a:lnTo>
                      <a:lnTo>
                        <a:pt x="54" y="468"/>
                      </a:lnTo>
                      <a:lnTo>
                        <a:pt x="54" y="480"/>
                      </a:lnTo>
                      <a:lnTo>
                        <a:pt x="48" y="492"/>
                      </a:lnTo>
                      <a:lnTo>
                        <a:pt x="48" y="510"/>
                      </a:lnTo>
                      <a:lnTo>
                        <a:pt x="60" y="522"/>
                      </a:lnTo>
                      <a:lnTo>
                        <a:pt x="66" y="522"/>
                      </a:lnTo>
                      <a:lnTo>
                        <a:pt x="84" y="540"/>
                      </a:lnTo>
                      <a:lnTo>
                        <a:pt x="84" y="552"/>
                      </a:lnTo>
                      <a:lnTo>
                        <a:pt x="72" y="564"/>
                      </a:lnTo>
                      <a:lnTo>
                        <a:pt x="48" y="570"/>
                      </a:lnTo>
                      <a:lnTo>
                        <a:pt x="54" y="576"/>
                      </a:lnTo>
                      <a:lnTo>
                        <a:pt x="60" y="588"/>
                      </a:lnTo>
                      <a:lnTo>
                        <a:pt x="60" y="594"/>
                      </a:lnTo>
                      <a:lnTo>
                        <a:pt x="66" y="600"/>
                      </a:lnTo>
                      <a:lnTo>
                        <a:pt x="66" y="606"/>
                      </a:lnTo>
                      <a:lnTo>
                        <a:pt x="72" y="618"/>
                      </a:lnTo>
                      <a:lnTo>
                        <a:pt x="66" y="618"/>
                      </a:lnTo>
                      <a:lnTo>
                        <a:pt x="66" y="642"/>
                      </a:lnTo>
                      <a:lnTo>
                        <a:pt x="60" y="648"/>
                      </a:lnTo>
                      <a:lnTo>
                        <a:pt x="24" y="648"/>
                      </a:lnTo>
                      <a:lnTo>
                        <a:pt x="30" y="660"/>
                      </a:lnTo>
                      <a:lnTo>
                        <a:pt x="30" y="666"/>
                      </a:lnTo>
                      <a:lnTo>
                        <a:pt x="24" y="666"/>
                      </a:lnTo>
                      <a:lnTo>
                        <a:pt x="18" y="672"/>
                      </a:lnTo>
                      <a:lnTo>
                        <a:pt x="18" y="678"/>
                      </a:lnTo>
                      <a:lnTo>
                        <a:pt x="30" y="690"/>
                      </a:lnTo>
                      <a:lnTo>
                        <a:pt x="30" y="708"/>
                      </a:lnTo>
                      <a:lnTo>
                        <a:pt x="24" y="714"/>
                      </a:lnTo>
                      <a:lnTo>
                        <a:pt x="18" y="726"/>
                      </a:lnTo>
                      <a:lnTo>
                        <a:pt x="0" y="708"/>
                      </a:lnTo>
                      <a:lnTo>
                        <a:pt x="0" y="768"/>
                      </a:lnTo>
                      <a:lnTo>
                        <a:pt x="6" y="762"/>
                      </a:lnTo>
                      <a:lnTo>
                        <a:pt x="24" y="762"/>
                      </a:lnTo>
                      <a:lnTo>
                        <a:pt x="36" y="774"/>
                      </a:lnTo>
                      <a:lnTo>
                        <a:pt x="36" y="780"/>
                      </a:lnTo>
                      <a:lnTo>
                        <a:pt x="30" y="780"/>
                      </a:lnTo>
                      <a:lnTo>
                        <a:pt x="30" y="774"/>
                      </a:lnTo>
                      <a:lnTo>
                        <a:pt x="24" y="774"/>
                      </a:lnTo>
                      <a:lnTo>
                        <a:pt x="24" y="834"/>
                      </a:lnTo>
                      <a:lnTo>
                        <a:pt x="30" y="840"/>
                      </a:lnTo>
                      <a:lnTo>
                        <a:pt x="36" y="840"/>
                      </a:lnTo>
                      <a:lnTo>
                        <a:pt x="48" y="846"/>
                      </a:lnTo>
                      <a:lnTo>
                        <a:pt x="54" y="858"/>
                      </a:lnTo>
                      <a:lnTo>
                        <a:pt x="60" y="864"/>
                      </a:lnTo>
                      <a:lnTo>
                        <a:pt x="66" y="876"/>
                      </a:lnTo>
                      <a:lnTo>
                        <a:pt x="90" y="900"/>
                      </a:lnTo>
                      <a:lnTo>
                        <a:pt x="96" y="900"/>
                      </a:lnTo>
                      <a:lnTo>
                        <a:pt x="96" y="912"/>
                      </a:lnTo>
                      <a:lnTo>
                        <a:pt x="78" y="912"/>
                      </a:lnTo>
                      <a:lnTo>
                        <a:pt x="78" y="942"/>
                      </a:lnTo>
                      <a:lnTo>
                        <a:pt x="90" y="954"/>
                      </a:lnTo>
                      <a:lnTo>
                        <a:pt x="102" y="960"/>
                      </a:lnTo>
                      <a:lnTo>
                        <a:pt x="96" y="966"/>
                      </a:lnTo>
                      <a:lnTo>
                        <a:pt x="96" y="984"/>
                      </a:lnTo>
                      <a:lnTo>
                        <a:pt x="102" y="984"/>
                      </a:lnTo>
                      <a:lnTo>
                        <a:pt x="108" y="990"/>
                      </a:lnTo>
                      <a:lnTo>
                        <a:pt x="174" y="990"/>
                      </a:lnTo>
                      <a:lnTo>
                        <a:pt x="180" y="984"/>
                      </a:lnTo>
                      <a:lnTo>
                        <a:pt x="180" y="948"/>
                      </a:lnTo>
                      <a:lnTo>
                        <a:pt x="198" y="942"/>
                      </a:lnTo>
                      <a:lnTo>
                        <a:pt x="198" y="924"/>
                      </a:lnTo>
                      <a:lnTo>
                        <a:pt x="264" y="930"/>
                      </a:lnTo>
                      <a:lnTo>
                        <a:pt x="276" y="936"/>
                      </a:lnTo>
                      <a:lnTo>
                        <a:pt x="300" y="876"/>
                      </a:lnTo>
                      <a:lnTo>
                        <a:pt x="300" y="864"/>
                      </a:lnTo>
                      <a:lnTo>
                        <a:pt x="306" y="852"/>
                      </a:lnTo>
                      <a:lnTo>
                        <a:pt x="306" y="816"/>
                      </a:lnTo>
                      <a:lnTo>
                        <a:pt x="300" y="810"/>
                      </a:lnTo>
                      <a:lnTo>
                        <a:pt x="294" y="798"/>
                      </a:lnTo>
                      <a:lnTo>
                        <a:pt x="312" y="798"/>
                      </a:lnTo>
                      <a:lnTo>
                        <a:pt x="324" y="786"/>
                      </a:lnTo>
                      <a:lnTo>
                        <a:pt x="324" y="780"/>
                      </a:lnTo>
                      <a:lnTo>
                        <a:pt x="306" y="762"/>
                      </a:lnTo>
                      <a:lnTo>
                        <a:pt x="294" y="762"/>
                      </a:lnTo>
                      <a:lnTo>
                        <a:pt x="312" y="756"/>
                      </a:lnTo>
                      <a:lnTo>
                        <a:pt x="300" y="750"/>
                      </a:lnTo>
                      <a:lnTo>
                        <a:pt x="324" y="750"/>
                      </a:lnTo>
                      <a:lnTo>
                        <a:pt x="336" y="744"/>
                      </a:lnTo>
                      <a:lnTo>
                        <a:pt x="348" y="744"/>
                      </a:lnTo>
                      <a:lnTo>
                        <a:pt x="354" y="738"/>
                      </a:lnTo>
                      <a:lnTo>
                        <a:pt x="360" y="726"/>
                      </a:lnTo>
                      <a:lnTo>
                        <a:pt x="360" y="714"/>
                      </a:lnTo>
                      <a:lnTo>
                        <a:pt x="366" y="708"/>
                      </a:lnTo>
                      <a:lnTo>
                        <a:pt x="384" y="726"/>
                      </a:lnTo>
                      <a:lnTo>
                        <a:pt x="390" y="726"/>
                      </a:lnTo>
                      <a:lnTo>
                        <a:pt x="396" y="720"/>
                      </a:lnTo>
                      <a:lnTo>
                        <a:pt x="408" y="696"/>
                      </a:lnTo>
                      <a:lnTo>
                        <a:pt x="402" y="690"/>
                      </a:lnTo>
                      <a:lnTo>
                        <a:pt x="402" y="684"/>
                      </a:lnTo>
                      <a:lnTo>
                        <a:pt x="414" y="684"/>
                      </a:lnTo>
                      <a:lnTo>
                        <a:pt x="420" y="678"/>
                      </a:lnTo>
                      <a:lnTo>
                        <a:pt x="432" y="672"/>
                      </a:lnTo>
                      <a:lnTo>
                        <a:pt x="432" y="660"/>
                      </a:lnTo>
                      <a:lnTo>
                        <a:pt x="420" y="636"/>
                      </a:lnTo>
                      <a:lnTo>
                        <a:pt x="408" y="630"/>
                      </a:lnTo>
                      <a:lnTo>
                        <a:pt x="408" y="618"/>
                      </a:lnTo>
                      <a:lnTo>
                        <a:pt x="372" y="600"/>
                      </a:lnTo>
                      <a:lnTo>
                        <a:pt x="360" y="606"/>
                      </a:lnTo>
                      <a:lnTo>
                        <a:pt x="354" y="606"/>
                      </a:lnTo>
                      <a:lnTo>
                        <a:pt x="342" y="600"/>
                      </a:lnTo>
                      <a:lnTo>
                        <a:pt x="330" y="576"/>
                      </a:lnTo>
                      <a:lnTo>
                        <a:pt x="330" y="558"/>
                      </a:lnTo>
                      <a:lnTo>
                        <a:pt x="324" y="546"/>
                      </a:lnTo>
                      <a:lnTo>
                        <a:pt x="324" y="528"/>
                      </a:lnTo>
                      <a:lnTo>
                        <a:pt x="336" y="516"/>
                      </a:lnTo>
                      <a:lnTo>
                        <a:pt x="342" y="504"/>
                      </a:lnTo>
                      <a:lnTo>
                        <a:pt x="342" y="486"/>
                      </a:lnTo>
                      <a:lnTo>
                        <a:pt x="336" y="474"/>
                      </a:lnTo>
                      <a:lnTo>
                        <a:pt x="330" y="468"/>
                      </a:lnTo>
                      <a:lnTo>
                        <a:pt x="330" y="462"/>
                      </a:lnTo>
                      <a:lnTo>
                        <a:pt x="348" y="462"/>
                      </a:lnTo>
                      <a:lnTo>
                        <a:pt x="354" y="456"/>
                      </a:lnTo>
                      <a:lnTo>
                        <a:pt x="354" y="438"/>
                      </a:lnTo>
                      <a:lnTo>
                        <a:pt x="348" y="426"/>
                      </a:lnTo>
                      <a:lnTo>
                        <a:pt x="354" y="432"/>
                      </a:lnTo>
                      <a:lnTo>
                        <a:pt x="378" y="432"/>
                      </a:lnTo>
                      <a:lnTo>
                        <a:pt x="384" y="426"/>
                      </a:lnTo>
                      <a:lnTo>
                        <a:pt x="396" y="420"/>
                      </a:lnTo>
                      <a:lnTo>
                        <a:pt x="408" y="408"/>
                      </a:lnTo>
                      <a:lnTo>
                        <a:pt x="438" y="414"/>
                      </a:lnTo>
                      <a:lnTo>
                        <a:pt x="450" y="390"/>
                      </a:lnTo>
                      <a:lnTo>
                        <a:pt x="480" y="390"/>
                      </a:lnTo>
                      <a:lnTo>
                        <a:pt x="498" y="384"/>
                      </a:lnTo>
                      <a:lnTo>
                        <a:pt x="510" y="378"/>
                      </a:lnTo>
                      <a:lnTo>
                        <a:pt x="522" y="354"/>
                      </a:lnTo>
                      <a:lnTo>
                        <a:pt x="540" y="336"/>
                      </a:lnTo>
                      <a:lnTo>
                        <a:pt x="546" y="324"/>
                      </a:lnTo>
                      <a:lnTo>
                        <a:pt x="528" y="300"/>
                      </a:lnTo>
                      <a:lnTo>
                        <a:pt x="558" y="264"/>
                      </a:lnTo>
                      <a:lnTo>
                        <a:pt x="540" y="246"/>
                      </a:lnTo>
                      <a:lnTo>
                        <a:pt x="576" y="234"/>
                      </a:lnTo>
                      <a:lnTo>
                        <a:pt x="594" y="216"/>
                      </a:lnTo>
                      <a:lnTo>
                        <a:pt x="672" y="222"/>
                      </a:lnTo>
                      <a:lnTo>
                        <a:pt x="684" y="240"/>
                      </a:lnTo>
                      <a:lnTo>
                        <a:pt x="690" y="240"/>
                      </a:lnTo>
                      <a:lnTo>
                        <a:pt x="678" y="204"/>
                      </a:lnTo>
                      <a:close/>
                      <a:moveTo>
                        <a:pt x="390" y="828"/>
                      </a:moveTo>
                      <a:lnTo>
                        <a:pt x="390" y="840"/>
                      </a:lnTo>
                      <a:lnTo>
                        <a:pt x="396" y="852"/>
                      </a:lnTo>
                      <a:lnTo>
                        <a:pt x="396" y="864"/>
                      </a:lnTo>
                      <a:lnTo>
                        <a:pt x="402" y="870"/>
                      </a:lnTo>
                      <a:lnTo>
                        <a:pt x="402" y="876"/>
                      </a:lnTo>
                      <a:lnTo>
                        <a:pt x="414" y="852"/>
                      </a:lnTo>
                      <a:lnTo>
                        <a:pt x="426" y="852"/>
                      </a:lnTo>
                      <a:lnTo>
                        <a:pt x="432" y="846"/>
                      </a:lnTo>
                      <a:lnTo>
                        <a:pt x="438" y="834"/>
                      </a:lnTo>
                      <a:lnTo>
                        <a:pt x="438" y="822"/>
                      </a:lnTo>
                      <a:lnTo>
                        <a:pt x="432" y="816"/>
                      </a:lnTo>
                      <a:lnTo>
                        <a:pt x="450" y="798"/>
                      </a:lnTo>
                      <a:lnTo>
                        <a:pt x="444" y="798"/>
                      </a:lnTo>
                      <a:lnTo>
                        <a:pt x="438" y="804"/>
                      </a:lnTo>
                      <a:lnTo>
                        <a:pt x="420" y="804"/>
                      </a:lnTo>
                      <a:lnTo>
                        <a:pt x="408" y="810"/>
                      </a:lnTo>
                      <a:lnTo>
                        <a:pt x="390" y="828"/>
                      </a:lnTo>
                      <a:close/>
                      <a:moveTo>
                        <a:pt x="300" y="900"/>
                      </a:moveTo>
                      <a:lnTo>
                        <a:pt x="300" y="912"/>
                      </a:lnTo>
                      <a:lnTo>
                        <a:pt x="294" y="924"/>
                      </a:lnTo>
                      <a:lnTo>
                        <a:pt x="300" y="918"/>
                      </a:lnTo>
                      <a:lnTo>
                        <a:pt x="312" y="912"/>
                      </a:lnTo>
                      <a:lnTo>
                        <a:pt x="318" y="900"/>
                      </a:lnTo>
                      <a:lnTo>
                        <a:pt x="318" y="894"/>
                      </a:lnTo>
                      <a:lnTo>
                        <a:pt x="324" y="888"/>
                      </a:lnTo>
                      <a:lnTo>
                        <a:pt x="324" y="882"/>
                      </a:lnTo>
                      <a:lnTo>
                        <a:pt x="342" y="858"/>
                      </a:lnTo>
                      <a:lnTo>
                        <a:pt x="336" y="840"/>
                      </a:lnTo>
                      <a:lnTo>
                        <a:pt x="330" y="852"/>
                      </a:lnTo>
                      <a:lnTo>
                        <a:pt x="312" y="870"/>
                      </a:lnTo>
                      <a:lnTo>
                        <a:pt x="300" y="894"/>
                      </a:lnTo>
                      <a:lnTo>
                        <a:pt x="300" y="900"/>
                      </a:lnTo>
                      <a:close/>
                    </a:path>
                  </a:pathLst>
                </a:custGeom>
                <a:solidFill>
                  <a:schemeClr val="accent1"/>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547" name="Swaziland"/>
                <p:cNvSpPr>
                  <a:spLocks/>
                </p:cNvSpPr>
                <p:nvPr/>
              </p:nvSpPr>
              <p:spPr bwMode="gray">
                <a:xfrm>
                  <a:off x="3203" y="2840"/>
                  <a:ext cx="26" cy="34"/>
                </a:xfrm>
                <a:custGeom>
                  <a:avLst/>
                  <a:gdLst>
                    <a:gd name="T0" fmla="*/ 2147483647 w 102"/>
                    <a:gd name="T1" fmla="*/ 2147483647 h 132"/>
                    <a:gd name="T2" fmla="*/ 2147483647 w 102"/>
                    <a:gd name="T3" fmla="*/ 2147483647 h 132"/>
                    <a:gd name="T4" fmla="*/ 2147483647 w 102"/>
                    <a:gd name="T5" fmla="*/ 2147483647 h 132"/>
                    <a:gd name="T6" fmla="*/ 2147483647 w 102"/>
                    <a:gd name="T7" fmla="*/ 2147483647 h 132"/>
                    <a:gd name="T8" fmla="*/ 2147483647 w 102"/>
                    <a:gd name="T9" fmla="*/ 2147483647 h 132"/>
                    <a:gd name="T10" fmla="*/ 2147483647 w 102"/>
                    <a:gd name="T11" fmla="*/ 0 h 132"/>
                    <a:gd name="T12" fmla="*/ 2147483647 w 102"/>
                    <a:gd name="T13" fmla="*/ 0 h 132"/>
                    <a:gd name="T14" fmla="*/ 2147483647 w 102"/>
                    <a:gd name="T15" fmla="*/ 2147483647 h 132"/>
                    <a:gd name="T16" fmla="*/ 2147483647 w 102"/>
                    <a:gd name="T17" fmla="*/ 2147483647 h 132"/>
                    <a:gd name="T18" fmla="*/ 2147483647 w 102"/>
                    <a:gd name="T19" fmla="*/ 2147483647 h 132"/>
                    <a:gd name="T20" fmla="*/ 2147483647 w 102"/>
                    <a:gd name="T21" fmla="*/ 2147483647 h 132"/>
                    <a:gd name="T22" fmla="*/ 0 w 102"/>
                    <a:gd name="T23" fmla="*/ 2147483647 h 132"/>
                    <a:gd name="T24" fmla="*/ 0 w 102"/>
                    <a:gd name="T25" fmla="*/ 2147483647 h 132"/>
                    <a:gd name="T26" fmla="*/ 2147483647 w 102"/>
                    <a:gd name="T27" fmla="*/ 2147483647 h 132"/>
                    <a:gd name="T28" fmla="*/ 2147483647 w 102"/>
                    <a:gd name="T29" fmla="*/ 2147483647 h 132"/>
                    <a:gd name="T30" fmla="*/ 2147483647 w 102"/>
                    <a:gd name="T31" fmla="*/ 2147483647 h 132"/>
                    <a:gd name="T32" fmla="*/ 2147483647 w 102"/>
                    <a:gd name="T33" fmla="*/ 2147483647 h 132"/>
                    <a:gd name="T34" fmla="*/ 2147483647 w 102"/>
                    <a:gd name="T35" fmla="*/ 2147483647 h 132"/>
                    <a:gd name="T36" fmla="*/ 2147483647 w 102"/>
                    <a:gd name="T37" fmla="*/ 2147483647 h 132"/>
                    <a:gd name="T38" fmla="*/ 2147483647 w 102"/>
                    <a:gd name="T39" fmla="*/ 2147483647 h 132"/>
                    <a:gd name="T40" fmla="*/ 2147483647 w 102"/>
                    <a:gd name="T41" fmla="*/ 2147483647 h 132"/>
                    <a:gd name="T42" fmla="*/ 2147483647 w 102"/>
                    <a:gd name="T43" fmla="*/ 2147483647 h 132"/>
                    <a:gd name="T44" fmla="*/ 2147483647 w 102"/>
                    <a:gd name="T45" fmla="*/ 2147483647 h 132"/>
                    <a:gd name="T46" fmla="*/ 2147483647 w 102"/>
                    <a:gd name="T47" fmla="*/ 2147483647 h 132"/>
                    <a:gd name="T48" fmla="*/ 2147483647 w 102"/>
                    <a:gd name="T49" fmla="*/ 2147483647 h 1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02"/>
                    <a:gd name="T76" fmla="*/ 0 h 132"/>
                    <a:gd name="T77" fmla="*/ 102 w 102"/>
                    <a:gd name="T78" fmla="*/ 132 h 13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02" h="132">
                      <a:moveTo>
                        <a:pt x="84" y="54"/>
                      </a:moveTo>
                      <a:lnTo>
                        <a:pt x="84" y="30"/>
                      </a:lnTo>
                      <a:lnTo>
                        <a:pt x="90" y="18"/>
                      </a:lnTo>
                      <a:lnTo>
                        <a:pt x="66" y="18"/>
                      </a:lnTo>
                      <a:lnTo>
                        <a:pt x="54" y="6"/>
                      </a:lnTo>
                      <a:lnTo>
                        <a:pt x="42" y="0"/>
                      </a:lnTo>
                      <a:lnTo>
                        <a:pt x="36" y="0"/>
                      </a:lnTo>
                      <a:lnTo>
                        <a:pt x="24" y="12"/>
                      </a:lnTo>
                      <a:lnTo>
                        <a:pt x="18" y="24"/>
                      </a:lnTo>
                      <a:lnTo>
                        <a:pt x="18" y="36"/>
                      </a:lnTo>
                      <a:lnTo>
                        <a:pt x="6" y="48"/>
                      </a:lnTo>
                      <a:lnTo>
                        <a:pt x="0" y="60"/>
                      </a:lnTo>
                      <a:lnTo>
                        <a:pt x="0" y="84"/>
                      </a:lnTo>
                      <a:lnTo>
                        <a:pt x="12" y="108"/>
                      </a:lnTo>
                      <a:lnTo>
                        <a:pt x="24" y="114"/>
                      </a:lnTo>
                      <a:lnTo>
                        <a:pt x="36" y="126"/>
                      </a:lnTo>
                      <a:lnTo>
                        <a:pt x="54" y="126"/>
                      </a:lnTo>
                      <a:lnTo>
                        <a:pt x="66" y="132"/>
                      </a:lnTo>
                      <a:lnTo>
                        <a:pt x="78" y="132"/>
                      </a:lnTo>
                      <a:lnTo>
                        <a:pt x="90" y="90"/>
                      </a:lnTo>
                      <a:lnTo>
                        <a:pt x="96" y="90"/>
                      </a:lnTo>
                      <a:lnTo>
                        <a:pt x="102" y="84"/>
                      </a:lnTo>
                      <a:lnTo>
                        <a:pt x="96" y="60"/>
                      </a:lnTo>
                      <a:lnTo>
                        <a:pt x="90" y="60"/>
                      </a:lnTo>
                      <a:lnTo>
                        <a:pt x="84" y="54"/>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548" name="Suriname"/>
                <p:cNvSpPr>
                  <a:spLocks/>
                </p:cNvSpPr>
                <p:nvPr/>
              </p:nvSpPr>
              <p:spPr bwMode="gray">
                <a:xfrm>
                  <a:off x="1596" y="2187"/>
                  <a:ext cx="75" cy="86"/>
                </a:xfrm>
                <a:custGeom>
                  <a:avLst/>
                  <a:gdLst>
                    <a:gd name="T0" fmla="*/ 2147483647 w 294"/>
                    <a:gd name="T1" fmla="*/ 2147483647 h 336"/>
                    <a:gd name="T2" fmla="*/ 2147483647 w 294"/>
                    <a:gd name="T3" fmla="*/ 2147483647 h 336"/>
                    <a:gd name="T4" fmla="*/ 2147483647 w 294"/>
                    <a:gd name="T5" fmla="*/ 2147483647 h 336"/>
                    <a:gd name="T6" fmla="*/ 0 w 294"/>
                    <a:gd name="T7" fmla="*/ 2147483647 h 336"/>
                    <a:gd name="T8" fmla="*/ 2147483647 w 294"/>
                    <a:gd name="T9" fmla="*/ 2147483647 h 336"/>
                    <a:gd name="T10" fmla="*/ 2147483647 w 294"/>
                    <a:gd name="T11" fmla="*/ 2147483647 h 336"/>
                    <a:gd name="T12" fmla="*/ 2147483647 w 294"/>
                    <a:gd name="T13" fmla="*/ 2147483647 h 336"/>
                    <a:gd name="T14" fmla="*/ 2147483647 w 294"/>
                    <a:gd name="T15" fmla="*/ 2147483647 h 336"/>
                    <a:gd name="T16" fmla="*/ 2147483647 w 294"/>
                    <a:gd name="T17" fmla="*/ 2147483647 h 336"/>
                    <a:gd name="T18" fmla="*/ 2147483647 w 294"/>
                    <a:gd name="T19" fmla="*/ 2147483647 h 336"/>
                    <a:gd name="T20" fmla="*/ 2147483647 w 294"/>
                    <a:gd name="T21" fmla="*/ 2147483647 h 336"/>
                    <a:gd name="T22" fmla="*/ 2147483647 w 294"/>
                    <a:gd name="T23" fmla="*/ 2147483647 h 336"/>
                    <a:gd name="T24" fmla="*/ 2147483647 w 294"/>
                    <a:gd name="T25" fmla="*/ 2147483647 h 336"/>
                    <a:gd name="T26" fmla="*/ 2147483647 w 294"/>
                    <a:gd name="T27" fmla="*/ 2147483647 h 336"/>
                    <a:gd name="T28" fmla="*/ 2147483647 w 294"/>
                    <a:gd name="T29" fmla="*/ 2147483647 h 336"/>
                    <a:gd name="T30" fmla="*/ 2147483647 w 294"/>
                    <a:gd name="T31" fmla="*/ 2147483647 h 336"/>
                    <a:gd name="T32" fmla="*/ 2147483647 w 294"/>
                    <a:gd name="T33" fmla="*/ 2147483647 h 336"/>
                    <a:gd name="T34" fmla="*/ 2147483647 w 294"/>
                    <a:gd name="T35" fmla="*/ 2147483647 h 336"/>
                    <a:gd name="T36" fmla="*/ 2147483647 w 294"/>
                    <a:gd name="T37" fmla="*/ 2147483647 h 336"/>
                    <a:gd name="T38" fmla="*/ 2147483647 w 294"/>
                    <a:gd name="T39" fmla="*/ 2147483647 h 336"/>
                    <a:gd name="T40" fmla="*/ 2147483647 w 294"/>
                    <a:gd name="T41" fmla="*/ 2147483647 h 336"/>
                    <a:gd name="T42" fmla="*/ 2147483647 w 294"/>
                    <a:gd name="T43" fmla="*/ 2147483647 h 336"/>
                    <a:gd name="T44" fmla="*/ 2147483647 w 294"/>
                    <a:gd name="T45" fmla="*/ 2147483647 h 336"/>
                    <a:gd name="T46" fmla="*/ 2147483647 w 294"/>
                    <a:gd name="T47" fmla="*/ 2147483647 h 336"/>
                    <a:gd name="T48" fmla="*/ 2147483647 w 294"/>
                    <a:gd name="T49" fmla="*/ 2147483647 h 336"/>
                    <a:gd name="T50" fmla="*/ 2147483647 w 294"/>
                    <a:gd name="T51" fmla="*/ 2147483647 h 336"/>
                    <a:gd name="T52" fmla="*/ 2147483647 w 294"/>
                    <a:gd name="T53" fmla="*/ 2147483647 h 336"/>
                    <a:gd name="T54" fmla="*/ 2147483647 w 294"/>
                    <a:gd name="T55" fmla="*/ 2147483647 h 336"/>
                    <a:gd name="T56" fmla="*/ 2147483647 w 294"/>
                    <a:gd name="T57" fmla="*/ 2147483647 h 336"/>
                    <a:gd name="T58" fmla="*/ 2147483647 w 294"/>
                    <a:gd name="T59" fmla="*/ 2147483647 h 336"/>
                    <a:gd name="T60" fmla="*/ 2147483647 w 294"/>
                    <a:gd name="T61" fmla="*/ 2147483647 h 336"/>
                    <a:gd name="T62" fmla="*/ 2147483647 w 294"/>
                    <a:gd name="T63" fmla="*/ 2147483647 h 336"/>
                    <a:gd name="T64" fmla="*/ 2147483647 w 294"/>
                    <a:gd name="T65" fmla="*/ 2147483647 h 336"/>
                    <a:gd name="T66" fmla="*/ 2147483647 w 294"/>
                    <a:gd name="T67" fmla="*/ 2147483647 h 336"/>
                    <a:gd name="T68" fmla="*/ 2147483647 w 294"/>
                    <a:gd name="T69" fmla="*/ 2147483647 h 336"/>
                    <a:gd name="T70" fmla="*/ 2147483647 w 294"/>
                    <a:gd name="T71" fmla="*/ 0 h 336"/>
                    <a:gd name="T72" fmla="*/ 2147483647 w 294"/>
                    <a:gd name="T73" fmla="*/ 2147483647 h 336"/>
                    <a:gd name="T74" fmla="*/ 2147483647 w 294"/>
                    <a:gd name="T75" fmla="*/ 2147483647 h 336"/>
                    <a:gd name="T76" fmla="*/ 2147483647 w 294"/>
                    <a:gd name="T77" fmla="*/ 2147483647 h 336"/>
                    <a:gd name="T78" fmla="*/ 2147483647 w 294"/>
                    <a:gd name="T79" fmla="*/ 2147483647 h 336"/>
                    <a:gd name="T80" fmla="*/ 2147483647 w 294"/>
                    <a:gd name="T81" fmla="*/ 2147483647 h 336"/>
                    <a:gd name="T82" fmla="*/ 2147483647 w 294"/>
                    <a:gd name="T83" fmla="*/ 2147483647 h 3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94"/>
                    <a:gd name="T127" fmla="*/ 0 h 336"/>
                    <a:gd name="T128" fmla="*/ 294 w 294"/>
                    <a:gd name="T129" fmla="*/ 336 h 3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94" h="336">
                      <a:moveTo>
                        <a:pt x="60" y="78"/>
                      </a:moveTo>
                      <a:lnTo>
                        <a:pt x="30" y="78"/>
                      </a:lnTo>
                      <a:lnTo>
                        <a:pt x="18" y="84"/>
                      </a:lnTo>
                      <a:lnTo>
                        <a:pt x="12" y="90"/>
                      </a:lnTo>
                      <a:lnTo>
                        <a:pt x="12" y="132"/>
                      </a:lnTo>
                      <a:lnTo>
                        <a:pt x="6" y="138"/>
                      </a:lnTo>
                      <a:lnTo>
                        <a:pt x="0" y="150"/>
                      </a:lnTo>
                      <a:lnTo>
                        <a:pt x="0" y="162"/>
                      </a:lnTo>
                      <a:lnTo>
                        <a:pt x="6" y="168"/>
                      </a:lnTo>
                      <a:lnTo>
                        <a:pt x="6" y="174"/>
                      </a:lnTo>
                      <a:lnTo>
                        <a:pt x="12" y="174"/>
                      </a:lnTo>
                      <a:lnTo>
                        <a:pt x="12" y="186"/>
                      </a:lnTo>
                      <a:lnTo>
                        <a:pt x="18" y="198"/>
                      </a:lnTo>
                      <a:lnTo>
                        <a:pt x="24" y="204"/>
                      </a:lnTo>
                      <a:lnTo>
                        <a:pt x="30" y="216"/>
                      </a:lnTo>
                      <a:lnTo>
                        <a:pt x="42" y="216"/>
                      </a:lnTo>
                      <a:lnTo>
                        <a:pt x="42" y="210"/>
                      </a:lnTo>
                      <a:lnTo>
                        <a:pt x="54" y="198"/>
                      </a:lnTo>
                      <a:lnTo>
                        <a:pt x="54" y="216"/>
                      </a:lnTo>
                      <a:lnTo>
                        <a:pt x="48" y="222"/>
                      </a:lnTo>
                      <a:lnTo>
                        <a:pt x="48" y="246"/>
                      </a:lnTo>
                      <a:lnTo>
                        <a:pt x="54" y="258"/>
                      </a:lnTo>
                      <a:lnTo>
                        <a:pt x="72" y="276"/>
                      </a:lnTo>
                      <a:lnTo>
                        <a:pt x="78" y="294"/>
                      </a:lnTo>
                      <a:lnTo>
                        <a:pt x="84" y="306"/>
                      </a:lnTo>
                      <a:lnTo>
                        <a:pt x="90" y="312"/>
                      </a:lnTo>
                      <a:lnTo>
                        <a:pt x="90" y="318"/>
                      </a:lnTo>
                      <a:lnTo>
                        <a:pt x="102" y="324"/>
                      </a:lnTo>
                      <a:lnTo>
                        <a:pt x="108" y="324"/>
                      </a:lnTo>
                      <a:lnTo>
                        <a:pt x="132" y="336"/>
                      </a:lnTo>
                      <a:lnTo>
                        <a:pt x="150" y="336"/>
                      </a:lnTo>
                      <a:lnTo>
                        <a:pt x="156" y="330"/>
                      </a:lnTo>
                      <a:lnTo>
                        <a:pt x="150" y="324"/>
                      </a:lnTo>
                      <a:lnTo>
                        <a:pt x="150" y="318"/>
                      </a:lnTo>
                      <a:lnTo>
                        <a:pt x="138" y="306"/>
                      </a:lnTo>
                      <a:lnTo>
                        <a:pt x="138" y="282"/>
                      </a:lnTo>
                      <a:lnTo>
                        <a:pt x="150" y="276"/>
                      </a:lnTo>
                      <a:lnTo>
                        <a:pt x="156" y="276"/>
                      </a:lnTo>
                      <a:lnTo>
                        <a:pt x="156" y="288"/>
                      </a:lnTo>
                      <a:lnTo>
                        <a:pt x="180" y="288"/>
                      </a:lnTo>
                      <a:lnTo>
                        <a:pt x="192" y="282"/>
                      </a:lnTo>
                      <a:lnTo>
                        <a:pt x="198" y="276"/>
                      </a:lnTo>
                      <a:lnTo>
                        <a:pt x="210" y="270"/>
                      </a:lnTo>
                      <a:lnTo>
                        <a:pt x="216" y="270"/>
                      </a:lnTo>
                      <a:lnTo>
                        <a:pt x="222" y="282"/>
                      </a:lnTo>
                      <a:lnTo>
                        <a:pt x="228" y="288"/>
                      </a:lnTo>
                      <a:lnTo>
                        <a:pt x="246" y="294"/>
                      </a:lnTo>
                      <a:lnTo>
                        <a:pt x="252" y="282"/>
                      </a:lnTo>
                      <a:lnTo>
                        <a:pt x="258" y="276"/>
                      </a:lnTo>
                      <a:lnTo>
                        <a:pt x="258" y="264"/>
                      </a:lnTo>
                      <a:lnTo>
                        <a:pt x="264" y="264"/>
                      </a:lnTo>
                      <a:lnTo>
                        <a:pt x="276" y="258"/>
                      </a:lnTo>
                      <a:lnTo>
                        <a:pt x="270" y="222"/>
                      </a:lnTo>
                      <a:lnTo>
                        <a:pt x="288" y="204"/>
                      </a:lnTo>
                      <a:lnTo>
                        <a:pt x="288" y="198"/>
                      </a:lnTo>
                      <a:lnTo>
                        <a:pt x="282" y="186"/>
                      </a:lnTo>
                      <a:lnTo>
                        <a:pt x="264" y="168"/>
                      </a:lnTo>
                      <a:lnTo>
                        <a:pt x="258" y="156"/>
                      </a:lnTo>
                      <a:lnTo>
                        <a:pt x="258" y="144"/>
                      </a:lnTo>
                      <a:lnTo>
                        <a:pt x="252" y="126"/>
                      </a:lnTo>
                      <a:lnTo>
                        <a:pt x="252" y="96"/>
                      </a:lnTo>
                      <a:lnTo>
                        <a:pt x="258" y="78"/>
                      </a:lnTo>
                      <a:lnTo>
                        <a:pt x="264" y="66"/>
                      </a:lnTo>
                      <a:lnTo>
                        <a:pt x="276" y="60"/>
                      </a:lnTo>
                      <a:lnTo>
                        <a:pt x="282" y="54"/>
                      </a:lnTo>
                      <a:lnTo>
                        <a:pt x="288" y="54"/>
                      </a:lnTo>
                      <a:lnTo>
                        <a:pt x="288" y="30"/>
                      </a:lnTo>
                      <a:lnTo>
                        <a:pt x="294" y="12"/>
                      </a:lnTo>
                      <a:lnTo>
                        <a:pt x="288" y="12"/>
                      </a:lnTo>
                      <a:lnTo>
                        <a:pt x="282" y="6"/>
                      </a:lnTo>
                      <a:lnTo>
                        <a:pt x="270" y="6"/>
                      </a:lnTo>
                      <a:lnTo>
                        <a:pt x="252" y="0"/>
                      </a:lnTo>
                      <a:lnTo>
                        <a:pt x="210" y="0"/>
                      </a:lnTo>
                      <a:lnTo>
                        <a:pt x="204" y="12"/>
                      </a:lnTo>
                      <a:lnTo>
                        <a:pt x="156" y="6"/>
                      </a:lnTo>
                      <a:lnTo>
                        <a:pt x="156" y="18"/>
                      </a:lnTo>
                      <a:lnTo>
                        <a:pt x="96" y="0"/>
                      </a:lnTo>
                      <a:lnTo>
                        <a:pt x="72" y="6"/>
                      </a:lnTo>
                      <a:lnTo>
                        <a:pt x="66" y="18"/>
                      </a:lnTo>
                      <a:lnTo>
                        <a:pt x="60" y="24"/>
                      </a:lnTo>
                      <a:lnTo>
                        <a:pt x="54" y="36"/>
                      </a:lnTo>
                      <a:lnTo>
                        <a:pt x="54" y="48"/>
                      </a:lnTo>
                      <a:lnTo>
                        <a:pt x="66" y="60"/>
                      </a:lnTo>
                      <a:lnTo>
                        <a:pt x="66" y="72"/>
                      </a:lnTo>
                      <a:lnTo>
                        <a:pt x="60" y="78"/>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549" name="Sudan"/>
                <p:cNvSpPr>
                  <a:spLocks/>
                </p:cNvSpPr>
                <p:nvPr/>
              </p:nvSpPr>
              <p:spPr bwMode="gray">
                <a:xfrm>
                  <a:off x="3049" y="1834"/>
                  <a:ext cx="298" cy="405"/>
                </a:xfrm>
                <a:custGeom>
                  <a:avLst/>
                  <a:gdLst>
                    <a:gd name="T0" fmla="*/ 2147483647 w 1164"/>
                    <a:gd name="T1" fmla="*/ 2147483647 h 1584"/>
                    <a:gd name="T2" fmla="*/ 2147483647 w 1164"/>
                    <a:gd name="T3" fmla="*/ 2147483647 h 1584"/>
                    <a:gd name="T4" fmla="*/ 2147483647 w 1164"/>
                    <a:gd name="T5" fmla="*/ 2147483647 h 1584"/>
                    <a:gd name="T6" fmla="*/ 2147483647 w 1164"/>
                    <a:gd name="T7" fmla="*/ 2147483647 h 1584"/>
                    <a:gd name="T8" fmla="*/ 2147483647 w 1164"/>
                    <a:gd name="T9" fmla="*/ 2147483647 h 1584"/>
                    <a:gd name="T10" fmla="*/ 2147483647 w 1164"/>
                    <a:gd name="T11" fmla="*/ 2147483647 h 1584"/>
                    <a:gd name="T12" fmla="*/ 2147483647 w 1164"/>
                    <a:gd name="T13" fmla="*/ 2147483647 h 1584"/>
                    <a:gd name="T14" fmla="*/ 2147483647 w 1164"/>
                    <a:gd name="T15" fmla="*/ 2147483647 h 1584"/>
                    <a:gd name="T16" fmla="*/ 0 w 1164"/>
                    <a:gd name="T17" fmla="*/ 2147483647 h 1584"/>
                    <a:gd name="T18" fmla="*/ 2147483647 w 1164"/>
                    <a:gd name="T19" fmla="*/ 2147483647 h 1584"/>
                    <a:gd name="T20" fmla="*/ 2147483647 w 1164"/>
                    <a:gd name="T21" fmla="*/ 2147483647 h 1584"/>
                    <a:gd name="T22" fmla="*/ 2147483647 w 1164"/>
                    <a:gd name="T23" fmla="*/ 2147483647 h 1584"/>
                    <a:gd name="T24" fmla="*/ 2147483647 w 1164"/>
                    <a:gd name="T25" fmla="*/ 2147483647 h 1584"/>
                    <a:gd name="T26" fmla="*/ 2147483647 w 1164"/>
                    <a:gd name="T27" fmla="*/ 2147483647 h 1584"/>
                    <a:gd name="T28" fmla="*/ 2147483647 w 1164"/>
                    <a:gd name="T29" fmla="*/ 2147483647 h 1584"/>
                    <a:gd name="T30" fmla="*/ 2147483647 w 1164"/>
                    <a:gd name="T31" fmla="*/ 2147483647 h 1584"/>
                    <a:gd name="T32" fmla="*/ 2147483647 w 1164"/>
                    <a:gd name="T33" fmla="*/ 2147483647 h 1584"/>
                    <a:gd name="T34" fmla="*/ 2147483647 w 1164"/>
                    <a:gd name="T35" fmla="*/ 2147483647 h 1584"/>
                    <a:gd name="T36" fmla="*/ 2147483647 w 1164"/>
                    <a:gd name="T37" fmla="*/ 2147483647 h 1584"/>
                    <a:gd name="T38" fmla="*/ 2147483647 w 1164"/>
                    <a:gd name="T39" fmla="*/ 2147483647 h 1584"/>
                    <a:gd name="T40" fmla="*/ 2147483647 w 1164"/>
                    <a:gd name="T41" fmla="*/ 2147483647 h 1584"/>
                    <a:gd name="T42" fmla="*/ 2147483647 w 1164"/>
                    <a:gd name="T43" fmla="*/ 2147483647 h 1584"/>
                    <a:gd name="T44" fmla="*/ 2147483647 w 1164"/>
                    <a:gd name="T45" fmla="*/ 2147483647 h 1584"/>
                    <a:gd name="T46" fmla="*/ 2147483647 w 1164"/>
                    <a:gd name="T47" fmla="*/ 2147483647 h 1584"/>
                    <a:gd name="T48" fmla="*/ 2147483647 w 1164"/>
                    <a:gd name="T49" fmla="*/ 2147483647 h 1584"/>
                    <a:gd name="T50" fmla="*/ 2147483647 w 1164"/>
                    <a:gd name="T51" fmla="*/ 2147483647 h 1584"/>
                    <a:gd name="T52" fmla="*/ 2147483647 w 1164"/>
                    <a:gd name="T53" fmla="*/ 2147483647 h 1584"/>
                    <a:gd name="T54" fmla="*/ 2147483647 w 1164"/>
                    <a:gd name="T55" fmla="*/ 2147483647 h 1584"/>
                    <a:gd name="T56" fmla="*/ 2147483647 w 1164"/>
                    <a:gd name="T57" fmla="*/ 2147483647 h 1584"/>
                    <a:gd name="T58" fmla="*/ 2147483647 w 1164"/>
                    <a:gd name="T59" fmla="*/ 2147483647 h 1584"/>
                    <a:gd name="T60" fmla="*/ 2147483647 w 1164"/>
                    <a:gd name="T61" fmla="*/ 2147483647 h 1584"/>
                    <a:gd name="T62" fmla="*/ 2147483647 w 1164"/>
                    <a:gd name="T63" fmla="*/ 2147483647 h 1584"/>
                    <a:gd name="T64" fmla="*/ 2147483647 w 1164"/>
                    <a:gd name="T65" fmla="*/ 2147483647 h 1584"/>
                    <a:gd name="T66" fmla="*/ 2147483647 w 1164"/>
                    <a:gd name="T67" fmla="*/ 2147483647 h 1584"/>
                    <a:gd name="T68" fmla="*/ 2147483647 w 1164"/>
                    <a:gd name="T69" fmla="*/ 2147483647 h 1584"/>
                    <a:gd name="T70" fmla="*/ 2147483647 w 1164"/>
                    <a:gd name="T71" fmla="*/ 2147483647 h 1584"/>
                    <a:gd name="T72" fmla="*/ 2147483647 w 1164"/>
                    <a:gd name="T73" fmla="*/ 2147483647 h 1584"/>
                    <a:gd name="T74" fmla="*/ 2147483647 w 1164"/>
                    <a:gd name="T75" fmla="*/ 2147483647 h 1584"/>
                    <a:gd name="T76" fmla="*/ 2147483647 w 1164"/>
                    <a:gd name="T77" fmla="*/ 2147483647 h 1584"/>
                    <a:gd name="T78" fmla="*/ 2147483647 w 1164"/>
                    <a:gd name="T79" fmla="*/ 2147483647 h 1584"/>
                    <a:gd name="T80" fmla="*/ 2147483647 w 1164"/>
                    <a:gd name="T81" fmla="*/ 2147483647 h 1584"/>
                    <a:gd name="T82" fmla="*/ 2147483647 w 1164"/>
                    <a:gd name="T83" fmla="*/ 2147483647 h 1584"/>
                    <a:gd name="T84" fmla="*/ 2147483647 w 1164"/>
                    <a:gd name="T85" fmla="*/ 2147483647 h 1584"/>
                    <a:gd name="T86" fmla="*/ 2147483647 w 1164"/>
                    <a:gd name="T87" fmla="*/ 2147483647 h 1584"/>
                    <a:gd name="T88" fmla="*/ 2147483647 w 1164"/>
                    <a:gd name="T89" fmla="*/ 2147483647 h 1584"/>
                    <a:gd name="T90" fmla="*/ 2147483647 w 1164"/>
                    <a:gd name="T91" fmla="*/ 2147483647 h 1584"/>
                    <a:gd name="T92" fmla="*/ 2147483647 w 1164"/>
                    <a:gd name="T93" fmla="*/ 2147483647 h 1584"/>
                    <a:gd name="T94" fmla="*/ 2147483647 w 1164"/>
                    <a:gd name="T95" fmla="*/ 2147483647 h 1584"/>
                    <a:gd name="T96" fmla="*/ 2147483647 w 1164"/>
                    <a:gd name="T97" fmla="*/ 2147483647 h 1584"/>
                    <a:gd name="T98" fmla="*/ 2147483647 w 1164"/>
                    <a:gd name="T99" fmla="*/ 2147483647 h 1584"/>
                    <a:gd name="T100" fmla="*/ 2147483647 w 1164"/>
                    <a:gd name="T101" fmla="*/ 2147483647 h 1584"/>
                    <a:gd name="T102" fmla="*/ 2147483647 w 1164"/>
                    <a:gd name="T103" fmla="*/ 2147483647 h 1584"/>
                    <a:gd name="T104" fmla="*/ 2147483647 w 1164"/>
                    <a:gd name="T105" fmla="*/ 2147483647 h 1584"/>
                    <a:gd name="T106" fmla="*/ 2147483647 w 1164"/>
                    <a:gd name="T107" fmla="*/ 2147483647 h 1584"/>
                    <a:gd name="T108" fmla="*/ 2147483647 w 1164"/>
                    <a:gd name="T109" fmla="*/ 2147483647 h 1584"/>
                    <a:gd name="T110" fmla="*/ 2147483647 w 1164"/>
                    <a:gd name="T111" fmla="*/ 2147483647 h 158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164"/>
                    <a:gd name="T169" fmla="*/ 0 h 1584"/>
                    <a:gd name="T170" fmla="*/ 1164 w 1164"/>
                    <a:gd name="T171" fmla="*/ 1584 h 158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164" h="1584">
                      <a:moveTo>
                        <a:pt x="894" y="24"/>
                      </a:moveTo>
                      <a:lnTo>
                        <a:pt x="894" y="48"/>
                      </a:lnTo>
                      <a:lnTo>
                        <a:pt x="888" y="60"/>
                      </a:lnTo>
                      <a:lnTo>
                        <a:pt x="882" y="66"/>
                      </a:lnTo>
                      <a:lnTo>
                        <a:pt x="864" y="66"/>
                      </a:lnTo>
                      <a:lnTo>
                        <a:pt x="858" y="72"/>
                      </a:lnTo>
                      <a:lnTo>
                        <a:pt x="846" y="72"/>
                      </a:lnTo>
                      <a:lnTo>
                        <a:pt x="834" y="84"/>
                      </a:lnTo>
                      <a:lnTo>
                        <a:pt x="822" y="108"/>
                      </a:lnTo>
                      <a:lnTo>
                        <a:pt x="816" y="114"/>
                      </a:lnTo>
                      <a:lnTo>
                        <a:pt x="798" y="114"/>
                      </a:lnTo>
                      <a:lnTo>
                        <a:pt x="792" y="108"/>
                      </a:lnTo>
                      <a:lnTo>
                        <a:pt x="786" y="96"/>
                      </a:lnTo>
                      <a:lnTo>
                        <a:pt x="780" y="90"/>
                      </a:lnTo>
                      <a:lnTo>
                        <a:pt x="660" y="84"/>
                      </a:lnTo>
                      <a:lnTo>
                        <a:pt x="660" y="72"/>
                      </a:lnTo>
                      <a:lnTo>
                        <a:pt x="654" y="72"/>
                      </a:lnTo>
                      <a:lnTo>
                        <a:pt x="636" y="90"/>
                      </a:lnTo>
                      <a:lnTo>
                        <a:pt x="210" y="84"/>
                      </a:lnTo>
                      <a:lnTo>
                        <a:pt x="210" y="246"/>
                      </a:lnTo>
                      <a:lnTo>
                        <a:pt x="138" y="246"/>
                      </a:lnTo>
                      <a:lnTo>
                        <a:pt x="144" y="600"/>
                      </a:lnTo>
                      <a:lnTo>
                        <a:pt x="132" y="600"/>
                      </a:lnTo>
                      <a:lnTo>
                        <a:pt x="120" y="594"/>
                      </a:lnTo>
                      <a:lnTo>
                        <a:pt x="78" y="594"/>
                      </a:lnTo>
                      <a:lnTo>
                        <a:pt x="66" y="606"/>
                      </a:lnTo>
                      <a:lnTo>
                        <a:pt x="72" y="612"/>
                      </a:lnTo>
                      <a:lnTo>
                        <a:pt x="72" y="624"/>
                      </a:lnTo>
                      <a:lnTo>
                        <a:pt x="78" y="630"/>
                      </a:lnTo>
                      <a:lnTo>
                        <a:pt x="78" y="636"/>
                      </a:lnTo>
                      <a:lnTo>
                        <a:pt x="72" y="642"/>
                      </a:lnTo>
                      <a:lnTo>
                        <a:pt x="60" y="648"/>
                      </a:lnTo>
                      <a:lnTo>
                        <a:pt x="48" y="660"/>
                      </a:lnTo>
                      <a:lnTo>
                        <a:pt x="48" y="678"/>
                      </a:lnTo>
                      <a:lnTo>
                        <a:pt x="36" y="678"/>
                      </a:lnTo>
                      <a:lnTo>
                        <a:pt x="42" y="702"/>
                      </a:lnTo>
                      <a:lnTo>
                        <a:pt x="48" y="720"/>
                      </a:lnTo>
                      <a:lnTo>
                        <a:pt x="30" y="732"/>
                      </a:lnTo>
                      <a:lnTo>
                        <a:pt x="12" y="750"/>
                      </a:lnTo>
                      <a:lnTo>
                        <a:pt x="18" y="756"/>
                      </a:lnTo>
                      <a:lnTo>
                        <a:pt x="30" y="780"/>
                      </a:lnTo>
                      <a:lnTo>
                        <a:pt x="30" y="792"/>
                      </a:lnTo>
                      <a:lnTo>
                        <a:pt x="18" y="804"/>
                      </a:lnTo>
                      <a:lnTo>
                        <a:pt x="6" y="810"/>
                      </a:lnTo>
                      <a:lnTo>
                        <a:pt x="0" y="822"/>
                      </a:lnTo>
                      <a:lnTo>
                        <a:pt x="0" y="840"/>
                      </a:lnTo>
                      <a:lnTo>
                        <a:pt x="6" y="846"/>
                      </a:lnTo>
                      <a:lnTo>
                        <a:pt x="18" y="846"/>
                      </a:lnTo>
                      <a:lnTo>
                        <a:pt x="24" y="840"/>
                      </a:lnTo>
                      <a:lnTo>
                        <a:pt x="36" y="840"/>
                      </a:lnTo>
                      <a:lnTo>
                        <a:pt x="42" y="846"/>
                      </a:lnTo>
                      <a:lnTo>
                        <a:pt x="42" y="888"/>
                      </a:lnTo>
                      <a:lnTo>
                        <a:pt x="60" y="900"/>
                      </a:lnTo>
                      <a:lnTo>
                        <a:pt x="42" y="906"/>
                      </a:lnTo>
                      <a:lnTo>
                        <a:pt x="48" y="930"/>
                      </a:lnTo>
                      <a:lnTo>
                        <a:pt x="54" y="930"/>
                      </a:lnTo>
                      <a:lnTo>
                        <a:pt x="66" y="936"/>
                      </a:lnTo>
                      <a:lnTo>
                        <a:pt x="78" y="954"/>
                      </a:lnTo>
                      <a:lnTo>
                        <a:pt x="84" y="960"/>
                      </a:lnTo>
                      <a:lnTo>
                        <a:pt x="84" y="966"/>
                      </a:lnTo>
                      <a:lnTo>
                        <a:pt x="72" y="966"/>
                      </a:lnTo>
                      <a:lnTo>
                        <a:pt x="72" y="990"/>
                      </a:lnTo>
                      <a:lnTo>
                        <a:pt x="102" y="1020"/>
                      </a:lnTo>
                      <a:lnTo>
                        <a:pt x="108" y="1032"/>
                      </a:lnTo>
                      <a:lnTo>
                        <a:pt x="120" y="1044"/>
                      </a:lnTo>
                      <a:lnTo>
                        <a:pt x="126" y="1062"/>
                      </a:lnTo>
                      <a:lnTo>
                        <a:pt x="132" y="1074"/>
                      </a:lnTo>
                      <a:lnTo>
                        <a:pt x="132" y="1104"/>
                      </a:lnTo>
                      <a:lnTo>
                        <a:pt x="126" y="1110"/>
                      </a:lnTo>
                      <a:lnTo>
                        <a:pt x="120" y="1122"/>
                      </a:lnTo>
                      <a:lnTo>
                        <a:pt x="114" y="1128"/>
                      </a:lnTo>
                      <a:lnTo>
                        <a:pt x="114" y="1134"/>
                      </a:lnTo>
                      <a:lnTo>
                        <a:pt x="120" y="1140"/>
                      </a:lnTo>
                      <a:lnTo>
                        <a:pt x="126" y="1140"/>
                      </a:lnTo>
                      <a:lnTo>
                        <a:pt x="120" y="1158"/>
                      </a:lnTo>
                      <a:lnTo>
                        <a:pt x="168" y="1164"/>
                      </a:lnTo>
                      <a:lnTo>
                        <a:pt x="168" y="1194"/>
                      </a:lnTo>
                      <a:lnTo>
                        <a:pt x="192" y="1206"/>
                      </a:lnTo>
                      <a:lnTo>
                        <a:pt x="222" y="1206"/>
                      </a:lnTo>
                      <a:lnTo>
                        <a:pt x="222" y="1224"/>
                      </a:lnTo>
                      <a:lnTo>
                        <a:pt x="228" y="1224"/>
                      </a:lnTo>
                      <a:lnTo>
                        <a:pt x="240" y="1230"/>
                      </a:lnTo>
                      <a:lnTo>
                        <a:pt x="252" y="1242"/>
                      </a:lnTo>
                      <a:lnTo>
                        <a:pt x="252" y="1248"/>
                      </a:lnTo>
                      <a:lnTo>
                        <a:pt x="246" y="1248"/>
                      </a:lnTo>
                      <a:lnTo>
                        <a:pt x="246" y="1254"/>
                      </a:lnTo>
                      <a:lnTo>
                        <a:pt x="240" y="1254"/>
                      </a:lnTo>
                      <a:lnTo>
                        <a:pt x="240" y="1260"/>
                      </a:lnTo>
                      <a:lnTo>
                        <a:pt x="252" y="1272"/>
                      </a:lnTo>
                      <a:lnTo>
                        <a:pt x="264" y="1278"/>
                      </a:lnTo>
                      <a:lnTo>
                        <a:pt x="270" y="1278"/>
                      </a:lnTo>
                      <a:lnTo>
                        <a:pt x="282" y="1284"/>
                      </a:lnTo>
                      <a:lnTo>
                        <a:pt x="294" y="1296"/>
                      </a:lnTo>
                      <a:lnTo>
                        <a:pt x="300" y="1308"/>
                      </a:lnTo>
                      <a:lnTo>
                        <a:pt x="306" y="1314"/>
                      </a:lnTo>
                      <a:lnTo>
                        <a:pt x="306" y="1320"/>
                      </a:lnTo>
                      <a:lnTo>
                        <a:pt x="324" y="1320"/>
                      </a:lnTo>
                      <a:lnTo>
                        <a:pt x="330" y="1326"/>
                      </a:lnTo>
                      <a:lnTo>
                        <a:pt x="330" y="1338"/>
                      </a:lnTo>
                      <a:lnTo>
                        <a:pt x="318" y="1338"/>
                      </a:lnTo>
                      <a:lnTo>
                        <a:pt x="318" y="1344"/>
                      </a:lnTo>
                      <a:lnTo>
                        <a:pt x="330" y="1356"/>
                      </a:lnTo>
                      <a:lnTo>
                        <a:pt x="330" y="1374"/>
                      </a:lnTo>
                      <a:lnTo>
                        <a:pt x="354" y="1380"/>
                      </a:lnTo>
                      <a:lnTo>
                        <a:pt x="360" y="1386"/>
                      </a:lnTo>
                      <a:lnTo>
                        <a:pt x="372" y="1392"/>
                      </a:lnTo>
                      <a:lnTo>
                        <a:pt x="378" y="1398"/>
                      </a:lnTo>
                      <a:lnTo>
                        <a:pt x="384" y="1410"/>
                      </a:lnTo>
                      <a:lnTo>
                        <a:pt x="384" y="1434"/>
                      </a:lnTo>
                      <a:lnTo>
                        <a:pt x="390" y="1446"/>
                      </a:lnTo>
                      <a:lnTo>
                        <a:pt x="420" y="1470"/>
                      </a:lnTo>
                      <a:lnTo>
                        <a:pt x="420" y="1494"/>
                      </a:lnTo>
                      <a:lnTo>
                        <a:pt x="468" y="1518"/>
                      </a:lnTo>
                      <a:lnTo>
                        <a:pt x="474" y="1512"/>
                      </a:lnTo>
                      <a:lnTo>
                        <a:pt x="480" y="1500"/>
                      </a:lnTo>
                      <a:lnTo>
                        <a:pt x="486" y="1494"/>
                      </a:lnTo>
                      <a:lnTo>
                        <a:pt x="498" y="1494"/>
                      </a:lnTo>
                      <a:lnTo>
                        <a:pt x="510" y="1500"/>
                      </a:lnTo>
                      <a:lnTo>
                        <a:pt x="510" y="1506"/>
                      </a:lnTo>
                      <a:lnTo>
                        <a:pt x="522" y="1512"/>
                      </a:lnTo>
                      <a:lnTo>
                        <a:pt x="528" y="1512"/>
                      </a:lnTo>
                      <a:lnTo>
                        <a:pt x="540" y="1500"/>
                      </a:lnTo>
                      <a:lnTo>
                        <a:pt x="540" y="1494"/>
                      </a:lnTo>
                      <a:lnTo>
                        <a:pt x="552" y="1482"/>
                      </a:lnTo>
                      <a:lnTo>
                        <a:pt x="558" y="1488"/>
                      </a:lnTo>
                      <a:lnTo>
                        <a:pt x="570" y="1494"/>
                      </a:lnTo>
                      <a:lnTo>
                        <a:pt x="576" y="1512"/>
                      </a:lnTo>
                      <a:lnTo>
                        <a:pt x="582" y="1524"/>
                      </a:lnTo>
                      <a:lnTo>
                        <a:pt x="594" y="1536"/>
                      </a:lnTo>
                      <a:lnTo>
                        <a:pt x="606" y="1542"/>
                      </a:lnTo>
                      <a:lnTo>
                        <a:pt x="612" y="1548"/>
                      </a:lnTo>
                      <a:lnTo>
                        <a:pt x="618" y="1548"/>
                      </a:lnTo>
                      <a:lnTo>
                        <a:pt x="624" y="1572"/>
                      </a:lnTo>
                      <a:lnTo>
                        <a:pt x="642" y="1572"/>
                      </a:lnTo>
                      <a:lnTo>
                        <a:pt x="660" y="1554"/>
                      </a:lnTo>
                      <a:lnTo>
                        <a:pt x="672" y="1554"/>
                      </a:lnTo>
                      <a:lnTo>
                        <a:pt x="678" y="1560"/>
                      </a:lnTo>
                      <a:lnTo>
                        <a:pt x="690" y="1566"/>
                      </a:lnTo>
                      <a:lnTo>
                        <a:pt x="702" y="1566"/>
                      </a:lnTo>
                      <a:lnTo>
                        <a:pt x="702" y="1560"/>
                      </a:lnTo>
                      <a:lnTo>
                        <a:pt x="708" y="1554"/>
                      </a:lnTo>
                      <a:lnTo>
                        <a:pt x="714" y="1554"/>
                      </a:lnTo>
                      <a:lnTo>
                        <a:pt x="738" y="1584"/>
                      </a:lnTo>
                      <a:lnTo>
                        <a:pt x="756" y="1560"/>
                      </a:lnTo>
                      <a:lnTo>
                        <a:pt x="780" y="1560"/>
                      </a:lnTo>
                      <a:lnTo>
                        <a:pt x="792" y="1548"/>
                      </a:lnTo>
                      <a:lnTo>
                        <a:pt x="804" y="1548"/>
                      </a:lnTo>
                      <a:lnTo>
                        <a:pt x="804" y="1554"/>
                      </a:lnTo>
                      <a:lnTo>
                        <a:pt x="810" y="1560"/>
                      </a:lnTo>
                      <a:lnTo>
                        <a:pt x="834" y="1560"/>
                      </a:lnTo>
                      <a:lnTo>
                        <a:pt x="852" y="1542"/>
                      </a:lnTo>
                      <a:lnTo>
                        <a:pt x="852" y="1536"/>
                      </a:lnTo>
                      <a:lnTo>
                        <a:pt x="858" y="1530"/>
                      </a:lnTo>
                      <a:lnTo>
                        <a:pt x="858" y="1524"/>
                      </a:lnTo>
                      <a:lnTo>
                        <a:pt x="870" y="1524"/>
                      </a:lnTo>
                      <a:lnTo>
                        <a:pt x="888" y="1494"/>
                      </a:lnTo>
                      <a:lnTo>
                        <a:pt x="978" y="1494"/>
                      </a:lnTo>
                      <a:lnTo>
                        <a:pt x="1002" y="1482"/>
                      </a:lnTo>
                      <a:lnTo>
                        <a:pt x="996" y="1464"/>
                      </a:lnTo>
                      <a:lnTo>
                        <a:pt x="996" y="1446"/>
                      </a:lnTo>
                      <a:lnTo>
                        <a:pt x="990" y="1434"/>
                      </a:lnTo>
                      <a:lnTo>
                        <a:pt x="984" y="1428"/>
                      </a:lnTo>
                      <a:lnTo>
                        <a:pt x="966" y="1428"/>
                      </a:lnTo>
                      <a:lnTo>
                        <a:pt x="954" y="1422"/>
                      </a:lnTo>
                      <a:lnTo>
                        <a:pt x="936" y="1386"/>
                      </a:lnTo>
                      <a:lnTo>
                        <a:pt x="936" y="1368"/>
                      </a:lnTo>
                      <a:lnTo>
                        <a:pt x="924" y="1362"/>
                      </a:lnTo>
                      <a:lnTo>
                        <a:pt x="924" y="1326"/>
                      </a:lnTo>
                      <a:lnTo>
                        <a:pt x="912" y="1326"/>
                      </a:lnTo>
                      <a:lnTo>
                        <a:pt x="906" y="1302"/>
                      </a:lnTo>
                      <a:lnTo>
                        <a:pt x="882" y="1302"/>
                      </a:lnTo>
                      <a:lnTo>
                        <a:pt x="876" y="1290"/>
                      </a:lnTo>
                      <a:lnTo>
                        <a:pt x="876" y="1272"/>
                      </a:lnTo>
                      <a:lnTo>
                        <a:pt x="864" y="1266"/>
                      </a:lnTo>
                      <a:lnTo>
                        <a:pt x="858" y="1254"/>
                      </a:lnTo>
                      <a:lnTo>
                        <a:pt x="846" y="1248"/>
                      </a:lnTo>
                      <a:lnTo>
                        <a:pt x="840" y="1242"/>
                      </a:lnTo>
                      <a:lnTo>
                        <a:pt x="816" y="1242"/>
                      </a:lnTo>
                      <a:lnTo>
                        <a:pt x="804" y="1236"/>
                      </a:lnTo>
                      <a:lnTo>
                        <a:pt x="798" y="1236"/>
                      </a:lnTo>
                      <a:lnTo>
                        <a:pt x="798" y="1224"/>
                      </a:lnTo>
                      <a:lnTo>
                        <a:pt x="804" y="1212"/>
                      </a:lnTo>
                      <a:lnTo>
                        <a:pt x="810" y="1206"/>
                      </a:lnTo>
                      <a:lnTo>
                        <a:pt x="804" y="1182"/>
                      </a:lnTo>
                      <a:lnTo>
                        <a:pt x="840" y="1182"/>
                      </a:lnTo>
                      <a:lnTo>
                        <a:pt x="846" y="1188"/>
                      </a:lnTo>
                      <a:lnTo>
                        <a:pt x="852" y="1182"/>
                      </a:lnTo>
                      <a:lnTo>
                        <a:pt x="864" y="1182"/>
                      </a:lnTo>
                      <a:lnTo>
                        <a:pt x="870" y="1176"/>
                      </a:lnTo>
                      <a:lnTo>
                        <a:pt x="870" y="1164"/>
                      </a:lnTo>
                      <a:lnTo>
                        <a:pt x="876" y="1152"/>
                      </a:lnTo>
                      <a:lnTo>
                        <a:pt x="876" y="1116"/>
                      </a:lnTo>
                      <a:lnTo>
                        <a:pt x="870" y="1110"/>
                      </a:lnTo>
                      <a:lnTo>
                        <a:pt x="870" y="1098"/>
                      </a:lnTo>
                      <a:lnTo>
                        <a:pt x="864" y="1086"/>
                      </a:lnTo>
                      <a:lnTo>
                        <a:pt x="864" y="1074"/>
                      </a:lnTo>
                      <a:lnTo>
                        <a:pt x="870" y="1062"/>
                      </a:lnTo>
                      <a:lnTo>
                        <a:pt x="882" y="1056"/>
                      </a:lnTo>
                      <a:lnTo>
                        <a:pt x="888" y="1050"/>
                      </a:lnTo>
                      <a:lnTo>
                        <a:pt x="888" y="1032"/>
                      </a:lnTo>
                      <a:lnTo>
                        <a:pt x="882" y="1020"/>
                      </a:lnTo>
                      <a:lnTo>
                        <a:pt x="882" y="1002"/>
                      </a:lnTo>
                      <a:lnTo>
                        <a:pt x="900" y="984"/>
                      </a:lnTo>
                      <a:lnTo>
                        <a:pt x="906" y="984"/>
                      </a:lnTo>
                      <a:lnTo>
                        <a:pt x="906" y="996"/>
                      </a:lnTo>
                      <a:lnTo>
                        <a:pt x="912" y="1002"/>
                      </a:lnTo>
                      <a:lnTo>
                        <a:pt x="924" y="1002"/>
                      </a:lnTo>
                      <a:lnTo>
                        <a:pt x="930" y="996"/>
                      </a:lnTo>
                      <a:lnTo>
                        <a:pt x="930" y="960"/>
                      </a:lnTo>
                      <a:lnTo>
                        <a:pt x="924" y="954"/>
                      </a:lnTo>
                      <a:lnTo>
                        <a:pt x="924" y="948"/>
                      </a:lnTo>
                      <a:lnTo>
                        <a:pt x="936" y="930"/>
                      </a:lnTo>
                      <a:lnTo>
                        <a:pt x="936" y="906"/>
                      </a:lnTo>
                      <a:lnTo>
                        <a:pt x="942" y="900"/>
                      </a:lnTo>
                      <a:lnTo>
                        <a:pt x="954" y="900"/>
                      </a:lnTo>
                      <a:lnTo>
                        <a:pt x="960" y="894"/>
                      </a:lnTo>
                      <a:lnTo>
                        <a:pt x="960" y="858"/>
                      </a:lnTo>
                      <a:lnTo>
                        <a:pt x="966" y="852"/>
                      </a:lnTo>
                      <a:lnTo>
                        <a:pt x="972" y="840"/>
                      </a:lnTo>
                      <a:lnTo>
                        <a:pt x="978" y="834"/>
                      </a:lnTo>
                      <a:lnTo>
                        <a:pt x="1008" y="834"/>
                      </a:lnTo>
                      <a:lnTo>
                        <a:pt x="1008" y="786"/>
                      </a:lnTo>
                      <a:lnTo>
                        <a:pt x="1014" y="774"/>
                      </a:lnTo>
                      <a:lnTo>
                        <a:pt x="1020" y="768"/>
                      </a:lnTo>
                      <a:lnTo>
                        <a:pt x="1026" y="756"/>
                      </a:lnTo>
                      <a:lnTo>
                        <a:pt x="1032" y="750"/>
                      </a:lnTo>
                      <a:lnTo>
                        <a:pt x="1032" y="708"/>
                      </a:lnTo>
                      <a:lnTo>
                        <a:pt x="1026" y="660"/>
                      </a:lnTo>
                      <a:lnTo>
                        <a:pt x="1020" y="654"/>
                      </a:lnTo>
                      <a:lnTo>
                        <a:pt x="1020" y="636"/>
                      </a:lnTo>
                      <a:lnTo>
                        <a:pt x="1032" y="630"/>
                      </a:lnTo>
                      <a:lnTo>
                        <a:pt x="1038" y="630"/>
                      </a:lnTo>
                      <a:lnTo>
                        <a:pt x="1038" y="594"/>
                      </a:lnTo>
                      <a:lnTo>
                        <a:pt x="1044" y="594"/>
                      </a:lnTo>
                      <a:lnTo>
                        <a:pt x="1050" y="588"/>
                      </a:lnTo>
                      <a:lnTo>
                        <a:pt x="1056" y="576"/>
                      </a:lnTo>
                      <a:lnTo>
                        <a:pt x="1056" y="534"/>
                      </a:lnTo>
                      <a:lnTo>
                        <a:pt x="1050" y="528"/>
                      </a:lnTo>
                      <a:lnTo>
                        <a:pt x="1050" y="516"/>
                      </a:lnTo>
                      <a:lnTo>
                        <a:pt x="1062" y="516"/>
                      </a:lnTo>
                      <a:lnTo>
                        <a:pt x="1068" y="510"/>
                      </a:lnTo>
                      <a:lnTo>
                        <a:pt x="1068" y="492"/>
                      </a:lnTo>
                      <a:lnTo>
                        <a:pt x="1086" y="492"/>
                      </a:lnTo>
                      <a:lnTo>
                        <a:pt x="1092" y="486"/>
                      </a:lnTo>
                      <a:lnTo>
                        <a:pt x="1092" y="480"/>
                      </a:lnTo>
                      <a:lnTo>
                        <a:pt x="1098" y="474"/>
                      </a:lnTo>
                      <a:lnTo>
                        <a:pt x="1098" y="462"/>
                      </a:lnTo>
                      <a:lnTo>
                        <a:pt x="1110" y="462"/>
                      </a:lnTo>
                      <a:lnTo>
                        <a:pt x="1128" y="456"/>
                      </a:lnTo>
                      <a:lnTo>
                        <a:pt x="1152" y="444"/>
                      </a:lnTo>
                      <a:lnTo>
                        <a:pt x="1164" y="420"/>
                      </a:lnTo>
                      <a:lnTo>
                        <a:pt x="1164" y="408"/>
                      </a:lnTo>
                      <a:lnTo>
                        <a:pt x="1128" y="384"/>
                      </a:lnTo>
                      <a:lnTo>
                        <a:pt x="1128" y="378"/>
                      </a:lnTo>
                      <a:lnTo>
                        <a:pt x="1122" y="372"/>
                      </a:lnTo>
                      <a:lnTo>
                        <a:pt x="1122" y="360"/>
                      </a:lnTo>
                      <a:lnTo>
                        <a:pt x="1116" y="354"/>
                      </a:lnTo>
                      <a:lnTo>
                        <a:pt x="1092" y="354"/>
                      </a:lnTo>
                      <a:lnTo>
                        <a:pt x="1080" y="342"/>
                      </a:lnTo>
                      <a:lnTo>
                        <a:pt x="1080" y="330"/>
                      </a:lnTo>
                      <a:lnTo>
                        <a:pt x="1074" y="312"/>
                      </a:lnTo>
                      <a:lnTo>
                        <a:pt x="1074" y="294"/>
                      </a:lnTo>
                      <a:lnTo>
                        <a:pt x="1068" y="282"/>
                      </a:lnTo>
                      <a:lnTo>
                        <a:pt x="1068" y="264"/>
                      </a:lnTo>
                      <a:lnTo>
                        <a:pt x="1062" y="264"/>
                      </a:lnTo>
                      <a:lnTo>
                        <a:pt x="1062" y="240"/>
                      </a:lnTo>
                      <a:lnTo>
                        <a:pt x="1056" y="222"/>
                      </a:lnTo>
                      <a:lnTo>
                        <a:pt x="1056" y="180"/>
                      </a:lnTo>
                      <a:lnTo>
                        <a:pt x="1050" y="168"/>
                      </a:lnTo>
                      <a:lnTo>
                        <a:pt x="1068" y="162"/>
                      </a:lnTo>
                      <a:lnTo>
                        <a:pt x="1038" y="132"/>
                      </a:lnTo>
                      <a:lnTo>
                        <a:pt x="1038" y="90"/>
                      </a:lnTo>
                      <a:lnTo>
                        <a:pt x="1032" y="78"/>
                      </a:lnTo>
                      <a:lnTo>
                        <a:pt x="1026" y="72"/>
                      </a:lnTo>
                      <a:lnTo>
                        <a:pt x="1014" y="66"/>
                      </a:lnTo>
                      <a:lnTo>
                        <a:pt x="984" y="36"/>
                      </a:lnTo>
                      <a:lnTo>
                        <a:pt x="972" y="36"/>
                      </a:lnTo>
                      <a:lnTo>
                        <a:pt x="954" y="18"/>
                      </a:lnTo>
                      <a:lnTo>
                        <a:pt x="948" y="0"/>
                      </a:lnTo>
                      <a:lnTo>
                        <a:pt x="924" y="24"/>
                      </a:lnTo>
                      <a:lnTo>
                        <a:pt x="894" y="24"/>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550" name="Sri Lanka"/>
                <p:cNvSpPr>
                  <a:spLocks/>
                </p:cNvSpPr>
                <p:nvPr/>
              </p:nvSpPr>
              <p:spPr bwMode="gray">
                <a:xfrm>
                  <a:off x="4099" y="2112"/>
                  <a:ext cx="44" cy="78"/>
                </a:xfrm>
                <a:custGeom>
                  <a:avLst/>
                  <a:gdLst>
                    <a:gd name="T0" fmla="*/ 2147483647 w 174"/>
                    <a:gd name="T1" fmla="*/ 2147483647 h 306"/>
                    <a:gd name="T2" fmla="*/ 2147483647 w 174"/>
                    <a:gd name="T3" fmla="*/ 0 h 306"/>
                    <a:gd name="T4" fmla="*/ 2147483647 w 174"/>
                    <a:gd name="T5" fmla="*/ 0 h 306"/>
                    <a:gd name="T6" fmla="*/ 2147483647 w 174"/>
                    <a:gd name="T7" fmla="*/ 2147483647 h 306"/>
                    <a:gd name="T8" fmla="*/ 2147483647 w 174"/>
                    <a:gd name="T9" fmla="*/ 2147483647 h 306"/>
                    <a:gd name="T10" fmla="*/ 2147483647 w 174"/>
                    <a:gd name="T11" fmla="*/ 2147483647 h 306"/>
                    <a:gd name="T12" fmla="*/ 2147483647 w 174"/>
                    <a:gd name="T13" fmla="*/ 2147483647 h 306"/>
                    <a:gd name="T14" fmla="*/ 2147483647 w 174"/>
                    <a:gd name="T15" fmla="*/ 2147483647 h 306"/>
                    <a:gd name="T16" fmla="*/ 2147483647 w 174"/>
                    <a:gd name="T17" fmla="*/ 2147483647 h 306"/>
                    <a:gd name="T18" fmla="*/ 2147483647 w 174"/>
                    <a:gd name="T19" fmla="*/ 2147483647 h 306"/>
                    <a:gd name="T20" fmla="*/ 2147483647 w 174"/>
                    <a:gd name="T21" fmla="*/ 2147483647 h 306"/>
                    <a:gd name="T22" fmla="*/ 2147483647 w 174"/>
                    <a:gd name="T23" fmla="*/ 2147483647 h 306"/>
                    <a:gd name="T24" fmla="*/ 2147483647 w 174"/>
                    <a:gd name="T25" fmla="*/ 2147483647 h 306"/>
                    <a:gd name="T26" fmla="*/ 2147483647 w 174"/>
                    <a:gd name="T27" fmla="*/ 2147483647 h 306"/>
                    <a:gd name="T28" fmla="*/ 2147483647 w 174"/>
                    <a:gd name="T29" fmla="*/ 2147483647 h 306"/>
                    <a:gd name="T30" fmla="*/ 2147483647 w 174"/>
                    <a:gd name="T31" fmla="*/ 2147483647 h 306"/>
                    <a:gd name="T32" fmla="*/ 2147483647 w 174"/>
                    <a:gd name="T33" fmla="*/ 2147483647 h 306"/>
                    <a:gd name="T34" fmla="*/ 2147483647 w 174"/>
                    <a:gd name="T35" fmla="*/ 2147483647 h 306"/>
                    <a:gd name="T36" fmla="*/ 2147483647 w 174"/>
                    <a:gd name="T37" fmla="*/ 2147483647 h 306"/>
                    <a:gd name="T38" fmla="*/ 2147483647 w 174"/>
                    <a:gd name="T39" fmla="*/ 2147483647 h 306"/>
                    <a:gd name="T40" fmla="*/ 0 w 174"/>
                    <a:gd name="T41" fmla="*/ 2147483647 h 306"/>
                    <a:gd name="T42" fmla="*/ 0 w 174"/>
                    <a:gd name="T43" fmla="*/ 2147483647 h 306"/>
                    <a:gd name="T44" fmla="*/ 2147483647 w 174"/>
                    <a:gd name="T45" fmla="*/ 2147483647 h 306"/>
                    <a:gd name="T46" fmla="*/ 2147483647 w 174"/>
                    <a:gd name="T47" fmla="*/ 2147483647 h 306"/>
                    <a:gd name="T48" fmla="*/ 2147483647 w 174"/>
                    <a:gd name="T49" fmla="*/ 2147483647 h 306"/>
                    <a:gd name="T50" fmla="*/ 2147483647 w 174"/>
                    <a:gd name="T51" fmla="*/ 2147483647 h 306"/>
                    <a:gd name="T52" fmla="*/ 2147483647 w 174"/>
                    <a:gd name="T53" fmla="*/ 2147483647 h 306"/>
                    <a:gd name="T54" fmla="*/ 0 w 174"/>
                    <a:gd name="T55" fmla="*/ 2147483647 h 306"/>
                    <a:gd name="T56" fmla="*/ 2147483647 w 174"/>
                    <a:gd name="T57" fmla="*/ 2147483647 h 306"/>
                    <a:gd name="T58" fmla="*/ 2147483647 w 174"/>
                    <a:gd name="T59" fmla="*/ 2147483647 h 30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74"/>
                    <a:gd name="T91" fmla="*/ 0 h 306"/>
                    <a:gd name="T92" fmla="*/ 174 w 174"/>
                    <a:gd name="T93" fmla="*/ 306 h 30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74" h="306">
                      <a:moveTo>
                        <a:pt x="24" y="6"/>
                      </a:moveTo>
                      <a:lnTo>
                        <a:pt x="36" y="0"/>
                      </a:lnTo>
                      <a:lnTo>
                        <a:pt x="48" y="0"/>
                      </a:lnTo>
                      <a:lnTo>
                        <a:pt x="66" y="6"/>
                      </a:lnTo>
                      <a:lnTo>
                        <a:pt x="78" y="12"/>
                      </a:lnTo>
                      <a:lnTo>
                        <a:pt x="114" y="66"/>
                      </a:lnTo>
                      <a:lnTo>
                        <a:pt x="132" y="84"/>
                      </a:lnTo>
                      <a:lnTo>
                        <a:pt x="126" y="120"/>
                      </a:lnTo>
                      <a:lnTo>
                        <a:pt x="150" y="114"/>
                      </a:lnTo>
                      <a:lnTo>
                        <a:pt x="156" y="168"/>
                      </a:lnTo>
                      <a:lnTo>
                        <a:pt x="162" y="174"/>
                      </a:lnTo>
                      <a:lnTo>
                        <a:pt x="168" y="198"/>
                      </a:lnTo>
                      <a:lnTo>
                        <a:pt x="174" y="228"/>
                      </a:lnTo>
                      <a:lnTo>
                        <a:pt x="174" y="258"/>
                      </a:lnTo>
                      <a:lnTo>
                        <a:pt x="156" y="276"/>
                      </a:lnTo>
                      <a:lnTo>
                        <a:pt x="120" y="294"/>
                      </a:lnTo>
                      <a:lnTo>
                        <a:pt x="84" y="306"/>
                      </a:lnTo>
                      <a:lnTo>
                        <a:pt x="48" y="306"/>
                      </a:lnTo>
                      <a:lnTo>
                        <a:pt x="24" y="282"/>
                      </a:lnTo>
                      <a:lnTo>
                        <a:pt x="12" y="240"/>
                      </a:lnTo>
                      <a:lnTo>
                        <a:pt x="0" y="192"/>
                      </a:lnTo>
                      <a:lnTo>
                        <a:pt x="0" y="156"/>
                      </a:lnTo>
                      <a:lnTo>
                        <a:pt x="12" y="138"/>
                      </a:lnTo>
                      <a:lnTo>
                        <a:pt x="18" y="132"/>
                      </a:lnTo>
                      <a:lnTo>
                        <a:pt x="24" y="120"/>
                      </a:lnTo>
                      <a:lnTo>
                        <a:pt x="30" y="102"/>
                      </a:lnTo>
                      <a:lnTo>
                        <a:pt x="30" y="78"/>
                      </a:lnTo>
                      <a:lnTo>
                        <a:pt x="0" y="36"/>
                      </a:lnTo>
                      <a:lnTo>
                        <a:pt x="24" y="36"/>
                      </a:lnTo>
                      <a:lnTo>
                        <a:pt x="24" y="6"/>
                      </a:lnTo>
                      <a:close/>
                    </a:path>
                  </a:pathLst>
                </a:custGeom>
                <a:solidFill>
                  <a:srgbClr val="FF9900"/>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551" name="Spain"/>
                <p:cNvSpPr>
                  <a:spLocks noEditPoints="1"/>
                </p:cNvSpPr>
                <p:nvPr/>
              </p:nvSpPr>
              <p:spPr bwMode="gray">
                <a:xfrm>
                  <a:off x="2515" y="1409"/>
                  <a:ext cx="224" cy="158"/>
                </a:xfrm>
                <a:custGeom>
                  <a:avLst/>
                  <a:gdLst>
                    <a:gd name="T0" fmla="*/ 2147483647 w 876"/>
                    <a:gd name="T1" fmla="*/ 2147483647 h 618"/>
                    <a:gd name="T2" fmla="*/ 2147483647 w 876"/>
                    <a:gd name="T3" fmla="*/ 2147483647 h 618"/>
                    <a:gd name="T4" fmla="*/ 2147483647 w 876"/>
                    <a:gd name="T5" fmla="*/ 2147483647 h 618"/>
                    <a:gd name="T6" fmla="*/ 2147483647 w 876"/>
                    <a:gd name="T7" fmla="*/ 2147483647 h 618"/>
                    <a:gd name="T8" fmla="*/ 2147483647 w 876"/>
                    <a:gd name="T9" fmla="*/ 2147483647 h 618"/>
                    <a:gd name="T10" fmla="*/ 2147483647 w 876"/>
                    <a:gd name="T11" fmla="*/ 2147483647 h 618"/>
                    <a:gd name="T12" fmla="*/ 2147483647 w 876"/>
                    <a:gd name="T13" fmla="*/ 2147483647 h 618"/>
                    <a:gd name="T14" fmla="*/ 2147483647 w 876"/>
                    <a:gd name="T15" fmla="*/ 2147483647 h 618"/>
                    <a:gd name="T16" fmla="*/ 2147483647 w 876"/>
                    <a:gd name="T17" fmla="*/ 2147483647 h 618"/>
                    <a:gd name="T18" fmla="*/ 2147483647 w 876"/>
                    <a:gd name="T19" fmla="*/ 2147483647 h 618"/>
                    <a:gd name="T20" fmla="*/ 2147483647 w 876"/>
                    <a:gd name="T21" fmla="*/ 2147483647 h 618"/>
                    <a:gd name="T22" fmla="*/ 2147483647 w 876"/>
                    <a:gd name="T23" fmla="*/ 2147483647 h 618"/>
                    <a:gd name="T24" fmla="*/ 2147483647 w 876"/>
                    <a:gd name="T25" fmla="*/ 2147483647 h 618"/>
                    <a:gd name="T26" fmla="*/ 2147483647 w 876"/>
                    <a:gd name="T27" fmla="*/ 2147483647 h 618"/>
                    <a:gd name="T28" fmla="*/ 2147483647 w 876"/>
                    <a:gd name="T29" fmla="*/ 2147483647 h 618"/>
                    <a:gd name="T30" fmla="*/ 2147483647 w 876"/>
                    <a:gd name="T31" fmla="*/ 2147483647 h 618"/>
                    <a:gd name="T32" fmla="*/ 2147483647 w 876"/>
                    <a:gd name="T33" fmla="*/ 2147483647 h 618"/>
                    <a:gd name="T34" fmla="*/ 2147483647 w 876"/>
                    <a:gd name="T35" fmla="*/ 2147483647 h 618"/>
                    <a:gd name="T36" fmla="*/ 2147483647 w 876"/>
                    <a:gd name="T37" fmla="*/ 2147483647 h 618"/>
                    <a:gd name="T38" fmla="*/ 2147483647 w 876"/>
                    <a:gd name="T39" fmla="*/ 2147483647 h 618"/>
                    <a:gd name="T40" fmla="*/ 2147483647 w 876"/>
                    <a:gd name="T41" fmla="*/ 0 h 618"/>
                    <a:gd name="T42" fmla="*/ 2147483647 w 876"/>
                    <a:gd name="T43" fmla="*/ 2147483647 h 618"/>
                    <a:gd name="T44" fmla="*/ 0 w 876"/>
                    <a:gd name="T45" fmla="*/ 2147483647 h 618"/>
                    <a:gd name="T46" fmla="*/ 2147483647 w 876"/>
                    <a:gd name="T47" fmla="*/ 2147483647 h 618"/>
                    <a:gd name="T48" fmla="*/ 2147483647 w 876"/>
                    <a:gd name="T49" fmla="*/ 2147483647 h 618"/>
                    <a:gd name="T50" fmla="*/ 2147483647 w 876"/>
                    <a:gd name="T51" fmla="*/ 2147483647 h 618"/>
                    <a:gd name="T52" fmla="*/ 2147483647 w 876"/>
                    <a:gd name="T53" fmla="*/ 2147483647 h 618"/>
                    <a:gd name="T54" fmla="*/ 2147483647 w 876"/>
                    <a:gd name="T55" fmla="*/ 2147483647 h 618"/>
                    <a:gd name="T56" fmla="*/ 2147483647 w 876"/>
                    <a:gd name="T57" fmla="*/ 2147483647 h 618"/>
                    <a:gd name="T58" fmla="*/ 2147483647 w 876"/>
                    <a:gd name="T59" fmla="*/ 2147483647 h 618"/>
                    <a:gd name="T60" fmla="*/ 2147483647 w 876"/>
                    <a:gd name="T61" fmla="*/ 2147483647 h 618"/>
                    <a:gd name="T62" fmla="*/ 2147483647 w 876"/>
                    <a:gd name="T63" fmla="*/ 2147483647 h 618"/>
                    <a:gd name="T64" fmla="*/ 2147483647 w 876"/>
                    <a:gd name="T65" fmla="*/ 2147483647 h 618"/>
                    <a:gd name="T66" fmla="*/ 2147483647 w 876"/>
                    <a:gd name="T67" fmla="*/ 2147483647 h 618"/>
                    <a:gd name="T68" fmla="*/ 2147483647 w 876"/>
                    <a:gd name="T69" fmla="*/ 2147483647 h 618"/>
                    <a:gd name="T70" fmla="*/ 2147483647 w 876"/>
                    <a:gd name="T71" fmla="*/ 2147483647 h 618"/>
                    <a:gd name="T72" fmla="*/ 2147483647 w 876"/>
                    <a:gd name="T73" fmla="*/ 2147483647 h 618"/>
                    <a:gd name="T74" fmla="*/ 2147483647 w 876"/>
                    <a:gd name="T75" fmla="*/ 2147483647 h 618"/>
                    <a:gd name="T76" fmla="*/ 2147483647 w 876"/>
                    <a:gd name="T77" fmla="*/ 2147483647 h 618"/>
                    <a:gd name="T78" fmla="*/ 2147483647 w 876"/>
                    <a:gd name="T79" fmla="*/ 2147483647 h 618"/>
                    <a:gd name="T80" fmla="*/ 2147483647 w 876"/>
                    <a:gd name="T81" fmla="*/ 2147483647 h 618"/>
                    <a:gd name="T82" fmla="*/ 2147483647 w 876"/>
                    <a:gd name="T83" fmla="*/ 2147483647 h 618"/>
                    <a:gd name="T84" fmla="*/ 2147483647 w 876"/>
                    <a:gd name="T85" fmla="*/ 2147483647 h 618"/>
                    <a:gd name="T86" fmla="*/ 2147483647 w 876"/>
                    <a:gd name="T87" fmla="*/ 2147483647 h 618"/>
                    <a:gd name="T88" fmla="*/ 2147483647 w 876"/>
                    <a:gd name="T89" fmla="*/ 2147483647 h 618"/>
                    <a:gd name="T90" fmla="*/ 2147483647 w 876"/>
                    <a:gd name="T91" fmla="*/ 2147483647 h 618"/>
                    <a:gd name="T92" fmla="*/ 2147483647 w 876"/>
                    <a:gd name="T93" fmla="*/ 2147483647 h 618"/>
                    <a:gd name="T94" fmla="*/ 2147483647 w 876"/>
                    <a:gd name="T95" fmla="*/ 2147483647 h 618"/>
                    <a:gd name="T96" fmla="*/ 2147483647 w 876"/>
                    <a:gd name="T97" fmla="*/ 2147483647 h 618"/>
                    <a:gd name="T98" fmla="*/ 2147483647 w 876"/>
                    <a:gd name="T99" fmla="*/ 2147483647 h 618"/>
                    <a:gd name="T100" fmla="*/ 2147483647 w 876"/>
                    <a:gd name="T101" fmla="*/ 2147483647 h 618"/>
                    <a:gd name="T102" fmla="*/ 2147483647 w 876"/>
                    <a:gd name="T103" fmla="*/ 2147483647 h 618"/>
                    <a:gd name="T104" fmla="*/ 2147483647 w 876"/>
                    <a:gd name="T105" fmla="*/ 2147483647 h 618"/>
                    <a:gd name="T106" fmla="*/ 2147483647 w 876"/>
                    <a:gd name="T107" fmla="*/ 2147483647 h 618"/>
                    <a:gd name="T108" fmla="*/ 2147483647 w 876"/>
                    <a:gd name="T109" fmla="*/ 2147483647 h 61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876"/>
                    <a:gd name="T166" fmla="*/ 0 h 618"/>
                    <a:gd name="T167" fmla="*/ 876 w 876"/>
                    <a:gd name="T168" fmla="*/ 618 h 61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876" h="618">
                      <a:moveTo>
                        <a:pt x="804" y="318"/>
                      </a:moveTo>
                      <a:lnTo>
                        <a:pt x="798" y="312"/>
                      </a:lnTo>
                      <a:lnTo>
                        <a:pt x="798" y="306"/>
                      </a:lnTo>
                      <a:lnTo>
                        <a:pt x="786" y="306"/>
                      </a:lnTo>
                      <a:lnTo>
                        <a:pt x="762" y="318"/>
                      </a:lnTo>
                      <a:lnTo>
                        <a:pt x="750" y="330"/>
                      </a:lnTo>
                      <a:lnTo>
                        <a:pt x="750" y="336"/>
                      </a:lnTo>
                      <a:lnTo>
                        <a:pt x="756" y="342"/>
                      </a:lnTo>
                      <a:lnTo>
                        <a:pt x="768" y="342"/>
                      </a:lnTo>
                      <a:lnTo>
                        <a:pt x="774" y="348"/>
                      </a:lnTo>
                      <a:lnTo>
                        <a:pt x="774" y="354"/>
                      </a:lnTo>
                      <a:lnTo>
                        <a:pt x="804" y="354"/>
                      </a:lnTo>
                      <a:lnTo>
                        <a:pt x="816" y="342"/>
                      </a:lnTo>
                      <a:lnTo>
                        <a:pt x="816" y="324"/>
                      </a:lnTo>
                      <a:lnTo>
                        <a:pt x="810" y="318"/>
                      </a:lnTo>
                      <a:lnTo>
                        <a:pt x="804" y="318"/>
                      </a:lnTo>
                      <a:close/>
                      <a:moveTo>
                        <a:pt x="672" y="390"/>
                      </a:moveTo>
                      <a:lnTo>
                        <a:pt x="678" y="396"/>
                      </a:lnTo>
                      <a:lnTo>
                        <a:pt x="684" y="396"/>
                      </a:lnTo>
                      <a:lnTo>
                        <a:pt x="690" y="390"/>
                      </a:lnTo>
                      <a:lnTo>
                        <a:pt x="690" y="372"/>
                      </a:lnTo>
                      <a:lnTo>
                        <a:pt x="684" y="372"/>
                      </a:lnTo>
                      <a:lnTo>
                        <a:pt x="672" y="384"/>
                      </a:lnTo>
                      <a:lnTo>
                        <a:pt x="672" y="390"/>
                      </a:lnTo>
                      <a:close/>
                      <a:moveTo>
                        <a:pt x="840" y="300"/>
                      </a:moveTo>
                      <a:lnTo>
                        <a:pt x="840" y="306"/>
                      </a:lnTo>
                      <a:lnTo>
                        <a:pt x="852" y="318"/>
                      </a:lnTo>
                      <a:lnTo>
                        <a:pt x="870" y="318"/>
                      </a:lnTo>
                      <a:lnTo>
                        <a:pt x="876" y="312"/>
                      </a:lnTo>
                      <a:lnTo>
                        <a:pt x="864" y="300"/>
                      </a:lnTo>
                      <a:lnTo>
                        <a:pt x="852" y="300"/>
                      </a:lnTo>
                      <a:lnTo>
                        <a:pt x="846" y="294"/>
                      </a:lnTo>
                      <a:lnTo>
                        <a:pt x="840" y="300"/>
                      </a:lnTo>
                      <a:close/>
                      <a:moveTo>
                        <a:pt x="804" y="150"/>
                      </a:moveTo>
                      <a:lnTo>
                        <a:pt x="798" y="138"/>
                      </a:lnTo>
                      <a:lnTo>
                        <a:pt x="798" y="132"/>
                      </a:lnTo>
                      <a:lnTo>
                        <a:pt x="810" y="120"/>
                      </a:lnTo>
                      <a:lnTo>
                        <a:pt x="798" y="114"/>
                      </a:lnTo>
                      <a:lnTo>
                        <a:pt x="792" y="108"/>
                      </a:lnTo>
                      <a:lnTo>
                        <a:pt x="792" y="102"/>
                      </a:lnTo>
                      <a:lnTo>
                        <a:pt x="780" y="102"/>
                      </a:lnTo>
                      <a:lnTo>
                        <a:pt x="780" y="108"/>
                      </a:lnTo>
                      <a:lnTo>
                        <a:pt x="774" y="114"/>
                      </a:lnTo>
                      <a:lnTo>
                        <a:pt x="756" y="114"/>
                      </a:lnTo>
                      <a:lnTo>
                        <a:pt x="750" y="108"/>
                      </a:lnTo>
                      <a:lnTo>
                        <a:pt x="726" y="108"/>
                      </a:lnTo>
                      <a:lnTo>
                        <a:pt x="726" y="102"/>
                      </a:lnTo>
                      <a:lnTo>
                        <a:pt x="708" y="102"/>
                      </a:lnTo>
                      <a:lnTo>
                        <a:pt x="696" y="108"/>
                      </a:lnTo>
                      <a:lnTo>
                        <a:pt x="690" y="84"/>
                      </a:lnTo>
                      <a:lnTo>
                        <a:pt x="672" y="84"/>
                      </a:lnTo>
                      <a:lnTo>
                        <a:pt x="672" y="78"/>
                      </a:lnTo>
                      <a:lnTo>
                        <a:pt x="666" y="72"/>
                      </a:lnTo>
                      <a:lnTo>
                        <a:pt x="648" y="72"/>
                      </a:lnTo>
                      <a:lnTo>
                        <a:pt x="642" y="78"/>
                      </a:lnTo>
                      <a:lnTo>
                        <a:pt x="642" y="90"/>
                      </a:lnTo>
                      <a:lnTo>
                        <a:pt x="624" y="96"/>
                      </a:lnTo>
                      <a:lnTo>
                        <a:pt x="624" y="84"/>
                      </a:lnTo>
                      <a:lnTo>
                        <a:pt x="594" y="84"/>
                      </a:lnTo>
                      <a:lnTo>
                        <a:pt x="582" y="72"/>
                      </a:lnTo>
                      <a:lnTo>
                        <a:pt x="570" y="72"/>
                      </a:lnTo>
                      <a:lnTo>
                        <a:pt x="564" y="78"/>
                      </a:lnTo>
                      <a:lnTo>
                        <a:pt x="546" y="60"/>
                      </a:lnTo>
                      <a:lnTo>
                        <a:pt x="510" y="60"/>
                      </a:lnTo>
                      <a:lnTo>
                        <a:pt x="516" y="54"/>
                      </a:lnTo>
                      <a:lnTo>
                        <a:pt x="516" y="48"/>
                      </a:lnTo>
                      <a:lnTo>
                        <a:pt x="504" y="36"/>
                      </a:lnTo>
                      <a:lnTo>
                        <a:pt x="498" y="36"/>
                      </a:lnTo>
                      <a:lnTo>
                        <a:pt x="492" y="42"/>
                      </a:lnTo>
                      <a:lnTo>
                        <a:pt x="486" y="36"/>
                      </a:lnTo>
                      <a:lnTo>
                        <a:pt x="450" y="36"/>
                      </a:lnTo>
                      <a:lnTo>
                        <a:pt x="390" y="24"/>
                      </a:lnTo>
                      <a:lnTo>
                        <a:pt x="378" y="24"/>
                      </a:lnTo>
                      <a:lnTo>
                        <a:pt x="348" y="36"/>
                      </a:lnTo>
                      <a:lnTo>
                        <a:pt x="294" y="30"/>
                      </a:lnTo>
                      <a:lnTo>
                        <a:pt x="258" y="12"/>
                      </a:lnTo>
                      <a:lnTo>
                        <a:pt x="234" y="12"/>
                      </a:lnTo>
                      <a:lnTo>
                        <a:pt x="216" y="18"/>
                      </a:lnTo>
                      <a:lnTo>
                        <a:pt x="162" y="18"/>
                      </a:lnTo>
                      <a:lnTo>
                        <a:pt x="150" y="12"/>
                      </a:lnTo>
                      <a:lnTo>
                        <a:pt x="138" y="12"/>
                      </a:lnTo>
                      <a:lnTo>
                        <a:pt x="126" y="6"/>
                      </a:lnTo>
                      <a:lnTo>
                        <a:pt x="120" y="0"/>
                      </a:lnTo>
                      <a:lnTo>
                        <a:pt x="108" y="0"/>
                      </a:lnTo>
                      <a:lnTo>
                        <a:pt x="96" y="6"/>
                      </a:lnTo>
                      <a:lnTo>
                        <a:pt x="72" y="30"/>
                      </a:lnTo>
                      <a:lnTo>
                        <a:pt x="60" y="30"/>
                      </a:lnTo>
                      <a:lnTo>
                        <a:pt x="48" y="36"/>
                      </a:lnTo>
                      <a:lnTo>
                        <a:pt x="30" y="36"/>
                      </a:lnTo>
                      <a:lnTo>
                        <a:pt x="6" y="48"/>
                      </a:lnTo>
                      <a:lnTo>
                        <a:pt x="0" y="60"/>
                      </a:lnTo>
                      <a:lnTo>
                        <a:pt x="0" y="72"/>
                      </a:lnTo>
                      <a:lnTo>
                        <a:pt x="6" y="78"/>
                      </a:lnTo>
                      <a:lnTo>
                        <a:pt x="12" y="90"/>
                      </a:lnTo>
                      <a:lnTo>
                        <a:pt x="24" y="96"/>
                      </a:lnTo>
                      <a:lnTo>
                        <a:pt x="30" y="102"/>
                      </a:lnTo>
                      <a:lnTo>
                        <a:pt x="18" y="138"/>
                      </a:lnTo>
                      <a:lnTo>
                        <a:pt x="24" y="144"/>
                      </a:lnTo>
                      <a:lnTo>
                        <a:pt x="24" y="150"/>
                      </a:lnTo>
                      <a:lnTo>
                        <a:pt x="30" y="144"/>
                      </a:lnTo>
                      <a:lnTo>
                        <a:pt x="54" y="132"/>
                      </a:lnTo>
                      <a:lnTo>
                        <a:pt x="78" y="132"/>
                      </a:lnTo>
                      <a:lnTo>
                        <a:pt x="78" y="138"/>
                      </a:lnTo>
                      <a:lnTo>
                        <a:pt x="66" y="150"/>
                      </a:lnTo>
                      <a:lnTo>
                        <a:pt x="60" y="150"/>
                      </a:lnTo>
                      <a:lnTo>
                        <a:pt x="60" y="156"/>
                      </a:lnTo>
                      <a:lnTo>
                        <a:pt x="72" y="156"/>
                      </a:lnTo>
                      <a:lnTo>
                        <a:pt x="78" y="150"/>
                      </a:lnTo>
                      <a:lnTo>
                        <a:pt x="96" y="150"/>
                      </a:lnTo>
                      <a:lnTo>
                        <a:pt x="102" y="156"/>
                      </a:lnTo>
                      <a:lnTo>
                        <a:pt x="114" y="156"/>
                      </a:lnTo>
                      <a:lnTo>
                        <a:pt x="120" y="150"/>
                      </a:lnTo>
                      <a:lnTo>
                        <a:pt x="120" y="144"/>
                      </a:lnTo>
                      <a:lnTo>
                        <a:pt x="174" y="144"/>
                      </a:lnTo>
                      <a:lnTo>
                        <a:pt x="174" y="162"/>
                      </a:lnTo>
                      <a:lnTo>
                        <a:pt x="180" y="162"/>
                      </a:lnTo>
                      <a:lnTo>
                        <a:pt x="192" y="168"/>
                      </a:lnTo>
                      <a:lnTo>
                        <a:pt x="192" y="174"/>
                      </a:lnTo>
                      <a:lnTo>
                        <a:pt x="168" y="198"/>
                      </a:lnTo>
                      <a:lnTo>
                        <a:pt x="144" y="210"/>
                      </a:lnTo>
                      <a:lnTo>
                        <a:pt x="138" y="216"/>
                      </a:lnTo>
                      <a:lnTo>
                        <a:pt x="138" y="222"/>
                      </a:lnTo>
                      <a:lnTo>
                        <a:pt x="144" y="222"/>
                      </a:lnTo>
                      <a:lnTo>
                        <a:pt x="150" y="228"/>
                      </a:lnTo>
                      <a:lnTo>
                        <a:pt x="150" y="240"/>
                      </a:lnTo>
                      <a:lnTo>
                        <a:pt x="144" y="258"/>
                      </a:lnTo>
                      <a:lnTo>
                        <a:pt x="144" y="276"/>
                      </a:lnTo>
                      <a:lnTo>
                        <a:pt x="138" y="276"/>
                      </a:lnTo>
                      <a:lnTo>
                        <a:pt x="132" y="282"/>
                      </a:lnTo>
                      <a:lnTo>
                        <a:pt x="132" y="294"/>
                      </a:lnTo>
                      <a:lnTo>
                        <a:pt x="138" y="300"/>
                      </a:lnTo>
                      <a:lnTo>
                        <a:pt x="138" y="312"/>
                      </a:lnTo>
                      <a:lnTo>
                        <a:pt x="126" y="324"/>
                      </a:lnTo>
                      <a:lnTo>
                        <a:pt x="90" y="324"/>
                      </a:lnTo>
                      <a:lnTo>
                        <a:pt x="114" y="348"/>
                      </a:lnTo>
                      <a:lnTo>
                        <a:pt x="114" y="360"/>
                      </a:lnTo>
                      <a:lnTo>
                        <a:pt x="120" y="366"/>
                      </a:lnTo>
                      <a:lnTo>
                        <a:pt x="132" y="372"/>
                      </a:lnTo>
                      <a:lnTo>
                        <a:pt x="132" y="378"/>
                      </a:lnTo>
                      <a:lnTo>
                        <a:pt x="120" y="390"/>
                      </a:lnTo>
                      <a:lnTo>
                        <a:pt x="108" y="396"/>
                      </a:lnTo>
                      <a:lnTo>
                        <a:pt x="96" y="408"/>
                      </a:lnTo>
                      <a:lnTo>
                        <a:pt x="96" y="414"/>
                      </a:lnTo>
                      <a:lnTo>
                        <a:pt x="102" y="420"/>
                      </a:lnTo>
                      <a:lnTo>
                        <a:pt x="102" y="426"/>
                      </a:lnTo>
                      <a:lnTo>
                        <a:pt x="108" y="438"/>
                      </a:lnTo>
                      <a:lnTo>
                        <a:pt x="114" y="444"/>
                      </a:lnTo>
                      <a:lnTo>
                        <a:pt x="126" y="444"/>
                      </a:lnTo>
                      <a:lnTo>
                        <a:pt x="126" y="450"/>
                      </a:lnTo>
                      <a:lnTo>
                        <a:pt x="114" y="462"/>
                      </a:lnTo>
                      <a:lnTo>
                        <a:pt x="102" y="462"/>
                      </a:lnTo>
                      <a:lnTo>
                        <a:pt x="96" y="474"/>
                      </a:lnTo>
                      <a:lnTo>
                        <a:pt x="90" y="480"/>
                      </a:lnTo>
                      <a:lnTo>
                        <a:pt x="90" y="528"/>
                      </a:lnTo>
                      <a:lnTo>
                        <a:pt x="120" y="528"/>
                      </a:lnTo>
                      <a:lnTo>
                        <a:pt x="144" y="546"/>
                      </a:lnTo>
                      <a:lnTo>
                        <a:pt x="162" y="546"/>
                      </a:lnTo>
                      <a:lnTo>
                        <a:pt x="156" y="576"/>
                      </a:lnTo>
                      <a:lnTo>
                        <a:pt x="162" y="576"/>
                      </a:lnTo>
                      <a:lnTo>
                        <a:pt x="162" y="594"/>
                      </a:lnTo>
                      <a:lnTo>
                        <a:pt x="168" y="606"/>
                      </a:lnTo>
                      <a:lnTo>
                        <a:pt x="174" y="612"/>
                      </a:lnTo>
                      <a:lnTo>
                        <a:pt x="192" y="612"/>
                      </a:lnTo>
                      <a:lnTo>
                        <a:pt x="198" y="618"/>
                      </a:lnTo>
                      <a:lnTo>
                        <a:pt x="204" y="618"/>
                      </a:lnTo>
                      <a:lnTo>
                        <a:pt x="210" y="612"/>
                      </a:lnTo>
                      <a:lnTo>
                        <a:pt x="222" y="606"/>
                      </a:lnTo>
                      <a:lnTo>
                        <a:pt x="240" y="588"/>
                      </a:lnTo>
                      <a:lnTo>
                        <a:pt x="252" y="582"/>
                      </a:lnTo>
                      <a:lnTo>
                        <a:pt x="264" y="582"/>
                      </a:lnTo>
                      <a:lnTo>
                        <a:pt x="294" y="564"/>
                      </a:lnTo>
                      <a:lnTo>
                        <a:pt x="360" y="564"/>
                      </a:lnTo>
                      <a:lnTo>
                        <a:pt x="366" y="558"/>
                      </a:lnTo>
                      <a:lnTo>
                        <a:pt x="378" y="558"/>
                      </a:lnTo>
                      <a:lnTo>
                        <a:pt x="390" y="570"/>
                      </a:lnTo>
                      <a:lnTo>
                        <a:pt x="396" y="570"/>
                      </a:lnTo>
                      <a:lnTo>
                        <a:pt x="408" y="564"/>
                      </a:lnTo>
                      <a:lnTo>
                        <a:pt x="420" y="564"/>
                      </a:lnTo>
                      <a:lnTo>
                        <a:pt x="426" y="558"/>
                      </a:lnTo>
                      <a:lnTo>
                        <a:pt x="432" y="558"/>
                      </a:lnTo>
                      <a:lnTo>
                        <a:pt x="432" y="570"/>
                      </a:lnTo>
                      <a:lnTo>
                        <a:pt x="438" y="570"/>
                      </a:lnTo>
                      <a:lnTo>
                        <a:pt x="450" y="558"/>
                      </a:lnTo>
                      <a:lnTo>
                        <a:pt x="462" y="534"/>
                      </a:lnTo>
                      <a:lnTo>
                        <a:pt x="462" y="522"/>
                      </a:lnTo>
                      <a:lnTo>
                        <a:pt x="498" y="492"/>
                      </a:lnTo>
                      <a:lnTo>
                        <a:pt x="528" y="492"/>
                      </a:lnTo>
                      <a:lnTo>
                        <a:pt x="534" y="474"/>
                      </a:lnTo>
                      <a:lnTo>
                        <a:pt x="534" y="468"/>
                      </a:lnTo>
                      <a:lnTo>
                        <a:pt x="540" y="462"/>
                      </a:lnTo>
                      <a:lnTo>
                        <a:pt x="540" y="450"/>
                      </a:lnTo>
                      <a:lnTo>
                        <a:pt x="546" y="444"/>
                      </a:lnTo>
                      <a:lnTo>
                        <a:pt x="552" y="432"/>
                      </a:lnTo>
                      <a:lnTo>
                        <a:pt x="552" y="426"/>
                      </a:lnTo>
                      <a:lnTo>
                        <a:pt x="570" y="426"/>
                      </a:lnTo>
                      <a:lnTo>
                        <a:pt x="594" y="414"/>
                      </a:lnTo>
                      <a:lnTo>
                        <a:pt x="600" y="408"/>
                      </a:lnTo>
                      <a:lnTo>
                        <a:pt x="594" y="396"/>
                      </a:lnTo>
                      <a:lnTo>
                        <a:pt x="588" y="390"/>
                      </a:lnTo>
                      <a:lnTo>
                        <a:pt x="582" y="378"/>
                      </a:lnTo>
                      <a:lnTo>
                        <a:pt x="576" y="372"/>
                      </a:lnTo>
                      <a:lnTo>
                        <a:pt x="570" y="372"/>
                      </a:lnTo>
                      <a:lnTo>
                        <a:pt x="570" y="336"/>
                      </a:lnTo>
                      <a:lnTo>
                        <a:pt x="582" y="312"/>
                      </a:lnTo>
                      <a:lnTo>
                        <a:pt x="594" y="306"/>
                      </a:lnTo>
                      <a:lnTo>
                        <a:pt x="600" y="294"/>
                      </a:lnTo>
                      <a:lnTo>
                        <a:pt x="612" y="282"/>
                      </a:lnTo>
                      <a:lnTo>
                        <a:pt x="618" y="270"/>
                      </a:lnTo>
                      <a:lnTo>
                        <a:pt x="630" y="258"/>
                      </a:lnTo>
                      <a:lnTo>
                        <a:pt x="642" y="258"/>
                      </a:lnTo>
                      <a:lnTo>
                        <a:pt x="654" y="246"/>
                      </a:lnTo>
                      <a:lnTo>
                        <a:pt x="654" y="240"/>
                      </a:lnTo>
                      <a:lnTo>
                        <a:pt x="648" y="240"/>
                      </a:lnTo>
                      <a:lnTo>
                        <a:pt x="648" y="228"/>
                      </a:lnTo>
                      <a:lnTo>
                        <a:pt x="654" y="222"/>
                      </a:lnTo>
                      <a:lnTo>
                        <a:pt x="726" y="198"/>
                      </a:lnTo>
                      <a:lnTo>
                        <a:pt x="750" y="186"/>
                      </a:lnTo>
                      <a:lnTo>
                        <a:pt x="756" y="174"/>
                      </a:lnTo>
                      <a:lnTo>
                        <a:pt x="768" y="168"/>
                      </a:lnTo>
                      <a:lnTo>
                        <a:pt x="774" y="168"/>
                      </a:lnTo>
                      <a:lnTo>
                        <a:pt x="786" y="156"/>
                      </a:lnTo>
                      <a:lnTo>
                        <a:pt x="798" y="156"/>
                      </a:lnTo>
                      <a:lnTo>
                        <a:pt x="804" y="150"/>
                      </a:lnTo>
                      <a:close/>
                    </a:path>
                  </a:pathLst>
                </a:custGeom>
                <a:solidFill>
                  <a:schemeClr val="accent1"/>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552" name="Somalia"/>
                <p:cNvSpPr>
                  <a:spLocks/>
                </p:cNvSpPr>
                <p:nvPr/>
              </p:nvSpPr>
              <p:spPr bwMode="gray">
                <a:xfrm>
                  <a:off x="3399" y="2062"/>
                  <a:ext cx="183" cy="283"/>
                </a:xfrm>
                <a:custGeom>
                  <a:avLst/>
                  <a:gdLst>
                    <a:gd name="T0" fmla="*/ 2147483647 w 714"/>
                    <a:gd name="T1" fmla="*/ 2147483647 h 1104"/>
                    <a:gd name="T2" fmla="*/ 2147483647 w 714"/>
                    <a:gd name="T3" fmla="*/ 2147483647 h 1104"/>
                    <a:gd name="T4" fmla="*/ 2147483647 w 714"/>
                    <a:gd name="T5" fmla="*/ 2147483647 h 1104"/>
                    <a:gd name="T6" fmla="*/ 2147483647 w 714"/>
                    <a:gd name="T7" fmla="*/ 2147483647 h 1104"/>
                    <a:gd name="T8" fmla="*/ 2147483647 w 714"/>
                    <a:gd name="T9" fmla="*/ 2147483647 h 1104"/>
                    <a:gd name="T10" fmla="*/ 2147483647 w 714"/>
                    <a:gd name="T11" fmla="*/ 2147483647 h 1104"/>
                    <a:gd name="T12" fmla="*/ 2147483647 w 714"/>
                    <a:gd name="T13" fmla="*/ 2147483647 h 1104"/>
                    <a:gd name="T14" fmla="*/ 2147483647 w 714"/>
                    <a:gd name="T15" fmla="*/ 2147483647 h 1104"/>
                    <a:gd name="T16" fmla="*/ 2147483647 w 714"/>
                    <a:gd name="T17" fmla="*/ 2147483647 h 1104"/>
                    <a:gd name="T18" fmla="*/ 2147483647 w 714"/>
                    <a:gd name="T19" fmla="*/ 2147483647 h 1104"/>
                    <a:gd name="T20" fmla="*/ 2147483647 w 714"/>
                    <a:gd name="T21" fmla="*/ 2147483647 h 1104"/>
                    <a:gd name="T22" fmla="*/ 2147483647 w 714"/>
                    <a:gd name="T23" fmla="*/ 2147483647 h 1104"/>
                    <a:gd name="T24" fmla="*/ 0 w 714"/>
                    <a:gd name="T25" fmla="*/ 2147483647 h 1104"/>
                    <a:gd name="T26" fmla="*/ 2147483647 w 714"/>
                    <a:gd name="T27" fmla="*/ 2147483647 h 1104"/>
                    <a:gd name="T28" fmla="*/ 2147483647 w 714"/>
                    <a:gd name="T29" fmla="*/ 2147483647 h 1104"/>
                    <a:gd name="T30" fmla="*/ 2147483647 w 714"/>
                    <a:gd name="T31" fmla="*/ 2147483647 h 1104"/>
                    <a:gd name="T32" fmla="*/ 2147483647 w 714"/>
                    <a:gd name="T33" fmla="*/ 2147483647 h 1104"/>
                    <a:gd name="T34" fmla="*/ 2147483647 w 714"/>
                    <a:gd name="T35" fmla="*/ 2147483647 h 1104"/>
                    <a:gd name="T36" fmla="*/ 2147483647 w 714"/>
                    <a:gd name="T37" fmla="*/ 2147483647 h 1104"/>
                    <a:gd name="T38" fmla="*/ 2147483647 w 714"/>
                    <a:gd name="T39" fmla="*/ 2147483647 h 1104"/>
                    <a:gd name="T40" fmla="*/ 2147483647 w 714"/>
                    <a:gd name="T41" fmla="*/ 2147483647 h 1104"/>
                    <a:gd name="T42" fmla="*/ 2147483647 w 714"/>
                    <a:gd name="T43" fmla="*/ 2147483647 h 1104"/>
                    <a:gd name="T44" fmla="*/ 2147483647 w 714"/>
                    <a:gd name="T45" fmla="*/ 2147483647 h 1104"/>
                    <a:gd name="T46" fmla="*/ 2147483647 w 714"/>
                    <a:gd name="T47" fmla="*/ 2147483647 h 1104"/>
                    <a:gd name="T48" fmla="*/ 2147483647 w 714"/>
                    <a:gd name="T49" fmla="*/ 2147483647 h 1104"/>
                    <a:gd name="T50" fmla="*/ 2147483647 w 714"/>
                    <a:gd name="T51" fmla="*/ 2147483647 h 1104"/>
                    <a:gd name="T52" fmla="*/ 2147483647 w 714"/>
                    <a:gd name="T53" fmla="*/ 2147483647 h 1104"/>
                    <a:gd name="T54" fmla="*/ 2147483647 w 714"/>
                    <a:gd name="T55" fmla="*/ 2147483647 h 1104"/>
                    <a:gd name="T56" fmla="*/ 2147483647 w 714"/>
                    <a:gd name="T57" fmla="*/ 2147483647 h 1104"/>
                    <a:gd name="T58" fmla="*/ 2147483647 w 714"/>
                    <a:gd name="T59" fmla="*/ 2147483647 h 1104"/>
                    <a:gd name="T60" fmla="*/ 2147483647 w 714"/>
                    <a:gd name="T61" fmla="*/ 2147483647 h 1104"/>
                    <a:gd name="T62" fmla="*/ 2147483647 w 714"/>
                    <a:gd name="T63" fmla="*/ 2147483647 h 1104"/>
                    <a:gd name="T64" fmla="*/ 2147483647 w 714"/>
                    <a:gd name="T65" fmla="*/ 2147483647 h 1104"/>
                    <a:gd name="T66" fmla="*/ 2147483647 w 714"/>
                    <a:gd name="T67" fmla="*/ 2147483647 h 1104"/>
                    <a:gd name="T68" fmla="*/ 2147483647 w 714"/>
                    <a:gd name="T69" fmla="*/ 2147483647 h 1104"/>
                    <a:gd name="T70" fmla="*/ 2147483647 w 714"/>
                    <a:gd name="T71" fmla="*/ 2147483647 h 1104"/>
                    <a:gd name="T72" fmla="*/ 2147483647 w 714"/>
                    <a:gd name="T73" fmla="*/ 2147483647 h 1104"/>
                    <a:gd name="T74" fmla="*/ 2147483647 w 714"/>
                    <a:gd name="T75" fmla="*/ 2147483647 h 1104"/>
                    <a:gd name="T76" fmla="*/ 2147483647 w 714"/>
                    <a:gd name="T77" fmla="*/ 2147483647 h 1104"/>
                    <a:gd name="T78" fmla="*/ 2147483647 w 714"/>
                    <a:gd name="T79" fmla="*/ 2147483647 h 1104"/>
                    <a:gd name="T80" fmla="*/ 2147483647 w 714"/>
                    <a:gd name="T81" fmla="*/ 2147483647 h 1104"/>
                    <a:gd name="T82" fmla="*/ 2147483647 w 714"/>
                    <a:gd name="T83" fmla="*/ 2147483647 h 1104"/>
                    <a:gd name="T84" fmla="*/ 2147483647 w 714"/>
                    <a:gd name="T85" fmla="*/ 2147483647 h 1104"/>
                    <a:gd name="T86" fmla="*/ 2147483647 w 714"/>
                    <a:gd name="T87" fmla="*/ 2147483647 h 110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714"/>
                    <a:gd name="T133" fmla="*/ 0 h 1104"/>
                    <a:gd name="T134" fmla="*/ 714 w 714"/>
                    <a:gd name="T135" fmla="*/ 1104 h 110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714" h="1104">
                      <a:moveTo>
                        <a:pt x="108" y="114"/>
                      </a:moveTo>
                      <a:lnTo>
                        <a:pt x="120" y="126"/>
                      </a:lnTo>
                      <a:lnTo>
                        <a:pt x="120" y="138"/>
                      </a:lnTo>
                      <a:lnTo>
                        <a:pt x="126" y="150"/>
                      </a:lnTo>
                      <a:lnTo>
                        <a:pt x="132" y="156"/>
                      </a:lnTo>
                      <a:lnTo>
                        <a:pt x="138" y="168"/>
                      </a:lnTo>
                      <a:lnTo>
                        <a:pt x="144" y="174"/>
                      </a:lnTo>
                      <a:lnTo>
                        <a:pt x="156" y="198"/>
                      </a:lnTo>
                      <a:lnTo>
                        <a:pt x="162" y="204"/>
                      </a:lnTo>
                      <a:lnTo>
                        <a:pt x="162" y="210"/>
                      </a:lnTo>
                      <a:lnTo>
                        <a:pt x="186" y="210"/>
                      </a:lnTo>
                      <a:lnTo>
                        <a:pt x="192" y="222"/>
                      </a:lnTo>
                      <a:lnTo>
                        <a:pt x="198" y="228"/>
                      </a:lnTo>
                      <a:lnTo>
                        <a:pt x="204" y="240"/>
                      </a:lnTo>
                      <a:lnTo>
                        <a:pt x="240" y="258"/>
                      </a:lnTo>
                      <a:lnTo>
                        <a:pt x="312" y="282"/>
                      </a:lnTo>
                      <a:lnTo>
                        <a:pt x="336" y="288"/>
                      </a:lnTo>
                      <a:lnTo>
                        <a:pt x="348" y="294"/>
                      </a:lnTo>
                      <a:lnTo>
                        <a:pt x="366" y="300"/>
                      </a:lnTo>
                      <a:lnTo>
                        <a:pt x="378" y="312"/>
                      </a:lnTo>
                      <a:lnTo>
                        <a:pt x="414" y="330"/>
                      </a:lnTo>
                      <a:lnTo>
                        <a:pt x="486" y="324"/>
                      </a:lnTo>
                      <a:lnTo>
                        <a:pt x="276" y="570"/>
                      </a:lnTo>
                      <a:lnTo>
                        <a:pt x="192" y="570"/>
                      </a:lnTo>
                      <a:lnTo>
                        <a:pt x="186" y="576"/>
                      </a:lnTo>
                      <a:lnTo>
                        <a:pt x="174" y="576"/>
                      </a:lnTo>
                      <a:lnTo>
                        <a:pt x="162" y="582"/>
                      </a:lnTo>
                      <a:lnTo>
                        <a:pt x="156" y="588"/>
                      </a:lnTo>
                      <a:lnTo>
                        <a:pt x="144" y="594"/>
                      </a:lnTo>
                      <a:lnTo>
                        <a:pt x="144" y="606"/>
                      </a:lnTo>
                      <a:lnTo>
                        <a:pt x="126" y="624"/>
                      </a:lnTo>
                      <a:lnTo>
                        <a:pt x="102" y="624"/>
                      </a:lnTo>
                      <a:lnTo>
                        <a:pt x="90" y="630"/>
                      </a:lnTo>
                      <a:lnTo>
                        <a:pt x="78" y="630"/>
                      </a:lnTo>
                      <a:lnTo>
                        <a:pt x="66" y="642"/>
                      </a:lnTo>
                      <a:lnTo>
                        <a:pt x="66" y="654"/>
                      </a:lnTo>
                      <a:lnTo>
                        <a:pt x="60" y="660"/>
                      </a:lnTo>
                      <a:lnTo>
                        <a:pt x="42" y="696"/>
                      </a:lnTo>
                      <a:lnTo>
                        <a:pt x="0" y="738"/>
                      </a:lnTo>
                      <a:lnTo>
                        <a:pt x="0" y="1038"/>
                      </a:lnTo>
                      <a:lnTo>
                        <a:pt x="42" y="1104"/>
                      </a:lnTo>
                      <a:lnTo>
                        <a:pt x="48" y="1086"/>
                      </a:lnTo>
                      <a:lnTo>
                        <a:pt x="84" y="1032"/>
                      </a:lnTo>
                      <a:lnTo>
                        <a:pt x="96" y="1008"/>
                      </a:lnTo>
                      <a:lnTo>
                        <a:pt x="114" y="996"/>
                      </a:lnTo>
                      <a:lnTo>
                        <a:pt x="144" y="966"/>
                      </a:lnTo>
                      <a:lnTo>
                        <a:pt x="150" y="954"/>
                      </a:lnTo>
                      <a:lnTo>
                        <a:pt x="162" y="936"/>
                      </a:lnTo>
                      <a:lnTo>
                        <a:pt x="192" y="906"/>
                      </a:lnTo>
                      <a:lnTo>
                        <a:pt x="216" y="876"/>
                      </a:lnTo>
                      <a:lnTo>
                        <a:pt x="246" y="846"/>
                      </a:lnTo>
                      <a:lnTo>
                        <a:pt x="264" y="840"/>
                      </a:lnTo>
                      <a:lnTo>
                        <a:pt x="276" y="828"/>
                      </a:lnTo>
                      <a:lnTo>
                        <a:pt x="294" y="816"/>
                      </a:lnTo>
                      <a:lnTo>
                        <a:pt x="318" y="804"/>
                      </a:lnTo>
                      <a:lnTo>
                        <a:pt x="336" y="786"/>
                      </a:lnTo>
                      <a:lnTo>
                        <a:pt x="372" y="756"/>
                      </a:lnTo>
                      <a:lnTo>
                        <a:pt x="420" y="708"/>
                      </a:lnTo>
                      <a:lnTo>
                        <a:pt x="438" y="684"/>
                      </a:lnTo>
                      <a:lnTo>
                        <a:pt x="462" y="654"/>
                      </a:lnTo>
                      <a:lnTo>
                        <a:pt x="492" y="618"/>
                      </a:lnTo>
                      <a:lnTo>
                        <a:pt x="516" y="570"/>
                      </a:lnTo>
                      <a:lnTo>
                        <a:pt x="528" y="540"/>
                      </a:lnTo>
                      <a:lnTo>
                        <a:pt x="546" y="516"/>
                      </a:lnTo>
                      <a:lnTo>
                        <a:pt x="558" y="498"/>
                      </a:lnTo>
                      <a:lnTo>
                        <a:pt x="564" y="492"/>
                      </a:lnTo>
                      <a:lnTo>
                        <a:pt x="570" y="480"/>
                      </a:lnTo>
                      <a:lnTo>
                        <a:pt x="576" y="474"/>
                      </a:lnTo>
                      <a:lnTo>
                        <a:pt x="576" y="450"/>
                      </a:lnTo>
                      <a:lnTo>
                        <a:pt x="582" y="432"/>
                      </a:lnTo>
                      <a:lnTo>
                        <a:pt x="588" y="420"/>
                      </a:lnTo>
                      <a:lnTo>
                        <a:pt x="588" y="402"/>
                      </a:lnTo>
                      <a:lnTo>
                        <a:pt x="594" y="390"/>
                      </a:lnTo>
                      <a:lnTo>
                        <a:pt x="606" y="378"/>
                      </a:lnTo>
                      <a:lnTo>
                        <a:pt x="612" y="366"/>
                      </a:lnTo>
                      <a:lnTo>
                        <a:pt x="624" y="354"/>
                      </a:lnTo>
                      <a:lnTo>
                        <a:pt x="624" y="324"/>
                      </a:lnTo>
                      <a:lnTo>
                        <a:pt x="636" y="318"/>
                      </a:lnTo>
                      <a:lnTo>
                        <a:pt x="642" y="306"/>
                      </a:lnTo>
                      <a:lnTo>
                        <a:pt x="660" y="252"/>
                      </a:lnTo>
                      <a:lnTo>
                        <a:pt x="672" y="252"/>
                      </a:lnTo>
                      <a:lnTo>
                        <a:pt x="672" y="246"/>
                      </a:lnTo>
                      <a:lnTo>
                        <a:pt x="684" y="234"/>
                      </a:lnTo>
                      <a:lnTo>
                        <a:pt x="684" y="138"/>
                      </a:lnTo>
                      <a:lnTo>
                        <a:pt x="708" y="126"/>
                      </a:lnTo>
                      <a:lnTo>
                        <a:pt x="702" y="54"/>
                      </a:lnTo>
                      <a:lnTo>
                        <a:pt x="708" y="42"/>
                      </a:lnTo>
                      <a:lnTo>
                        <a:pt x="708" y="36"/>
                      </a:lnTo>
                      <a:lnTo>
                        <a:pt x="714" y="24"/>
                      </a:lnTo>
                      <a:lnTo>
                        <a:pt x="714" y="12"/>
                      </a:lnTo>
                      <a:lnTo>
                        <a:pt x="690" y="0"/>
                      </a:lnTo>
                      <a:lnTo>
                        <a:pt x="672" y="0"/>
                      </a:lnTo>
                      <a:lnTo>
                        <a:pt x="666" y="12"/>
                      </a:lnTo>
                      <a:lnTo>
                        <a:pt x="654" y="18"/>
                      </a:lnTo>
                      <a:lnTo>
                        <a:pt x="648" y="30"/>
                      </a:lnTo>
                      <a:lnTo>
                        <a:pt x="624" y="42"/>
                      </a:lnTo>
                      <a:lnTo>
                        <a:pt x="612" y="42"/>
                      </a:lnTo>
                      <a:lnTo>
                        <a:pt x="594" y="48"/>
                      </a:lnTo>
                      <a:lnTo>
                        <a:pt x="582" y="54"/>
                      </a:lnTo>
                      <a:lnTo>
                        <a:pt x="564" y="54"/>
                      </a:lnTo>
                      <a:lnTo>
                        <a:pt x="546" y="48"/>
                      </a:lnTo>
                      <a:lnTo>
                        <a:pt x="534" y="42"/>
                      </a:lnTo>
                      <a:lnTo>
                        <a:pt x="516" y="48"/>
                      </a:lnTo>
                      <a:lnTo>
                        <a:pt x="510" y="54"/>
                      </a:lnTo>
                      <a:lnTo>
                        <a:pt x="498" y="60"/>
                      </a:lnTo>
                      <a:lnTo>
                        <a:pt x="492" y="72"/>
                      </a:lnTo>
                      <a:lnTo>
                        <a:pt x="486" y="78"/>
                      </a:lnTo>
                      <a:lnTo>
                        <a:pt x="474" y="78"/>
                      </a:lnTo>
                      <a:lnTo>
                        <a:pt x="462" y="72"/>
                      </a:lnTo>
                      <a:lnTo>
                        <a:pt x="456" y="60"/>
                      </a:lnTo>
                      <a:lnTo>
                        <a:pt x="444" y="60"/>
                      </a:lnTo>
                      <a:lnTo>
                        <a:pt x="438" y="66"/>
                      </a:lnTo>
                      <a:lnTo>
                        <a:pt x="426" y="72"/>
                      </a:lnTo>
                      <a:lnTo>
                        <a:pt x="396" y="102"/>
                      </a:lnTo>
                      <a:lnTo>
                        <a:pt x="384" y="108"/>
                      </a:lnTo>
                      <a:lnTo>
                        <a:pt x="372" y="108"/>
                      </a:lnTo>
                      <a:lnTo>
                        <a:pt x="360" y="102"/>
                      </a:lnTo>
                      <a:lnTo>
                        <a:pt x="354" y="96"/>
                      </a:lnTo>
                      <a:lnTo>
                        <a:pt x="342" y="90"/>
                      </a:lnTo>
                      <a:lnTo>
                        <a:pt x="330" y="90"/>
                      </a:lnTo>
                      <a:lnTo>
                        <a:pt x="306" y="102"/>
                      </a:lnTo>
                      <a:lnTo>
                        <a:pt x="294" y="114"/>
                      </a:lnTo>
                      <a:lnTo>
                        <a:pt x="270" y="126"/>
                      </a:lnTo>
                      <a:lnTo>
                        <a:pt x="210" y="126"/>
                      </a:lnTo>
                      <a:lnTo>
                        <a:pt x="192" y="108"/>
                      </a:lnTo>
                      <a:lnTo>
                        <a:pt x="186" y="96"/>
                      </a:lnTo>
                      <a:lnTo>
                        <a:pt x="174" y="90"/>
                      </a:lnTo>
                      <a:lnTo>
                        <a:pt x="168" y="78"/>
                      </a:lnTo>
                      <a:lnTo>
                        <a:pt x="168" y="66"/>
                      </a:lnTo>
                      <a:lnTo>
                        <a:pt x="156" y="54"/>
                      </a:lnTo>
                      <a:lnTo>
                        <a:pt x="150" y="54"/>
                      </a:lnTo>
                      <a:lnTo>
                        <a:pt x="126" y="78"/>
                      </a:lnTo>
                      <a:lnTo>
                        <a:pt x="108" y="114"/>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553" name="Solomon Islands"/>
                <p:cNvSpPr>
                  <a:spLocks noEditPoints="1"/>
                </p:cNvSpPr>
                <p:nvPr/>
              </p:nvSpPr>
              <p:spPr bwMode="gray">
                <a:xfrm>
                  <a:off x="5498" y="2448"/>
                  <a:ext cx="95" cy="89"/>
                </a:xfrm>
                <a:custGeom>
                  <a:avLst/>
                  <a:gdLst>
                    <a:gd name="T0" fmla="*/ 2147483647 w 372"/>
                    <a:gd name="T1" fmla="*/ 0 h 348"/>
                    <a:gd name="T2" fmla="*/ 2147483647 w 372"/>
                    <a:gd name="T3" fmla="*/ 2147483647 h 348"/>
                    <a:gd name="T4" fmla="*/ 0 w 372"/>
                    <a:gd name="T5" fmla="*/ 2147483647 h 348"/>
                    <a:gd name="T6" fmla="*/ 2147483647 w 372"/>
                    <a:gd name="T7" fmla="*/ 2147483647 h 348"/>
                    <a:gd name="T8" fmla="*/ 0 w 372"/>
                    <a:gd name="T9" fmla="*/ 2147483647 h 348"/>
                    <a:gd name="T10" fmla="*/ 2147483647 w 372"/>
                    <a:gd name="T11" fmla="*/ 2147483647 h 348"/>
                    <a:gd name="T12" fmla="*/ 2147483647 w 372"/>
                    <a:gd name="T13" fmla="*/ 2147483647 h 348"/>
                    <a:gd name="T14" fmla="*/ 2147483647 w 372"/>
                    <a:gd name="T15" fmla="*/ 2147483647 h 348"/>
                    <a:gd name="T16" fmla="*/ 2147483647 w 372"/>
                    <a:gd name="T17" fmla="*/ 2147483647 h 348"/>
                    <a:gd name="T18" fmla="*/ 2147483647 w 372"/>
                    <a:gd name="T19" fmla="*/ 2147483647 h 348"/>
                    <a:gd name="T20" fmla="*/ 2147483647 w 372"/>
                    <a:gd name="T21" fmla="*/ 2147483647 h 348"/>
                    <a:gd name="T22" fmla="*/ 2147483647 w 372"/>
                    <a:gd name="T23" fmla="*/ 2147483647 h 348"/>
                    <a:gd name="T24" fmla="*/ 2147483647 w 372"/>
                    <a:gd name="T25" fmla="*/ 2147483647 h 348"/>
                    <a:gd name="T26" fmla="*/ 2147483647 w 372"/>
                    <a:gd name="T27" fmla="*/ 2147483647 h 348"/>
                    <a:gd name="T28" fmla="*/ 2147483647 w 372"/>
                    <a:gd name="T29" fmla="*/ 2147483647 h 348"/>
                    <a:gd name="T30" fmla="*/ 2147483647 w 372"/>
                    <a:gd name="T31" fmla="*/ 2147483647 h 348"/>
                    <a:gd name="T32" fmla="*/ 2147483647 w 372"/>
                    <a:gd name="T33" fmla="*/ 2147483647 h 348"/>
                    <a:gd name="T34" fmla="*/ 2147483647 w 372"/>
                    <a:gd name="T35" fmla="*/ 2147483647 h 348"/>
                    <a:gd name="T36" fmla="*/ 2147483647 w 372"/>
                    <a:gd name="T37" fmla="*/ 2147483647 h 348"/>
                    <a:gd name="T38" fmla="*/ 2147483647 w 372"/>
                    <a:gd name="T39" fmla="*/ 2147483647 h 348"/>
                    <a:gd name="T40" fmla="*/ 2147483647 w 372"/>
                    <a:gd name="T41" fmla="*/ 2147483647 h 348"/>
                    <a:gd name="T42" fmla="*/ 2147483647 w 372"/>
                    <a:gd name="T43" fmla="*/ 2147483647 h 348"/>
                    <a:gd name="T44" fmla="*/ 2147483647 w 372"/>
                    <a:gd name="T45" fmla="*/ 2147483647 h 348"/>
                    <a:gd name="T46" fmla="*/ 2147483647 w 372"/>
                    <a:gd name="T47" fmla="*/ 2147483647 h 348"/>
                    <a:gd name="T48" fmla="*/ 2147483647 w 372"/>
                    <a:gd name="T49" fmla="*/ 2147483647 h 348"/>
                    <a:gd name="T50" fmla="*/ 2147483647 w 372"/>
                    <a:gd name="T51" fmla="*/ 2147483647 h 348"/>
                    <a:gd name="T52" fmla="*/ 2147483647 w 372"/>
                    <a:gd name="T53" fmla="*/ 2147483647 h 348"/>
                    <a:gd name="T54" fmla="*/ 2147483647 w 372"/>
                    <a:gd name="T55" fmla="*/ 2147483647 h 348"/>
                    <a:gd name="T56" fmla="*/ 2147483647 w 372"/>
                    <a:gd name="T57" fmla="*/ 2147483647 h 348"/>
                    <a:gd name="T58" fmla="*/ 2147483647 w 372"/>
                    <a:gd name="T59" fmla="*/ 2147483647 h 348"/>
                    <a:gd name="T60" fmla="*/ 2147483647 w 372"/>
                    <a:gd name="T61" fmla="*/ 2147483647 h 348"/>
                    <a:gd name="T62" fmla="*/ 2147483647 w 372"/>
                    <a:gd name="T63" fmla="*/ 2147483647 h 34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72"/>
                    <a:gd name="T97" fmla="*/ 0 h 348"/>
                    <a:gd name="T98" fmla="*/ 372 w 372"/>
                    <a:gd name="T99" fmla="*/ 348 h 34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72" h="348">
                      <a:moveTo>
                        <a:pt x="30" y="18"/>
                      </a:moveTo>
                      <a:lnTo>
                        <a:pt x="12" y="0"/>
                      </a:lnTo>
                      <a:lnTo>
                        <a:pt x="6" y="24"/>
                      </a:lnTo>
                      <a:lnTo>
                        <a:pt x="24" y="48"/>
                      </a:lnTo>
                      <a:lnTo>
                        <a:pt x="30" y="18"/>
                      </a:lnTo>
                      <a:close/>
                      <a:moveTo>
                        <a:pt x="0" y="126"/>
                      </a:moveTo>
                      <a:lnTo>
                        <a:pt x="18" y="132"/>
                      </a:lnTo>
                      <a:lnTo>
                        <a:pt x="36" y="102"/>
                      </a:lnTo>
                      <a:lnTo>
                        <a:pt x="0" y="102"/>
                      </a:lnTo>
                      <a:lnTo>
                        <a:pt x="0" y="126"/>
                      </a:lnTo>
                      <a:close/>
                      <a:moveTo>
                        <a:pt x="78" y="120"/>
                      </a:moveTo>
                      <a:lnTo>
                        <a:pt x="36" y="120"/>
                      </a:lnTo>
                      <a:lnTo>
                        <a:pt x="42" y="144"/>
                      </a:lnTo>
                      <a:lnTo>
                        <a:pt x="78" y="132"/>
                      </a:lnTo>
                      <a:lnTo>
                        <a:pt x="78" y="120"/>
                      </a:lnTo>
                      <a:close/>
                      <a:moveTo>
                        <a:pt x="60" y="186"/>
                      </a:moveTo>
                      <a:lnTo>
                        <a:pt x="96" y="186"/>
                      </a:lnTo>
                      <a:lnTo>
                        <a:pt x="48" y="150"/>
                      </a:lnTo>
                      <a:lnTo>
                        <a:pt x="60" y="186"/>
                      </a:lnTo>
                      <a:close/>
                      <a:moveTo>
                        <a:pt x="246" y="222"/>
                      </a:moveTo>
                      <a:lnTo>
                        <a:pt x="222" y="210"/>
                      </a:lnTo>
                      <a:lnTo>
                        <a:pt x="192" y="210"/>
                      </a:lnTo>
                      <a:lnTo>
                        <a:pt x="192" y="228"/>
                      </a:lnTo>
                      <a:lnTo>
                        <a:pt x="198" y="234"/>
                      </a:lnTo>
                      <a:lnTo>
                        <a:pt x="204" y="246"/>
                      </a:lnTo>
                      <a:lnTo>
                        <a:pt x="216" y="252"/>
                      </a:lnTo>
                      <a:lnTo>
                        <a:pt x="252" y="264"/>
                      </a:lnTo>
                      <a:lnTo>
                        <a:pt x="264" y="264"/>
                      </a:lnTo>
                      <a:lnTo>
                        <a:pt x="276" y="258"/>
                      </a:lnTo>
                      <a:lnTo>
                        <a:pt x="276" y="252"/>
                      </a:lnTo>
                      <a:lnTo>
                        <a:pt x="270" y="246"/>
                      </a:lnTo>
                      <a:lnTo>
                        <a:pt x="264" y="234"/>
                      </a:lnTo>
                      <a:lnTo>
                        <a:pt x="246" y="222"/>
                      </a:lnTo>
                      <a:close/>
                      <a:moveTo>
                        <a:pt x="312" y="288"/>
                      </a:moveTo>
                      <a:lnTo>
                        <a:pt x="360" y="348"/>
                      </a:lnTo>
                      <a:lnTo>
                        <a:pt x="372" y="318"/>
                      </a:lnTo>
                      <a:lnTo>
                        <a:pt x="312" y="288"/>
                      </a:lnTo>
                      <a:close/>
                      <a:moveTo>
                        <a:pt x="288" y="126"/>
                      </a:moveTo>
                      <a:lnTo>
                        <a:pt x="288" y="132"/>
                      </a:lnTo>
                      <a:lnTo>
                        <a:pt x="282" y="138"/>
                      </a:lnTo>
                      <a:lnTo>
                        <a:pt x="282" y="150"/>
                      </a:lnTo>
                      <a:lnTo>
                        <a:pt x="276" y="162"/>
                      </a:lnTo>
                      <a:lnTo>
                        <a:pt x="276" y="192"/>
                      </a:lnTo>
                      <a:lnTo>
                        <a:pt x="312" y="228"/>
                      </a:lnTo>
                      <a:lnTo>
                        <a:pt x="324" y="234"/>
                      </a:lnTo>
                      <a:lnTo>
                        <a:pt x="330" y="240"/>
                      </a:lnTo>
                      <a:lnTo>
                        <a:pt x="288" y="126"/>
                      </a:lnTo>
                      <a:close/>
                      <a:moveTo>
                        <a:pt x="120" y="60"/>
                      </a:moveTo>
                      <a:lnTo>
                        <a:pt x="120" y="66"/>
                      </a:lnTo>
                      <a:lnTo>
                        <a:pt x="126" y="78"/>
                      </a:lnTo>
                      <a:lnTo>
                        <a:pt x="138" y="90"/>
                      </a:lnTo>
                      <a:lnTo>
                        <a:pt x="150" y="108"/>
                      </a:lnTo>
                      <a:lnTo>
                        <a:pt x="168" y="120"/>
                      </a:lnTo>
                      <a:lnTo>
                        <a:pt x="192" y="144"/>
                      </a:lnTo>
                      <a:lnTo>
                        <a:pt x="204" y="150"/>
                      </a:lnTo>
                      <a:lnTo>
                        <a:pt x="216" y="150"/>
                      </a:lnTo>
                      <a:lnTo>
                        <a:pt x="210" y="138"/>
                      </a:lnTo>
                      <a:lnTo>
                        <a:pt x="204" y="132"/>
                      </a:lnTo>
                      <a:lnTo>
                        <a:pt x="198" y="120"/>
                      </a:lnTo>
                      <a:lnTo>
                        <a:pt x="186" y="108"/>
                      </a:lnTo>
                      <a:lnTo>
                        <a:pt x="174" y="90"/>
                      </a:lnTo>
                      <a:lnTo>
                        <a:pt x="156" y="78"/>
                      </a:lnTo>
                      <a:lnTo>
                        <a:pt x="144" y="66"/>
                      </a:lnTo>
                      <a:lnTo>
                        <a:pt x="132" y="60"/>
                      </a:lnTo>
                      <a:lnTo>
                        <a:pt x="120" y="6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554" name="Slovenia"/>
                <p:cNvSpPr>
                  <a:spLocks/>
                </p:cNvSpPr>
                <p:nvPr/>
              </p:nvSpPr>
              <p:spPr bwMode="gray">
                <a:xfrm>
                  <a:off x="2888" y="1344"/>
                  <a:ext cx="54" cy="31"/>
                </a:xfrm>
                <a:custGeom>
                  <a:avLst/>
                  <a:gdLst>
                    <a:gd name="T0" fmla="*/ 2147483647 w 210"/>
                    <a:gd name="T1" fmla="*/ 2147483647 h 120"/>
                    <a:gd name="T2" fmla="*/ 2147483647 w 210"/>
                    <a:gd name="T3" fmla="*/ 2147483647 h 120"/>
                    <a:gd name="T4" fmla="*/ 2147483647 w 210"/>
                    <a:gd name="T5" fmla="*/ 2147483647 h 120"/>
                    <a:gd name="T6" fmla="*/ 2147483647 w 210"/>
                    <a:gd name="T7" fmla="*/ 2147483647 h 120"/>
                    <a:gd name="T8" fmla="*/ 2147483647 w 210"/>
                    <a:gd name="T9" fmla="*/ 2147483647 h 120"/>
                    <a:gd name="T10" fmla="*/ 2147483647 w 210"/>
                    <a:gd name="T11" fmla="*/ 2147483647 h 120"/>
                    <a:gd name="T12" fmla="*/ 2147483647 w 210"/>
                    <a:gd name="T13" fmla="*/ 2147483647 h 120"/>
                    <a:gd name="T14" fmla="*/ 2147483647 w 210"/>
                    <a:gd name="T15" fmla="*/ 2147483647 h 120"/>
                    <a:gd name="T16" fmla="*/ 2147483647 w 210"/>
                    <a:gd name="T17" fmla="*/ 2147483647 h 120"/>
                    <a:gd name="T18" fmla="*/ 2147483647 w 210"/>
                    <a:gd name="T19" fmla="*/ 2147483647 h 120"/>
                    <a:gd name="T20" fmla="*/ 2147483647 w 210"/>
                    <a:gd name="T21" fmla="*/ 2147483647 h 120"/>
                    <a:gd name="T22" fmla="*/ 2147483647 w 210"/>
                    <a:gd name="T23" fmla="*/ 2147483647 h 120"/>
                    <a:gd name="T24" fmla="*/ 2147483647 w 210"/>
                    <a:gd name="T25" fmla="*/ 2147483647 h 120"/>
                    <a:gd name="T26" fmla="*/ 2147483647 w 210"/>
                    <a:gd name="T27" fmla="*/ 2147483647 h 120"/>
                    <a:gd name="T28" fmla="*/ 2147483647 w 210"/>
                    <a:gd name="T29" fmla="*/ 2147483647 h 120"/>
                    <a:gd name="T30" fmla="*/ 2147483647 w 210"/>
                    <a:gd name="T31" fmla="*/ 2147483647 h 120"/>
                    <a:gd name="T32" fmla="*/ 2147483647 w 210"/>
                    <a:gd name="T33" fmla="*/ 2147483647 h 120"/>
                    <a:gd name="T34" fmla="*/ 2147483647 w 210"/>
                    <a:gd name="T35" fmla="*/ 2147483647 h 120"/>
                    <a:gd name="T36" fmla="*/ 2147483647 w 210"/>
                    <a:gd name="T37" fmla="*/ 2147483647 h 120"/>
                    <a:gd name="T38" fmla="*/ 2147483647 w 210"/>
                    <a:gd name="T39" fmla="*/ 2147483647 h 120"/>
                    <a:gd name="T40" fmla="*/ 2147483647 w 210"/>
                    <a:gd name="T41" fmla="*/ 2147483647 h 120"/>
                    <a:gd name="T42" fmla="*/ 2147483647 w 210"/>
                    <a:gd name="T43" fmla="*/ 0 h 120"/>
                    <a:gd name="T44" fmla="*/ 2147483647 w 210"/>
                    <a:gd name="T45" fmla="*/ 2147483647 h 120"/>
                    <a:gd name="T46" fmla="*/ 2147483647 w 210"/>
                    <a:gd name="T47" fmla="*/ 2147483647 h 120"/>
                    <a:gd name="T48" fmla="*/ 2147483647 w 210"/>
                    <a:gd name="T49" fmla="*/ 2147483647 h 120"/>
                    <a:gd name="T50" fmla="*/ 2147483647 w 210"/>
                    <a:gd name="T51" fmla="*/ 2147483647 h 120"/>
                    <a:gd name="T52" fmla="*/ 2147483647 w 210"/>
                    <a:gd name="T53" fmla="*/ 2147483647 h 120"/>
                    <a:gd name="T54" fmla="*/ 2147483647 w 210"/>
                    <a:gd name="T55" fmla="*/ 2147483647 h 120"/>
                    <a:gd name="T56" fmla="*/ 2147483647 w 210"/>
                    <a:gd name="T57" fmla="*/ 2147483647 h 120"/>
                    <a:gd name="T58" fmla="*/ 2147483647 w 210"/>
                    <a:gd name="T59" fmla="*/ 2147483647 h 120"/>
                    <a:gd name="T60" fmla="*/ 2147483647 w 210"/>
                    <a:gd name="T61" fmla="*/ 2147483647 h 120"/>
                    <a:gd name="T62" fmla="*/ 2147483647 w 210"/>
                    <a:gd name="T63" fmla="*/ 2147483647 h 120"/>
                    <a:gd name="T64" fmla="*/ 2147483647 w 210"/>
                    <a:gd name="T65" fmla="*/ 2147483647 h 120"/>
                    <a:gd name="T66" fmla="*/ 2147483647 w 210"/>
                    <a:gd name="T67" fmla="*/ 2147483647 h 120"/>
                    <a:gd name="T68" fmla="*/ 0 w 210"/>
                    <a:gd name="T69" fmla="*/ 2147483647 h 120"/>
                    <a:gd name="T70" fmla="*/ 2147483647 w 210"/>
                    <a:gd name="T71" fmla="*/ 2147483647 h 120"/>
                    <a:gd name="T72" fmla="*/ 2147483647 w 210"/>
                    <a:gd name="T73" fmla="*/ 2147483647 h 120"/>
                    <a:gd name="T74" fmla="*/ 2147483647 w 210"/>
                    <a:gd name="T75" fmla="*/ 2147483647 h 120"/>
                    <a:gd name="T76" fmla="*/ 2147483647 w 210"/>
                    <a:gd name="T77" fmla="*/ 2147483647 h 120"/>
                    <a:gd name="T78" fmla="*/ 2147483647 w 210"/>
                    <a:gd name="T79" fmla="*/ 2147483647 h 120"/>
                    <a:gd name="T80" fmla="*/ 2147483647 w 210"/>
                    <a:gd name="T81" fmla="*/ 2147483647 h 120"/>
                    <a:gd name="T82" fmla="*/ 2147483647 w 210"/>
                    <a:gd name="T83" fmla="*/ 2147483647 h 120"/>
                    <a:gd name="T84" fmla="*/ 2147483647 w 210"/>
                    <a:gd name="T85" fmla="*/ 2147483647 h 120"/>
                    <a:gd name="T86" fmla="*/ 2147483647 w 210"/>
                    <a:gd name="T87" fmla="*/ 2147483647 h 12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10"/>
                    <a:gd name="T133" fmla="*/ 0 h 120"/>
                    <a:gd name="T134" fmla="*/ 210 w 210"/>
                    <a:gd name="T135" fmla="*/ 120 h 12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10" h="120">
                      <a:moveTo>
                        <a:pt x="24" y="120"/>
                      </a:moveTo>
                      <a:lnTo>
                        <a:pt x="42" y="120"/>
                      </a:lnTo>
                      <a:lnTo>
                        <a:pt x="42" y="108"/>
                      </a:lnTo>
                      <a:lnTo>
                        <a:pt x="54" y="114"/>
                      </a:lnTo>
                      <a:lnTo>
                        <a:pt x="72" y="114"/>
                      </a:lnTo>
                      <a:lnTo>
                        <a:pt x="78" y="102"/>
                      </a:lnTo>
                      <a:lnTo>
                        <a:pt x="78" y="108"/>
                      </a:lnTo>
                      <a:lnTo>
                        <a:pt x="84" y="114"/>
                      </a:lnTo>
                      <a:lnTo>
                        <a:pt x="126" y="114"/>
                      </a:lnTo>
                      <a:lnTo>
                        <a:pt x="126" y="96"/>
                      </a:lnTo>
                      <a:lnTo>
                        <a:pt x="138" y="90"/>
                      </a:lnTo>
                      <a:lnTo>
                        <a:pt x="150" y="78"/>
                      </a:lnTo>
                      <a:lnTo>
                        <a:pt x="150" y="72"/>
                      </a:lnTo>
                      <a:lnTo>
                        <a:pt x="144" y="66"/>
                      </a:lnTo>
                      <a:lnTo>
                        <a:pt x="144" y="54"/>
                      </a:lnTo>
                      <a:lnTo>
                        <a:pt x="174" y="54"/>
                      </a:lnTo>
                      <a:lnTo>
                        <a:pt x="186" y="48"/>
                      </a:lnTo>
                      <a:lnTo>
                        <a:pt x="186" y="36"/>
                      </a:lnTo>
                      <a:lnTo>
                        <a:pt x="210" y="36"/>
                      </a:lnTo>
                      <a:lnTo>
                        <a:pt x="192" y="24"/>
                      </a:lnTo>
                      <a:lnTo>
                        <a:pt x="186" y="6"/>
                      </a:lnTo>
                      <a:lnTo>
                        <a:pt x="180" y="0"/>
                      </a:lnTo>
                      <a:lnTo>
                        <a:pt x="174" y="12"/>
                      </a:lnTo>
                      <a:lnTo>
                        <a:pt x="168" y="30"/>
                      </a:lnTo>
                      <a:lnTo>
                        <a:pt x="144" y="24"/>
                      </a:lnTo>
                      <a:lnTo>
                        <a:pt x="132" y="30"/>
                      </a:lnTo>
                      <a:lnTo>
                        <a:pt x="84" y="30"/>
                      </a:lnTo>
                      <a:lnTo>
                        <a:pt x="84" y="42"/>
                      </a:lnTo>
                      <a:lnTo>
                        <a:pt x="54" y="42"/>
                      </a:lnTo>
                      <a:lnTo>
                        <a:pt x="48" y="36"/>
                      </a:lnTo>
                      <a:lnTo>
                        <a:pt x="30" y="36"/>
                      </a:lnTo>
                      <a:lnTo>
                        <a:pt x="24" y="42"/>
                      </a:lnTo>
                      <a:lnTo>
                        <a:pt x="6" y="42"/>
                      </a:lnTo>
                      <a:lnTo>
                        <a:pt x="6" y="48"/>
                      </a:lnTo>
                      <a:lnTo>
                        <a:pt x="0" y="54"/>
                      </a:lnTo>
                      <a:lnTo>
                        <a:pt x="12" y="60"/>
                      </a:lnTo>
                      <a:lnTo>
                        <a:pt x="6" y="96"/>
                      </a:lnTo>
                      <a:lnTo>
                        <a:pt x="18" y="96"/>
                      </a:lnTo>
                      <a:lnTo>
                        <a:pt x="30" y="102"/>
                      </a:lnTo>
                      <a:lnTo>
                        <a:pt x="36" y="102"/>
                      </a:lnTo>
                      <a:lnTo>
                        <a:pt x="36" y="108"/>
                      </a:lnTo>
                      <a:lnTo>
                        <a:pt x="30" y="108"/>
                      </a:lnTo>
                      <a:lnTo>
                        <a:pt x="30" y="114"/>
                      </a:lnTo>
                      <a:lnTo>
                        <a:pt x="24" y="12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555" name="Slovakia"/>
                <p:cNvSpPr>
                  <a:spLocks/>
                </p:cNvSpPr>
                <p:nvPr/>
              </p:nvSpPr>
              <p:spPr bwMode="gray">
                <a:xfrm>
                  <a:off x="2943" y="1292"/>
                  <a:ext cx="91" cy="37"/>
                </a:xfrm>
                <a:custGeom>
                  <a:avLst/>
                  <a:gdLst>
                    <a:gd name="T0" fmla="*/ 2147483647 w 354"/>
                    <a:gd name="T1" fmla="*/ 2147483647 h 144"/>
                    <a:gd name="T2" fmla="*/ 2147483647 w 354"/>
                    <a:gd name="T3" fmla="*/ 2147483647 h 144"/>
                    <a:gd name="T4" fmla="*/ 2147483647 w 354"/>
                    <a:gd name="T5" fmla="*/ 2147483647 h 144"/>
                    <a:gd name="T6" fmla="*/ 2147483647 w 354"/>
                    <a:gd name="T7" fmla="*/ 2147483647 h 144"/>
                    <a:gd name="T8" fmla="*/ 2147483647 w 354"/>
                    <a:gd name="T9" fmla="*/ 2147483647 h 144"/>
                    <a:gd name="T10" fmla="*/ 2147483647 w 354"/>
                    <a:gd name="T11" fmla="*/ 2147483647 h 144"/>
                    <a:gd name="T12" fmla="*/ 2147483647 w 354"/>
                    <a:gd name="T13" fmla="*/ 2147483647 h 144"/>
                    <a:gd name="T14" fmla="*/ 2147483647 w 354"/>
                    <a:gd name="T15" fmla="*/ 0 h 144"/>
                    <a:gd name="T16" fmla="*/ 2147483647 w 354"/>
                    <a:gd name="T17" fmla="*/ 2147483647 h 144"/>
                    <a:gd name="T18" fmla="*/ 2147483647 w 354"/>
                    <a:gd name="T19" fmla="*/ 0 h 144"/>
                    <a:gd name="T20" fmla="*/ 2147483647 w 354"/>
                    <a:gd name="T21" fmla="*/ 2147483647 h 144"/>
                    <a:gd name="T22" fmla="*/ 2147483647 w 354"/>
                    <a:gd name="T23" fmla="*/ 2147483647 h 144"/>
                    <a:gd name="T24" fmla="*/ 2147483647 w 354"/>
                    <a:gd name="T25" fmla="*/ 2147483647 h 144"/>
                    <a:gd name="T26" fmla="*/ 2147483647 w 354"/>
                    <a:gd name="T27" fmla="*/ 2147483647 h 144"/>
                    <a:gd name="T28" fmla="*/ 2147483647 w 354"/>
                    <a:gd name="T29" fmla="*/ 2147483647 h 144"/>
                    <a:gd name="T30" fmla="*/ 0 w 354"/>
                    <a:gd name="T31" fmla="*/ 2147483647 h 144"/>
                    <a:gd name="T32" fmla="*/ 2147483647 w 354"/>
                    <a:gd name="T33" fmla="*/ 2147483647 h 144"/>
                    <a:gd name="T34" fmla="*/ 2147483647 w 354"/>
                    <a:gd name="T35" fmla="*/ 2147483647 h 144"/>
                    <a:gd name="T36" fmla="*/ 2147483647 w 354"/>
                    <a:gd name="T37" fmla="*/ 2147483647 h 144"/>
                    <a:gd name="T38" fmla="*/ 2147483647 w 354"/>
                    <a:gd name="T39" fmla="*/ 2147483647 h 144"/>
                    <a:gd name="T40" fmla="*/ 2147483647 w 354"/>
                    <a:gd name="T41" fmla="*/ 2147483647 h 144"/>
                    <a:gd name="T42" fmla="*/ 2147483647 w 354"/>
                    <a:gd name="T43" fmla="*/ 2147483647 h 144"/>
                    <a:gd name="T44" fmla="*/ 2147483647 w 354"/>
                    <a:gd name="T45" fmla="*/ 2147483647 h 144"/>
                    <a:gd name="T46" fmla="*/ 2147483647 w 354"/>
                    <a:gd name="T47" fmla="*/ 2147483647 h 144"/>
                    <a:gd name="T48" fmla="*/ 2147483647 w 354"/>
                    <a:gd name="T49" fmla="*/ 2147483647 h 144"/>
                    <a:gd name="T50" fmla="*/ 2147483647 w 354"/>
                    <a:gd name="T51" fmla="*/ 2147483647 h 144"/>
                    <a:gd name="T52" fmla="*/ 2147483647 w 354"/>
                    <a:gd name="T53" fmla="*/ 2147483647 h 144"/>
                    <a:gd name="T54" fmla="*/ 2147483647 w 354"/>
                    <a:gd name="T55" fmla="*/ 2147483647 h 144"/>
                    <a:gd name="T56" fmla="*/ 2147483647 w 354"/>
                    <a:gd name="T57" fmla="*/ 2147483647 h 144"/>
                    <a:gd name="T58" fmla="*/ 2147483647 w 354"/>
                    <a:gd name="T59" fmla="*/ 2147483647 h 144"/>
                    <a:gd name="T60" fmla="*/ 2147483647 w 354"/>
                    <a:gd name="T61" fmla="*/ 2147483647 h 144"/>
                    <a:gd name="T62" fmla="*/ 2147483647 w 354"/>
                    <a:gd name="T63" fmla="*/ 2147483647 h 144"/>
                    <a:gd name="T64" fmla="*/ 2147483647 w 354"/>
                    <a:gd name="T65" fmla="*/ 2147483647 h 144"/>
                    <a:gd name="T66" fmla="*/ 2147483647 w 354"/>
                    <a:gd name="T67" fmla="*/ 2147483647 h 144"/>
                    <a:gd name="T68" fmla="*/ 2147483647 w 354"/>
                    <a:gd name="T69" fmla="*/ 2147483647 h 14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54"/>
                    <a:gd name="T106" fmla="*/ 0 h 144"/>
                    <a:gd name="T107" fmla="*/ 354 w 354"/>
                    <a:gd name="T108" fmla="*/ 144 h 14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54" h="144">
                      <a:moveTo>
                        <a:pt x="348" y="30"/>
                      </a:moveTo>
                      <a:lnTo>
                        <a:pt x="324" y="30"/>
                      </a:lnTo>
                      <a:lnTo>
                        <a:pt x="300" y="6"/>
                      </a:lnTo>
                      <a:lnTo>
                        <a:pt x="276" y="6"/>
                      </a:lnTo>
                      <a:lnTo>
                        <a:pt x="270" y="12"/>
                      </a:lnTo>
                      <a:lnTo>
                        <a:pt x="258" y="18"/>
                      </a:lnTo>
                      <a:lnTo>
                        <a:pt x="246" y="18"/>
                      </a:lnTo>
                      <a:lnTo>
                        <a:pt x="240" y="12"/>
                      </a:lnTo>
                      <a:lnTo>
                        <a:pt x="210" y="12"/>
                      </a:lnTo>
                      <a:lnTo>
                        <a:pt x="210" y="18"/>
                      </a:lnTo>
                      <a:lnTo>
                        <a:pt x="204" y="24"/>
                      </a:lnTo>
                      <a:lnTo>
                        <a:pt x="192" y="24"/>
                      </a:lnTo>
                      <a:lnTo>
                        <a:pt x="186" y="18"/>
                      </a:lnTo>
                      <a:lnTo>
                        <a:pt x="186" y="12"/>
                      </a:lnTo>
                      <a:lnTo>
                        <a:pt x="180" y="12"/>
                      </a:lnTo>
                      <a:lnTo>
                        <a:pt x="168" y="0"/>
                      </a:lnTo>
                      <a:lnTo>
                        <a:pt x="156" y="0"/>
                      </a:lnTo>
                      <a:lnTo>
                        <a:pt x="144" y="12"/>
                      </a:lnTo>
                      <a:lnTo>
                        <a:pt x="138" y="12"/>
                      </a:lnTo>
                      <a:lnTo>
                        <a:pt x="126" y="0"/>
                      </a:lnTo>
                      <a:lnTo>
                        <a:pt x="108" y="12"/>
                      </a:lnTo>
                      <a:lnTo>
                        <a:pt x="84" y="18"/>
                      </a:lnTo>
                      <a:lnTo>
                        <a:pt x="84" y="42"/>
                      </a:lnTo>
                      <a:lnTo>
                        <a:pt x="72" y="48"/>
                      </a:lnTo>
                      <a:lnTo>
                        <a:pt x="66" y="54"/>
                      </a:lnTo>
                      <a:lnTo>
                        <a:pt x="54" y="60"/>
                      </a:lnTo>
                      <a:lnTo>
                        <a:pt x="36" y="60"/>
                      </a:lnTo>
                      <a:lnTo>
                        <a:pt x="36" y="54"/>
                      </a:lnTo>
                      <a:lnTo>
                        <a:pt x="30" y="60"/>
                      </a:lnTo>
                      <a:lnTo>
                        <a:pt x="12" y="60"/>
                      </a:lnTo>
                      <a:lnTo>
                        <a:pt x="6" y="66"/>
                      </a:lnTo>
                      <a:lnTo>
                        <a:pt x="0" y="90"/>
                      </a:lnTo>
                      <a:lnTo>
                        <a:pt x="0" y="102"/>
                      </a:lnTo>
                      <a:lnTo>
                        <a:pt x="6" y="102"/>
                      </a:lnTo>
                      <a:lnTo>
                        <a:pt x="6" y="114"/>
                      </a:lnTo>
                      <a:lnTo>
                        <a:pt x="12" y="114"/>
                      </a:lnTo>
                      <a:lnTo>
                        <a:pt x="12" y="126"/>
                      </a:lnTo>
                      <a:lnTo>
                        <a:pt x="6" y="132"/>
                      </a:lnTo>
                      <a:lnTo>
                        <a:pt x="18" y="138"/>
                      </a:lnTo>
                      <a:lnTo>
                        <a:pt x="30" y="120"/>
                      </a:lnTo>
                      <a:lnTo>
                        <a:pt x="36" y="126"/>
                      </a:lnTo>
                      <a:lnTo>
                        <a:pt x="42" y="138"/>
                      </a:lnTo>
                      <a:lnTo>
                        <a:pt x="48" y="144"/>
                      </a:lnTo>
                      <a:lnTo>
                        <a:pt x="90" y="144"/>
                      </a:lnTo>
                      <a:lnTo>
                        <a:pt x="108" y="138"/>
                      </a:lnTo>
                      <a:lnTo>
                        <a:pt x="120" y="138"/>
                      </a:lnTo>
                      <a:lnTo>
                        <a:pt x="132" y="114"/>
                      </a:lnTo>
                      <a:lnTo>
                        <a:pt x="168" y="120"/>
                      </a:lnTo>
                      <a:lnTo>
                        <a:pt x="174" y="108"/>
                      </a:lnTo>
                      <a:lnTo>
                        <a:pt x="198" y="108"/>
                      </a:lnTo>
                      <a:lnTo>
                        <a:pt x="210" y="102"/>
                      </a:lnTo>
                      <a:lnTo>
                        <a:pt x="216" y="102"/>
                      </a:lnTo>
                      <a:lnTo>
                        <a:pt x="228" y="90"/>
                      </a:lnTo>
                      <a:lnTo>
                        <a:pt x="234" y="78"/>
                      </a:lnTo>
                      <a:lnTo>
                        <a:pt x="258" y="78"/>
                      </a:lnTo>
                      <a:lnTo>
                        <a:pt x="258" y="90"/>
                      </a:lnTo>
                      <a:lnTo>
                        <a:pt x="276" y="96"/>
                      </a:lnTo>
                      <a:lnTo>
                        <a:pt x="276" y="78"/>
                      </a:lnTo>
                      <a:lnTo>
                        <a:pt x="288" y="78"/>
                      </a:lnTo>
                      <a:lnTo>
                        <a:pt x="288" y="90"/>
                      </a:lnTo>
                      <a:lnTo>
                        <a:pt x="300" y="90"/>
                      </a:lnTo>
                      <a:lnTo>
                        <a:pt x="312" y="84"/>
                      </a:lnTo>
                      <a:lnTo>
                        <a:pt x="336" y="84"/>
                      </a:lnTo>
                      <a:lnTo>
                        <a:pt x="336" y="90"/>
                      </a:lnTo>
                      <a:lnTo>
                        <a:pt x="336" y="72"/>
                      </a:lnTo>
                      <a:lnTo>
                        <a:pt x="342" y="72"/>
                      </a:lnTo>
                      <a:lnTo>
                        <a:pt x="348" y="66"/>
                      </a:lnTo>
                      <a:lnTo>
                        <a:pt x="348" y="60"/>
                      </a:lnTo>
                      <a:lnTo>
                        <a:pt x="354" y="54"/>
                      </a:lnTo>
                      <a:lnTo>
                        <a:pt x="354" y="30"/>
                      </a:lnTo>
                      <a:lnTo>
                        <a:pt x="348" y="30"/>
                      </a:lnTo>
                      <a:close/>
                    </a:path>
                  </a:pathLst>
                </a:custGeom>
                <a:solidFill>
                  <a:schemeClr val="accent1"/>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556" name="Sierra Leone"/>
                <p:cNvSpPr>
                  <a:spLocks/>
                </p:cNvSpPr>
                <p:nvPr/>
              </p:nvSpPr>
              <p:spPr bwMode="gray">
                <a:xfrm>
                  <a:off x="2413" y="2102"/>
                  <a:ext cx="53" cy="69"/>
                </a:xfrm>
                <a:custGeom>
                  <a:avLst/>
                  <a:gdLst>
                    <a:gd name="T0" fmla="*/ 2147483647 w 210"/>
                    <a:gd name="T1" fmla="*/ 2147483647 h 270"/>
                    <a:gd name="T2" fmla="*/ 2147483647 w 210"/>
                    <a:gd name="T3" fmla="*/ 2147483647 h 270"/>
                    <a:gd name="T4" fmla="*/ 2147483647 w 210"/>
                    <a:gd name="T5" fmla="*/ 2147483647 h 270"/>
                    <a:gd name="T6" fmla="*/ 2147483647 w 210"/>
                    <a:gd name="T7" fmla="*/ 2147483647 h 270"/>
                    <a:gd name="T8" fmla="*/ 2147483647 w 210"/>
                    <a:gd name="T9" fmla="*/ 2147483647 h 270"/>
                    <a:gd name="T10" fmla="*/ 2147483647 w 210"/>
                    <a:gd name="T11" fmla="*/ 2147483647 h 270"/>
                    <a:gd name="T12" fmla="*/ 2147483647 w 210"/>
                    <a:gd name="T13" fmla="*/ 2147483647 h 270"/>
                    <a:gd name="T14" fmla="*/ 2147483647 w 210"/>
                    <a:gd name="T15" fmla="*/ 2147483647 h 270"/>
                    <a:gd name="T16" fmla="*/ 2147483647 w 210"/>
                    <a:gd name="T17" fmla="*/ 2147483647 h 270"/>
                    <a:gd name="T18" fmla="*/ 2147483647 w 210"/>
                    <a:gd name="T19" fmla="*/ 2147483647 h 270"/>
                    <a:gd name="T20" fmla="*/ 2147483647 w 210"/>
                    <a:gd name="T21" fmla="*/ 2147483647 h 270"/>
                    <a:gd name="T22" fmla="*/ 2147483647 w 210"/>
                    <a:gd name="T23" fmla="*/ 0 h 270"/>
                    <a:gd name="T24" fmla="*/ 2147483647 w 210"/>
                    <a:gd name="T25" fmla="*/ 0 h 270"/>
                    <a:gd name="T26" fmla="*/ 2147483647 w 210"/>
                    <a:gd name="T27" fmla="*/ 2147483647 h 270"/>
                    <a:gd name="T28" fmla="*/ 2147483647 w 210"/>
                    <a:gd name="T29" fmla="*/ 2147483647 h 270"/>
                    <a:gd name="T30" fmla="*/ 2147483647 w 210"/>
                    <a:gd name="T31" fmla="*/ 2147483647 h 270"/>
                    <a:gd name="T32" fmla="*/ 2147483647 w 210"/>
                    <a:gd name="T33" fmla="*/ 2147483647 h 270"/>
                    <a:gd name="T34" fmla="*/ 2147483647 w 210"/>
                    <a:gd name="T35" fmla="*/ 2147483647 h 270"/>
                    <a:gd name="T36" fmla="*/ 2147483647 w 210"/>
                    <a:gd name="T37" fmla="*/ 2147483647 h 270"/>
                    <a:gd name="T38" fmla="*/ 2147483647 w 210"/>
                    <a:gd name="T39" fmla="*/ 2147483647 h 270"/>
                    <a:gd name="T40" fmla="*/ 2147483647 w 210"/>
                    <a:gd name="T41" fmla="*/ 2147483647 h 270"/>
                    <a:gd name="T42" fmla="*/ 2147483647 w 210"/>
                    <a:gd name="T43" fmla="*/ 2147483647 h 270"/>
                    <a:gd name="T44" fmla="*/ 0 w 210"/>
                    <a:gd name="T45" fmla="*/ 2147483647 h 270"/>
                    <a:gd name="T46" fmla="*/ 2147483647 w 210"/>
                    <a:gd name="T47" fmla="*/ 2147483647 h 270"/>
                    <a:gd name="T48" fmla="*/ 2147483647 w 210"/>
                    <a:gd name="T49" fmla="*/ 2147483647 h 270"/>
                    <a:gd name="T50" fmla="*/ 0 w 210"/>
                    <a:gd name="T51" fmla="*/ 2147483647 h 270"/>
                    <a:gd name="T52" fmla="*/ 0 w 210"/>
                    <a:gd name="T53" fmla="*/ 2147483647 h 270"/>
                    <a:gd name="T54" fmla="*/ 2147483647 w 210"/>
                    <a:gd name="T55" fmla="*/ 2147483647 h 270"/>
                    <a:gd name="T56" fmla="*/ 2147483647 w 210"/>
                    <a:gd name="T57" fmla="*/ 2147483647 h 270"/>
                    <a:gd name="T58" fmla="*/ 2147483647 w 210"/>
                    <a:gd name="T59" fmla="*/ 2147483647 h 270"/>
                    <a:gd name="T60" fmla="*/ 2147483647 w 210"/>
                    <a:gd name="T61" fmla="*/ 2147483647 h 270"/>
                    <a:gd name="T62" fmla="*/ 2147483647 w 210"/>
                    <a:gd name="T63" fmla="*/ 2147483647 h 270"/>
                    <a:gd name="T64" fmla="*/ 2147483647 w 210"/>
                    <a:gd name="T65" fmla="*/ 2147483647 h 270"/>
                    <a:gd name="T66" fmla="*/ 2147483647 w 210"/>
                    <a:gd name="T67" fmla="*/ 2147483647 h 270"/>
                    <a:gd name="T68" fmla="*/ 2147483647 w 210"/>
                    <a:gd name="T69" fmla="*/ 2147483647 h 270"/>
                    <a:gd name="T70" fmla="*/ 2147483647 w 210"/>
                    <a:gd name="T71" fmla="*/ 2147483647 h 270"/>
                    <a:gd name="T72" fmla="*/ 2147483647 w 210"/>
                    <a:gd name="T73" fmla="*/ 2147483647 h 270"/>
                    <a:gd name="T74" fmla="*/ 2147483647 w 210"/>
                    <a:gd name="T75" fmla="*/ 2147483647 h 270"/>
                    <a:gd name="T76" fmla="*/ 2147483647 w 210"/>
                    <a:gd name="T77" fmla="*/ 2147483647 h 270"/>
                    <a:gd name="T78" fmla="*/ 2147483647 w 210"/>
                    <a:gd name="T79" fmla="*/ 2147483647 h 270"/>
                    <a:gd name="T80" fmla="*/ 2147483647 w 210"/>
                    <a:gd name="T81" fmla="*/ 2147483647 h 270"/>
                    <a:gd name="T82" fmla="*/ 2147483647 w 210"/>
                    <a:gd name="T83" fmla="*/ 2147483647 h 270"/>
                    <a:gd name="T84" fmla="*/ 2147483647 w 210"/>
                    <a:gd name="T85" fmla="*/ 2147483647 h 270"/>
                    <a:gd name="T86" fmla="*/ 2147483647 w 210"/>
                    <a:gd name="T87" fmla="*/ 2147483647 h 27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10"/>
                    <a:gd name="T133" fmla="*/ 0 h 270"/>
                    <a:gd name="T134" fmla="*/ 210 w 210"/>
                    <a:gd name="T135" fmla="*/ 270 h 27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10" h="270">
                      <a:moveTo>
                        <a:pt x="186" y="180"/>
                      </a:moveTo>
                      <a:lnTo>
                        <a:pt x="186" y="162"/>
                      </a:lnTo>
                      <a:lnTo>
                        <a:pt x="210" y="156"/>
                      </a:lnTo>
                      <a:lnTo>
                        <a:pt x="204" y="132"/>
                      </a:lnTo>
                      <a:lnTo>
                        <a:pt x="174" y="144"/>
                      </a:lnTo>
                      <a:lnTo>
                        <a:pt x="180" y="126"/>
                      </a:lnTo>
                      <a:lnTo>
                        <a:pt x="186" y="120"/>
                      </a:lnTo>
                      <a:lnTo>
                        <a:pt x="192" y="108"/>
                      </a:lnTo>
                      <a:lnTo>
                        <a:pt x="192" y="90"/>
                      </a:lnTo>
                      <a:lnTo>
                        <a:pt x="180" y="78"/>
                      </a:lnTo>
                      <a:lnTo>
                        <a:pt x="180" y="60"/>
                      </a:lnTo>
                      <a:lnTo>
                        <a:pt x="138" y="0"/>
                      </a:lnTo>
                      <a:lnTo>
                        <a:pt x="102" y="0"/>
                      </a:lnTo>
                      <a:lnTo>
                        <a:pt x="96" y="18"/>
                      </a:lnTo>
                      <a:lnTo>
                        <a:pt x="60" y="18"/>
                      </a:lnTo>
                      <a:lnTo>
                        <a:pt x="60" y="24"/>
                      </a:lnTo>
                      <a:lnTo>
                        <a:pt x="54" y="30"/>
                      </a:lnTo>
                      <a:lnTo>
                        <a:pt x="48" y="42"/>
                      </a:lnTo>
                      <a:lnTo>
                        <a:pt x="36" y="54"/>
                      </a:lnTo>
                      <a:lnTo>
                        <a:pt x="30" y="66"/>
                      </a:lnTo>
                      <a:lnTo>
                        <a:pt x="18" y="72"/>
                      </a:lnTo>
                      <a:lnTo>
                        <a:pt x="12" y="78"/>
                      </a:lnTo>
                      <a:lnTo>
                        <a:pt x="0" y="84"/>
                      </a:lnTo>
                      <a:lnTo>
                        <a:pt x="12" y="96"/>
                      </a:lnTo>
                      <a:lnTo>
                        <a:pt x="6" y="102"/>
                      </a:lnTo>
                      <a:lnTo>
                        <a:pt x="0" y="114"/>
                      </a:lnTo>
                      <a:lnTo>
                        <a:pt x="0" y="132"/>
                      </a:lnTo>
                      <a:lnTo>
                        <a:pt x="6" y="138"/>
                      </a:lnTo>
                      <a:lnTo>
                        <a:pt x="18" y="144"/>
                      </a:lnTo>
                      <a:lnTo>
                        <a:pt x="24" y="150"/>
                      </a:lnTo>
                      <a:lnTo>
                        <a:pt x="18" y="180"/>
                      </a:lnTo>
                      <a:lnTo>
                        <a:pt x="42" y="198"/>
                      </a:lnTo>
                      <a:lnTo>
                        <a:pt x="42" y="204"/>
                      </a:lnTo>
                      <a:lnTo>
                        <a:pt x="48" y="210"/>
                      </a:lnTo>
                      <a:lnTo>
                        <a:pt x="54" y="222"/>
                      </a:lnTo>
                      <a:lnTo>
                        <a:pt x="78" y="234"/>
                      </a:lnTo>
                      <a:lnTo>
                        <a:pt x="96" y="234"/>
                      </a:lnTo>
                      <a:lnTo>
                        <a:pt x="126" y="270"/>
                      </a:lnTo>
                      <a:lnTo>
                        <a:pt x="126" y="234"/>
                      </a:lnTo>
                      <a:lnTo>
                        <a:pt x="144" y="216"/>
                      </a:lnTo>
                      <a:lnTo>
                        <a:pt x="156" y="210"/>
                      </a:lnTo>
                      <a:lnTo>
                        <a:pt x="168" y="198"/>
                      </a:lnTo>
                      <a:lnTo>
                        <a:pt x="180" y="192"/>
                      </a:lnTo>
                      <a:lnTo>
                        <a:pt x="186" y="18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557" name="Senegal"/>
                <p:cNvSpPr>
                  <a:spLocks/>
                </p:cNvSpPr>
                <p:nvPr/>
              </p:nvSpPr>
              <p:spPr bwMode="gray">
                <a:xfrm>
                  <a:off x="2360" y="1963"/>
                  <a:ext cx="106" cy="94"/>
                </a:xfrm>
                <a:custGeom>
                  <a:avLst/>
                  <a:gdLst>
                    <a:gd name="T0" fmla="*/ 2147483647 w 414"/>
                    <a:gd name="T1" fmla="*/ 2147483647 h 366"/>
                    <a:gd name="T2" fmla="*/ 2147483647 w 414"/>
                    <a:gd name="T3" fmla="*/ 2147483647 h 366"/>
                    <a:gd name="T4" fmla="*/ 2147483647 w 414"/>
                    <a:gd name="T5" fmla="*/ 2147483647 h 366"/>
                    <a:gd name="T6" fmla="*/ 2147483647 w 414"/>
                    <a:gd name="T7" fmla="*/ 2147483647 h 366"/>
                    <a:gd name="T8" fmla="*/ 2147483647 w 414"/>
                    <a:gd name="T9" fmla="*/ 2147483647 h 366"/>
                    <a:gd name="T10" fmla="*/ 2147483647 w 414"/>
                    <a:gd name="T11" fmla="*/ 2147483647 h 366"/>
                    <a:gd name="T12" fmla="*/ 2147483647 w 414"/>
                    <a:gd name="T13" fmla="*/ 2147483647 h 366"/>
                    <a:gd name="T14" fmla="*/ 2147483647 w 414"/>
                    <a:gd name="T15" fmla="*/ 2147483647 h 366"/>
                    <a:gd name="T16" fmla="*/ 2147483647 w 414"/>
                    <a:gd name="T17" fmla="*/ 2147483647 h 366"/>
                    <a:gd name="T18" fmla="*/ 2147483647 w 414"/>
                    <a:gd name="T19" fmla="*/ 2147483647 h 366"/>
                    <a:gd name="T20" fmla="*/ 2147483647 w 414"/>
                    <a:gd name="T21" fmla="*/ 2147483647 h 366"/>
                    <a:gd name="T22" fmla="*/ 2147483647 w 414"/>
                    <a:gd name="T23" fmla="*/ 2147483647 h 366"/>
                    <a:gd name="T24" fmla="*/ 2147483647 w 414"/>
                    <a:gd name="T25" fmla="*/ 2147483647 h 366"/>
                    <a:gd name="T26" fmla="*/ 2147483647 w 414"/>
                    <a:gd name="T27" fmla="*/ 2147483647 h 366"/>
                    <a:gd name="T28" fmla="*/ 2147483647 w 414"/>
                    <a:gd name="T29" fmla="*/ 0 h 366"/>
                    <a:gd name="T30" fmla="*/ 2147483647 w 414"/>
                    <a:gd name="T31" fmla="*/ 2147483647 h 366"/>
                    <a:gd name="T32" fmla="*/ 2147483647 w 414"/>
                    <a:gd name="T33" fmla="*/ 2147483647 h 366"/>
                    <a:gd name="T34" fmla="*/ 2147483647 w 414"/>
                    <a:gd name="T35" fmla="*/ 2147483647 h 366"/>
                    <a:gd name="T36" fmla="*/ 2147483647 w 414"/>
                    <a:gd name="T37" fmla="*/ 2147483647 h 366"/>
                    <a:gd name="T38" fmla="*/ 2147483647 w 414"/>
                    <a:gd name="T39" fmla="*/ 2147483647 h 366"/>
                    <a:gd name="T40" fmla="*/ 2147483647 w 414"/>
                    <a:gd name="T41" fmla="*/ 2147483647 h 366"/>
                    <a:gd name="T42" fmla="*/ 0 w 414"/>
                    <a:gd name="T43" fmla="*/ 2147483647 h 366"/>
                    <a:gd name="T44" fmla="*/ 2147483647 w 414"/>
                    <a:gd name="T45" fmla="*/ 2147483647 h 366"/>
                    <a:gd name="T46" fmla="*/ 2147483647 w 414"/>
                    <a:gd name="T47" fmla="*/ 2147483647 h 366"/>
                    <a:gd name="T48" fmla="*/ 2147483647 w 414"/>
                    <a:gd name="T49" fmla="*/ 2147483647 h 366"/>
                    <a:gd name="T50" fmla="*/ 2147483647 w 414"/>
                    <a:gd name="T51" fmla="*/ 2147483647 h 366"/>
                    <a:gd name="T52" fmla="*/ 2147483647 w 414"/>
                    <a:gd name="T53" fmla="*/ 2147483647 h 366"/>
                    <a:gd name="T54" fmla="*/ 2147483647 w 414"/>
                    <a:gd name="T55" fmla="*/ 2147483647 h 366"/>
                    <a:gd name="T56" fmla="*/ 2147483647 w 414"/>
                    <a:gd name="T57" fmla="*/ 2147483647 h 366"/>
                    <a:gd name="T58" fmla="*/ 2147483647 w 414"/>
                    <a:gd name="T59" fmla="*/ 2147483647 h 366"/>
                    <a:gd name="T60" fmla="*/ 2147483647 w 414"/>
                    <a:gd name="T61" fmla="*/ 2147483647 h 366"/>
                    <a:gd name="T62" fmla="*/ 2147483647 w 414"/>
                    <a:gd name="T63" fmla="*/ 2147483647 h 366"/>
                    <a:gd name="T64" fmla="*/ 2147483647 w 414"/>
                    <a:gd name="T65" fmla="*/ 2147483647 h 366"/>
                    <a:gd name="T66" fmla="*/ 2147483647 w 414"/>
                    <a:gd name="T67" fmla="*/ 2147483647 h 366"/>
                    <a:gd name="T68" fmla="*/ 2147483647 w 414"/>
                    <a:gd name="T69" fmla="*/ 2147483647 h 366"/>
                    <a:gd name="T70" fmla="*/ 2147483647 w 414"/>
                    <a:gd name="T71" fmla="*/ 2147483647 h 366"/>
                    <a:gd name="T72" fmla="*/ 2147483647 w 414"/>
                    <a:gd name="T73" fmla="*/ 2147483647 h 366"/>
                    <a:gd name="T74" fmla="*/ 2147483647 w 414"/>
                    <a:gd name="T75" fmla="*/ 2147483647 h 366"/>
                    <a:gd name="T76" fmla="*/ 2147483647 w 414"/>
                    <a:gd name="T77" fmla="*/ 2147483647 h 366"/>
                    <a:gd name="T78" fmla="*/ 2147483647 w 414"/>
                    <a:gd name="T79" fmla="*/ 2147483647 h 366"/>
                    <a:gd name="T80" fmla="*/ 2147483647 w 414"/>
                    <a:gd name="T81" fmla="*/ 2147483647 h 366"/>
                    <a:gd name="T82" fmla="*/ 2147483647 w 414"/>
                    <a:gd name="T83" fmla="*/ 2147483647 h 366"/>
                    <a:gd name="T84" fmla="*/ 2147483647 w 414"/>
                    <a:gd name="T85" fmla="*/ 2147483647 h 366"/>
                    <a:gd name="T86" fmla="*/ 2147483647 w 414"/>
                    <a:gd name="T87" fmla="*/ 2147483647 h 366"/>
                    <a:gd name="T88" fmla="*/ 2147483647 w 414"/>
                    <a:gd name="T89" fmla="*/ 2147483647 h 366"/>
                    <a:gd name="T90" fmla="*/ 2147483647 w 414"/>
                    <a:gd name="T91" fmla="*/ 2147483647 h 366"/>
                    <a:gd name="T92" fmla="*/ 2147483647 w 414"/>
                    <a:gd name="T93" fmla="*/ 2147483647 h 366"/>
                    <a:gd name="T94" fmla="*/ 2147483647 w 414"/>
                    <a:gd name="T95" fmla="*/ 2147483647 h 366"/>
                    <a:gd name="T96" fmla="*/ 2147483647 w 414"/>
                    <a:gd name="T97" fmla="*/ 2147483647 h 366"/>
                    <a:gd name="T98" fmla="*/ 2147483647 w 414"/>
                    <a:gd name="T99" fmla="*/ 2147483647 h 366"/>
                    <a:gd name="T100" fmla="*/ 2147483647 w 414"/>
                    <a:gd name="T101" fmla="*/ 2147483647 h 366"/>
                    <a:gd name="T102" fmla="*/ 2147483647 w 414"/>
                    <a:gd name="T103" fmla="*/ 2147483647 h 366"/>
                    <a:gd name="T104" fmla="*/ 2147483647 w 414"/>
                    <a:gd name="T105" fmla="*/ 2147483647 h 36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14"/>
                    <a:gd name="T160" fmla="*/ 0 h 366"/>
                    <a:gd name="T161" fmla="*/ 414 w 414"/>
                    <a:gd name="T162" fmla="*/ 366 h 36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14" h="366">
                      <a:moveTo>
                        <a:pt x="402" y="270"/>
                      </a:moveTo>
                      <a:lnTo>
                        <a:pt x="396" y="270"/>
                      </a:lnTo>
                      <a:lnTo>
                        <a:pt x="396" y="276"/>
                      </a:lnTo>
                      <a:lnTo>
                        <a:pt x="384" y="276"/>
                      </a:lnTo>
                      <a:lnTo>
                        <a:pt x="378" y="270"/>
                      </a:lnTo>
                      <a:lnTo>
                        <a:pt x="378" y="246"/>
                      </a:lnTo>
                      <a:lnTo>
                        <a:pt x="384" y="240"/>
                      </a:lnTo>
                      <a:lnTo>
                        <a:pt x="384" y="222"/>
                      </a:lnTo>
                      <a:lnTo>
                        <a:pt x="372" y="210"/>
                      </a:lnTo>
                      <a:lnTo>
                        <a:pt x="372" y="204"/>
                      </a:lnTo>
                      <a:lnTo>
                        <a:pt x="360" y="186"/>
                      </a:lnTo>
                      <a:lnTo>
                        <a:pt x="360" y="162"/>
                      </a:lnTo>
                      <a:lnTo>
                        <a:pt x="348" y="138"/>
                      </a:lnTo>
                      <a:lnTo>
                        <a:pt x="318" y="132"/>
                      </a:lnTo>
                      <a:lnTo>
                        <a:pt x="318" y="108"/>
                      </a:lnTo>
                      <a:lnTo>
                        <a:pt x="312" y="102"/>
                      </a:lnTo>
                      <a:lnTo>
                        <a:pt x="294" y="102"/>
                      </a:lnTo>
                      <a:lnTo>
                        <a:pt x="294" y="72"/>
                      </a:lnTo>
                      <a:lnTo>
                        <a:pt x="288" y="60"/>
                      </a:lnTo>
                      <a:lnTo>
                        <a:pt x="288" y="54"/>
                      </a:lnTo>
                      <a:lnTo>
                        <a:pt x="282" y="48"/>
                      </a:lnTo>
                      <a:lnTo>
                        <a:pt x="264" y="48"/>
                      </a:lnTo>
                      <a:lnTo>
                        <a:pt x="252" y="54"/>
                      </a:lnTo>
                      <a:lnTo>
                        <a:pt x="246" y="42"/>
                      </a:lnTo>
                      <a:lnTo>
                        <a:pt x="234" y="30"/>
                      </a:lnTo>
                      <a:lnTo>
                        <a:pt x="228" y="18"/>
                      </a:lnTo>
                      <a:lnTo>
                        <a:pt x="222" y="18"/>
                      </a:lnTo>
                      <a:lnTo>
                        <a:pt x="210" y="12"/>
                      </a:lnTo>
                      <a:lnTo>
                        <a:pt x="186" y="12"/>
                      </a:lnTo>
                      <a:lnTo>
                        <a:pt x="162" y="0"/>
                      </a:lnTo>
                      <a:lnTo>
                        <a:pt x="162" y="18"/>
                      </a:lnTo>
                      <a:lnTo>
                        <a:pt x="132" y="12"/>
                      </a:lnTo>
                      <a:lnTo>
                        <a:pt x="120" y="18"/>
                      </a:lnTo>
                      <a:lnTo>
                        <a:pt x="114" y="18"/>
                      </a:lnTo>
                      <a:lnTo>
                        <a:pt x="108" y="12"/>
                      </a:lnTo>
                      <a:lnTo>
                        <a:pt x="102" y="12"/>
                      </a:lnTo>
                      <a:lnTo>
                        <a:pt x="90" y="18"/>
                      </a:lnTo>
                      <a:lnTo>
                        <a:pt x="84" y="24"/>
                      </a:lnTo>
                      <a:lnTo>
                        <a:pt x="66" y="60"/>
                      </a:lnTo>
                      <a:lnTo>
                        <a:pt x="60" y="66"/>
                      </a:lnTo>
                      <a:lnTo>
                        <a:pt x="60" y="90"/>
                      </a:lnTo>
                      <a:lnTo>
                        <a:pt x="48" y="96"/>
                      </a:lnTo>
                      <a:lnTo>
                        <a:pt x="30" y="132"/>
                      </a:lnTo>
                      <a:lnTo>
                        <a:pt x="0" y="162"/>
                      </a:lnTo>
                      <a:lnTo>
                        <a:pt x="6" y="168"/>
                      </a:lnTo>
                      <a:lnTo>
                        <a:pt x="12" y="168"/>
                      </a:lnTo>
                      <a:lnTo>
                        <a:pt x="18" y="174"/>
                      </a:lnTo>
                      <a:lnTo>
                        <a:pt x="24" y="186"/>
                      </a:lnTo>
                      <a:lnTo>
                        <a:pt x="24" y="204"/>
                      </a:lnTo>
                      <a:lnTo>
                        <a:pt x="42" y="222"/>
                      </a:lnTo>
                      <a:lnTo>
                        <a:pt x="42" y="246"/>
                      </a:lnTo>
                      <a:lnTo>
                        <a:pt x="48" y="252"/>
                      </a:lnTo>
                      <a:lnTo>
                        <a:pt x="126" y="252"/>
                      </a:lnTo>
                      <a:lnTo>
                        <a:pt x="126" y="240"/>
                      </a:lnTo>
                      <a:lnTo>
                        <a:pt x="180" y="240"/>
                      </a:lnTo>
                      <a:lnTo>
                        <a:pt x="180" y="252"/>
                      </a:lnTo>
                      <a:lnTo>
                        <a:pt x="192" y="246"/>
                      </a:lnTo>
                      <a:lnTo>
                        <a:pt x="198" y="252"/>
                      </a:lnTo>
                      <a:lnTo>
                        <a:pt x="204" y="264"/>
                      </a:lnTo>
                      <a:lnTo>
                        <a:pt x="216" y="264"/>
                      </a:lnTo>
                      <a:lnTo>
                        <a:pt x="222" y="258"/>
                      </a:lnTo>
                      <a:lnTo>
                        <a:pt x="246" y="258"/>
                      </a:lnTo>
                      <a:lnTo>
                        <a:pt x="252" y="264"/>
                      </a:lnTo>
                      <a:lnTo>
                        <a:pt x="252" y="270"/>
                      </a:lnTo>
                      <a:lnTo>
                        <a:pt x="246" y="276"/>
                      </a:lnTo>
                      <a:lnTo>
                        <a:pt x="234" y="282"/>
                      </a:lnTo>
                      <a:lnTo>
                        <a:pt x="228" y="288"/>
                      </a:lnTo>
                      <a:lnTo>
                        <a:pt x="204" y="288"/>
                      </a:lnTo>
                      <a:lnTo>
                        <a:pt x="186" y="282"/>
                      </a:lnTo>
                      <a:lnTo>
                        <a:pt x="180" y="270"/>
                      </a:lnTo>
                      <a:lnTo>
                        <a:pt x="168" y="264"/>
                      </a:lnTo>
                      <a:lnTo>
                        <a:pt x="162" y="258"/>
                      </a:lnTo>
                      <a:lnTo>
                        <a:pt x="156" y="264"/>
                      </a:lnTo>
                      <a:lnTo>
                        <a:pt x="150" y="276"/>
                      </a:lnTo>
                      <a:lnTo>
                        <a:pt x="126" y="276"/>
                      </a:lnTo>
                      <a:lnTo>
                        <a:pt x="120" y="282"/>
                      </a:lnTo>
                      <a:lnTo>
                        <a:pt x="108" y="282"/>
                      </a:lnTo>
                      <a:lnTo>
                        <a:pt x="108" y="294"/>
                      </a:lnTo>
                      <a:lnTo>
                        <a:pt x="36" y="294"/>
                      </a:lnTo>
                      <a:lnTo>
                        <a:pt x="36" y="318"/>
                      </a:lnTo>
                      <a:lnTo>
                        <a:pt x="30" y="324"/>
                      </a:lnTo>
                      <a:lnTo>
                        <a:pt x="30" y="336"/>
                      </a:lnTo>
                      <a:lnTo>
                        <a:pt x="36" y="342"/>
                      </a:lnTo>
                      <a:lnTo>
                        <a:pt x="42" y="354"/>
                      </a:lnTo>
                      <a:lnTo>
                        <a:pt x="48" y="360"/>
                      </a:lnTo>
                      <a:lnTo>
                        <a:pt x="60" y="366"/>
                      </a:lnTo>
                      <a:lnTo>
                        <a:pt x="66" y="366"/>
                      </a:lnTo>
                      <a:lnTo>
                        <a:pt x="72" y="360"/>
                      </a:lnTo>
                      <a:lnTo>
                        <a:pt x="78" y="360"/>
                      </a:lnTo>
                      <a:lnTo>
                        <a:pt x="90" y="348"/>
                      </a:lnTo>
                      <a:lnTo>
                        <a:pt x="126" y="348"/>
                      </a:lnTo>
                      <a:lnTo>
                        <a:pt x="156" y="324"/>
                      </a:lnTo>
                      <a:lnTo>
                        <a:pt x="294" y="330"/>
                      </a:lnTo>
                      <a:lnTo>
                        <a:pt x="294" y="336"/>
                      </a:lnTo>
                      <a:lnTo>
                        <a:pt x="300" y="348"/>
                      </a:lnTo>
                      <a:lnTo>
                        <a:pt x="318" y="348"/>
                      </a:lnTo>
                      <a:lnTo>
                        <a:pt x="324" y="342"/>
                      </a:lnTo>
                      <a:lnTo>
                        <a:pt x="330" y="348"/>
                      </a:lnTo>
                      <a:lnTo>
                        <a:pt x="336" y="360"/>
                      </a:lnTo>
                      <a:lnTo>
                        <a:pt x="342" y="366"/>
                      </a:lnTo>
                      <a:lnTo>
                        <a:pt x="354" y="366"/>
                      </a:lnTo>
                      <a:lnTo>
                        <a:pt x="366" y="360"/>
                      </a:lnTo>
                      <a:lnTo>
                        <a:pt x="372" y="354"/>
                      </a:lnTo>
                      <a:lnTo>
                        <a:pt x="414" y="354"/>
                      </a:lnTo>
                      <a:lnTo>
                        <a:pt x="414" y="288"/>
                      </a:lnTo>
                      <a:lnTo>
                        <a:pt x="408" y="276"/>
                      </a:lnTo>
                      <a:lnTo>
                        <a:pt x="402" y="27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558" name="Saudi Arabia"/>
                <p:cNvSpPr>
                  <a:spLocks/>
                </p:cNvSpPr>
                <p:nvPr/>
              </p:nvSpPr>
              <p:spPr bwMode="gray">
                <a:xfrm>
                  <a:off x="3269" y="1647"/>
                  <a:ext cx="380" cy="326"/>
                </a:xfrm>
                <a:custGeom>
                  <a:avLst/>
                  <a:gdLst>
                    <a:gd name="T0" fmla="*/ 2147483647 w 1488"/>
                    <a:gd name="T1" fmla="*/ 2147483647 h 1278"/>
                    <a:gd name="T2" fmla="*/ 2147483647 w 1488"/>
                    <a:gd name="T3" fmla="*/ 2147483647 h 1278"/>
                    <a:gd name="T4" fmla="*/ 2147483647 w 1488"/>
                    <a:gd name="T5" fmla="*/ 2147483647 h 1278"/>
                    <a:gd name="T6" fmla="*/ 2147483647 w 1488"/>
                    <a:gd name="T7" fmla="*/ 2147483647 h 1278"/>
                    <a:gd name="T8" fmla="*/ 2147483647 w 1488"/>
                    <a:gd name="T9" fmla="*/ 2147483647 h 1278"/>
                    <a:gd name="T10" fmla="*/ 2147483647 w 1488"/>
                    <a:gd name="T11" fmla="*/ 2147483647 h 1278"/>
                    <a:gd name="T12" fmla="*/ 2147483647 w 1488"/>
                    <a:gd name="T13" fmla="*/ 2147483647 h 1278"/>
                    <a:gd name="T14" fmla="*/ 2147483647 w 1488"/>
                    <a:gd name="T15" fmla="*/ 2147483647 h 1278"/>
                    <a:gd name="T16" fmla="*/ 2147483647 w 1488"/>
                    <a:gd name="T17" fmla="*/ 2147483647 h 1278"/>
                    <a:gd name="T18" fmla="*/ 2147483647 w 1488"/>
                    <a:gd name="T19" fmla="*/ 2147483647 h 1278"/>
                    <a:gd name="T20" fmla="*/ 2147483647 w 1488"/>
                    <a:gd name="T21" fmla="*/ 2147483647 h 1278"/>
                    <a:gd name="T22" fmla="*/ 2147483647 w 1488"/>
                    <a:gd name="T23" fmla="*/ 2147483647 h 1278"/>
                    <a:gd name="T24" fmla="*/ 2147483647 w 1488"/>
                    <a:gd name="T25" fmla="*/ 2147483647 h 1278"/>
                    <a:gd name="T26" fmla="*/ 2147483647 w 1488"/>
                    <a:gd name="T27" fmla="*/ 2147483647 h 1278"/>
                    <a:gd name="T28" fmla="*/ 2147483647 w 1488"/>
                    <a:gd name="T29" fmla="*/ 2147483647 h 1278"/>
                    <a:gd name="T30" fmla="*/ 2147483647 w 1488"/>
                    <a:gd name="T31" fmla="*/ 2147483647 h 1278"/>
                    <a:gd name="T32" fmla="*/ 2147483647 w 1488"/>
                    <a:gd name="T33" fmla="*/ 2147483647 h 1278"/>
                    <a:gd name="T34" fmla="*/ 2147483647 w 1488"/>
                    <a:gd name="T35" fmla="*/ 2147483647 h 1278"/>
                    <a:gd name="T36" fmla="*/ 2147483647 w 1488"/>
                    <a:gd name="T37" fmla="*/ 2147483647 h 1278"/>
                    <a:gd name="T38" fmla="*/ 2147483647 w 1488"/>
                    <a:gd name="T39" fmla="*/ 0 h 1278"/>
                    <a:gd name="T40" fmla="*/ 2147483647 w 1488"/>
                    <a:gd name="T41" fmla="*/ 2147483647 h 1278"/>
                    <a:gd name="T42" fmla="*/ 2147483647 w 1488"/>
                    <a:gd name="T43" fmla="*/ 2147483647 h 1278"/>
                    <a:gd name="T44" fmla="*/ 2147483647 w 1488"/>
                    <a:gd name="T45" fmla="*/ 2147483647 h 1278"/>
                    <a:gd name="T46" fmla="*/ 2147483647 w 1488"/>
                    <a:gd name="T47" fmla="*/ 2147483647 h 1278"/>
                    <a:gd name="T48" fmla="*/ 2147483647 w 1488"/>
                    <a:gd name="T49" fmla="*/ 2147483647 h 1278"/>
                    <a:gd name="T50" fmla="*/ 2147483647 w 1488"/>
                    <a:gd name="T51" fmla="*/ 2147483647 h 1278"/>
                    <a:gd name="T52" fmla="*/ 2147483647 w 1488"/>
                    <a:gd name="T53" fmla="*/ 2147483647 h 1278"/>
                    <a:gd name="T54" fmla="*/ 2147483647 w 1488"/>
                    <a:gd name="T55" fmla="*/ 2147483647 h 1278"/>
                    <a:gd name="T56" fmla="*/ 2147483647 w 1488"/>
                    <a:gd name="T57" fmla="*/ 2147483647 h 1278"/>
                    <a:gd name="T58" fmla="*/ 2147483647 w 1488"/>
                    <a:gd name="T59" fmla="*/ 2147483647 h 1278"/>
                    <a:gd name="T60" fmla="*/ 2147483647 w 1488"/>
                    <a:gd name="T61" fmla="*/ 2147483647 h 1278"/>
                    <a:gd name="T62" fmla="*/ 0 w 1488"/>
                    <a:gd name="T63" fmla="*/ 2147483647 h 1278"/>
                    <a:gd name="T64" fmla="*/ 2147483647 w 1488"/>
                    <a:gd name="T65" fmla="*/ 2147483647 h 1278"/>
                    <a:gd name="T66" fmla="*/ 2147483647 w 1488"/>
                    <a:gd name="T67" fmla="*/ 2147483647 h 1278"/>
                    <a:gd name="T68" fmla="*/ 2147483647 w 1488"/>
                    <a:gd name="T69" fmla="*/ 2147483647 h 1278"/>
                    <a:gd name="T70" fmla="*/ 2147483647 w 1488"/>
                    <a:gd name="T71" fmla="*/ 2147483647 h 1278"/>
                    <a:gd name="T72" fmla="*/ 2147483647 w 1488"/>
                    <a:gd name="T73" fmla="*/ 2147483647 h 1278"/>
                    <a:gd name="T74" fmla="*/ 2147483647 w 1488"/>
                    <a:gd name="T75" fmla="*/ 2147483647 h 1278"/>
                    <a:gd name="T76" fmla="*/ 2147483647 w 1488"/>
                    <a:gd name="T77" fmla="*/ 2147483647 h 1278"/>
                    <a:gd name="T78" fmla="*/ 2147483647 w 1488"/>
                    <a:gd name="T79" fmla="*/ 2147483647 h 1278"/>
                    <a:gd name="T80" fmla="*/ 2147483647 w 1488"/>
                    <a:gd name="T81" fmla="*/ 2147483647 h 1278"/>
                    <a:gd name="T82" fmla="*/ 2147483647 w 1488"/>
                    <a:gd name="T83" fmla="*/ 2147483647 h 1278"/>
                    <a:gd name="T84" fmla="*/ 2147483647 w 1488"/>
                    <a:gd name="T85" fmla="*/ 2147483647 h 1278"/>
                    <a:gd name="T86" fmla="*/ 2147483647 w 1488"/>
                    <a:gd name="T87" fmla="*/ 2147483647 h 1278"/>
                    <a:gd name="T88" fmla="*/ 2147483647 w 1488"/>
                    <a:gd name="T89" fmla="*/ 2147483647 h 1278"/>
                    <a:gd name="T90" fmla="*/ 2147483647 w 1488"/>
                    <a:gd name="T91" fmla="*/ 2147483647 h 1278"/>
                    <a:gd name="T92" fmla="*/ 2147483647 w 1488"/>
                    <a:gd name="T93" fmla="*/ 2147483647 h 1278"/>
                    <a:gd name="T94" fmla="*/ 2147483647 w 1488"/>
                    <a:gd name="T95" fmla="*/ 2147483647 h 1278"/>
                    <a:gd name="T96" fmla="*/ 2147483647 w 1488"/>
                    <a:gd name="T97" fmla="*/ 2147483647 h 1278"/>
                    <a:gd name="T98" fmla="*/ 2147483647 w 1488"/>
                    <a:gd name="T99" fmla="*/ 2147483647 h 1278"/>
                    <a:gd name="T100" fmla="*/ 2147483647 w 1488"/>
                    <a:gd name="T101" fmla="*/ 2147483647 h 1278"/>
                    <a:gd name="T102" fmla="*/ 2147483647 w 1488"/>
                    <a:gd name="T103" fmla="*/ 2147483647 h 1278"/>
                    <a:gd name="T104" fmla="*/ 2147483647 w 1488"/>
                    <a:gd name="T105" fmla="*/ 2147483647 h 1278"/>
                    <a:gd name="T106" fmla="*/ 2147483647 w 1488"/>
                    <a:gd name="T107" fmla="*/ 2147483647 h 1278"/>
                    <a:gd name="T108" fmla="*/ 2147483647 w 1488"/>
                    <a:gd name="T109" fmla="*/ 2147483647 h 1278"/>
                    <a:gd name="T110" fmla="*/ 2147483647 w 1488"/>
                    <a:gd name="T111" fmla="*/ 2147483647 h 1278"/>
                    <a:gd name="T112" fmla="*/ 2147483647 w 1488"/>
                    <a:gd name="T113" fmla="*/ 2147483647 h 1278"/>
                    <a:gd name="T114" fmla="*/ 2147483647 w 1488"/>
                    <a:gd name="T115" fmla="*/ 2147483647 h 1278"/>
                    <a:gd name="T116" fmla="*/ 2147483647 w 1488"/>
                    <a:gd name="T117" fmla="*/ 2147483647 h 127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488"/>
                    <a:gd name="T178" fmla="*/ 0 h 1278"/>
                    <a:gd name="T179" fmla="*/ 1488 w 1488"/>
                    <a:gd name="T180" fmla="*/ 1278 h 127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488" h="1278">
                      <a:moveTo>
                        <a:pt x="1464" y="792"/>
                      </a:moveTo>
                      <a:lnTo>
                        <a:pt x="1464" y="780"/>
                      </a:lnTo>
                      <a:lnTo>
                        <a:pt x="1458" y="774"/>
                      </a:lnTo>
                      <a:lnTo>
                        <a:pt x="1416" y="768"/>
                      </a:lnTo>
                      <a:lnTo>
                        <a:pt x="1320" y="756"/>
                      </a:lnTo>
                      <a:lnTo>
                        <a:pt x="1284" y="750"/>
                      </a:lnTo>
                      <a:lnTo>
                        <a:pt x="1266" y="750"/>
                      </a:lnTo>
                      <a:lnTo>
                        <a:pt x="1260" y="738"/>
                      </a:lnTo>
                      <a:lnTo>
                        <a:pt x="1248" y="732"/>
                      </a:lnTo>
                      <a:lnTo>
                        <a:pt x="1242" y="720"/>
                      </a:lnTo>
                      <a:lnTo>
                        <a:pt x="1218" y="696"/>
                      </a:lnTo>
                      <a:lnTo>
                        <a:pt x="1206" y="672"/>
                      </a:lnTo>
                      <a:lnTo>
                        <a:pt x="1188" y="654"/>
                      </a:lnTo>
                      <a:lnTo>
                        <a:pt x="1188" y="642"/>
                      </a:lnTo>
                      <a:lnTo>
                        <a:pt x="1182" y="636"/>
                      </a:lnTo>
                      <a:lnTo>
                        <a:pt x="1182" y="618"/>
                      </a:lnTo>
                      <a:lnTo>
                        <a:pt x="1176" y="624"/>
                      </a:lnTo>
                      <a:lnTo>
                        <a:pt x="1164" y="612"/>
                      </a:lnTo>
                      <a:lnTo>
                        <a:pt x="1146" y="612"/>
                      </a:lnTo>
                      <a:lnTo>
                        <a:pt x="1140" y="600"/>
                      </a:lnTo>
                      <a:lnTo>
                        <a:pt x="1134" y="594"/>
                      </a:lnTo>
                      <a:lnTo>
                        <a:pt x="1128" y="582"/>
                      </a:lnTo>
                      <a:lnTo>
                        <a:pt x="1122" y="564"/>
                      </a:lnTo>
                      <a:lnTo>
                        <a:pt x="1116" y="552"/>
                      </a:lnTo>
                      <a:lnTo>
                        <a:pt x="1116" y="540"/>
                      </a:lnTo>
                      <a:lnTo>
                        <a:pt x="1110" y="534"/>
                      </a:lnTo>
                      <a:lnTo>
                        <a:pt x="1098" y="528"/>
                      </a:lnTo>
                      <a:lnTo>
                        <a:pt x="1086" y="516"/>
                      </a:lnTo>
                      <a:lnTo>
                        <a:pt x="1074" y="510"/>
                      </a:lnTo>
                      <a:lnTo>
                        <a:pt x="1068" y="498"/>
                      </a:lnTo>
                      <a:lnTo>
                        <a:pt x="1068" y="462"/>
                      </a:lnTo>
                      <a:lnTo>
                        <a:pt x="1062" y="450"/>
                      </a:lnTo>
                      <a:lnTo>
                        <a:pt x="1062" y="438"/>
                      </a:lnTo>
                      <a:lnTo>
                        <a:pt x="1050" y="426"/>
                      </a:lnTo>
                      <a:lnTo>
                        <a:pt x="1002" y="402"/>
                      </a:lnTo>
                      <a:lnTo>
                        <a:pt x="996" y="396"/>
                      </a:lnTo>
                      <a:lnTo>
                        <a:pt x="990" y="384"/>
                      </a:lnTo>
                      <a:lnTo>
                        <a:pt x="990" y="360"/>
                      </a:lnTo>
                      <a:lnTo>
                        <a:pt x="972" y="342"/>
                      </a:lnTo>
                      <a:lnTo>
                        <a:pt x="966" y="330"/>
                      </a:lnTo>
                      <a:lnTo>
                        <a:pt x="960" y="324"/>
                      </a:lnTo>
                      <a:lnTo>
                        <a:pt x="960" y="300"/>
                      </a:lnTo>
                      <a:lnTo>
                        <a:pt x="954" y="300"/>
                      </a:lnTo>
                      <a:lnTo>
                        <a:pt x="948" y="294"/>
                      </a:lnTo>
                      <a:lnTo>
                        <a:pt x="882" y="294"/>
                      </a:lnTo>
                      <a:lnTo>
                        <a:pt x="876" y="288"/>
                      </a:lnTo>
                      <a:lnTo>
                        <a:pt x="876" y="252"/>
                      </a:lnTo>
                      <a:lnTo>
                        <a:pt x="852" y="246"/>
                      </a:lnTo>
                      <a:lnTo>
                        <a:pt x="804" y="246"/>
                      </a:lnTo>
                      <a:lnTo>
                        <a:pt x="750" y="240"/>
                      </a:lnTo>
                      <a:lnTo>
                        <a:pt x="684" y="240"/>
                      </a:lnTo>
                      <a:lnTo>
                        <a:pt x="492" y="96"/>
                      </a:lnTo>
                      <a:lnTo>
                        <a:pt x="480" y="90"/>
                      </a:lnTo>
                      <a:lnTo>
                        <a:pt x="474" y="84"/>
                      </a:lnTo>
                      <a:lnTo>
                        <a:pt x="426" y="60"/>
                      </a:lnTo>
                      <a:lnTo>
                        <a:pt x="414" y="48"/>
                      </a:lnTo>
                      <a:lnTo>
                        <a:pt x="402" y="42"/>
                      </a:lnTo>
                      <a:lnTo>
                        <a:pt x="372" y="12"/>
                      </a:lnTo>
                      <a:lnTo>
                        <a:pt x="306" y="12"/>
                      </a:lnTo>
                      <a:lnTo>
                        <a:pt x="294" y="0"/>
                      </a:lnTo>
                      <a:lnTo>
                        <a:pt x="288" y="6"/>
                      </a:lnTo>
                      <a:lnTo>
                        <a:pt x="276" y="12"/>
                      </a:lnTo>
                      <a:lnTo>
                        <a:pt x="270" y="12"/>
                      </a:lnTo>
                      <a:lnTo>
                        <a:pt x="264" y="18"/>
                      </a:lnTo>
                      <a:lnTo>
                        <a:pt x="252" y="24"/>
                      </a:lnTo>
                      <a:lnTo>
                        <a:pt x="210" y="24"/>
                      </a:lnTo>
                      <a:lnTo>
                        <a:pt x="198" y="48"/>
                      </a:lnTo>
                      <a:lnTo>
                        <a:pt x="132" y="48"/>
                      </a:lnTo>
                      <a:lnTo>
                        <a:pt x="120" y="54"/>
                      </a:lnTo>
                      <a:lnTo>
                        <a:pt x="108" y="54"/>
                      </a:lnTo>
                      <a:lnTo>
                        <a:pt x="108" y="60"/>
                      </a:lnTo>
                      <a:lnTo>
                        <a:pt x="132" y="60"/>
                      </a:lnTo>
                      <a:lnTo>
                        <a:pt x="144" y="66"/>
                      </a:lnTo>
                      <a:lnTo>
                        <a:pt x="156" y="66"/>
                      </a:lnTo>
                      <a:lnTo>
                        <a:pt x="180" y="90"/>
                      </a:lnTo>
                      <a:lnTo>
                        <a:pt x="192" y="114"/>
                      </a:lnTo>
                      <a:lnTo>
                        <a:pt x="198" y="120"/>
                      </a:lnTo>
                      <a:lnTo>
                        <a:pt x="198" y="132"/>
                      </a:lnTo>
                      <a:lnTo>
                        <a:pt x="192" y="138"/>
                      </a:lnTo>
                      <a:lnTo>
                        <a:pt x="192" y="150"/>
                      </a:lnTo>
                      <a:lnTo>
                        <a:pt x="186" y="156"/>
                      </a:lnTo>
                      <a:lnTo>
                        <a:pt x="180" y="168"/>
                      </a:lnTo>
                      <a:lnTo>
                        <a:pt x="174" y="174"/>
                      </a:lnTo>
                      <a:lnTo>
                        <a:pt x="162" y="180"/>
                      </a:lnTo>
                      <a:lnTo>
                        <a:pt x="150" y="180"/>
                      </a:lnTo>
                      <a:lnTo>
                        <a:pt x="138" y="186"/>
                      </a:lnTo>
                      <a:lnTo>
                        <a:pt x="132" y="186"/>
                      </a:lnTo>
                      <a:lnTo>
                        <a:pt x="120" y="198"/>
                      </a:lnTo>
                      <a:lnTo>
                        <a:pt x="120" y="210"/>
                      </a:lnTo>
                      <a:lnTo>
                        <a:pt x="108" y="234"/>
                      </a:lnTo>
                      <a:lnTo>
                        <a:pt x="96" y="246"/>
                      </a:lnTo>
                      <a:lnTo>
                        <a:pt x="60" y="246"/>
                      </a:lnTo>
                      <a:lnTo>
                        <a:pt x="36" y="234"/>
                      </a:lnTo>
                      <a:lnTo>
                        <a:pt x="6" y="234"/>
                      </a:lnTo>
                      <a:lnTo>
                        <a:pt x="6" y="264"/>
                      </a:lnTo>
                      <a:lnTo>
                        <a:pt x="0" y="306"/>
                      </a:lnTo>
                      <a:lnTo>
                        <a:pt x="0" y="348"/>
                      </a:lnTo>
                      <a:lnTo>
                        <a:pt x="6" y="372"/>
                      </a:lnTo>
                      <a:lnTo>
                        <a:pt x="24" y="378"/>
                      </a:lnTo>
                      <a:lnTo>
                        <a:pt x="36" y="390"/>
                      </a:lnTo>
                      <a:lnTo>
                        <a:pt x="54" y="390"/>
                      </a:lnTo>
                      <a:lnTo>
                        <a:pt x="72" y="408"/>
                      </a:lnTo>
                      <a:lnTo>
                        <a:pt x="90" y="438"/>
                      </a:lnTo>
                      <a:lnTo>
                        <a:pt x="102" y="474"/>
                      </a:lnTo>
                      <a:lnTo>
                        <a:pt x="120" y="504"/>
                      </a:lnTo>
                      <a:lnTo>
                        <a:pt x="132" y="516"/>
                      </a:lnTo>
                      <a:lnTo>
                        <a:pt x="150" y="528"/>
                      </a:lnTo>
                      <a:lnTo>
                        <a:pt x="162" y="540"/>
                      </a:lnTo>
                      <a:lnTo>
                        <a:pt x="174" y="558"/>
                      </a:lnTo>
                      <a:lnTo>
                        <a:pt x="180" y="570"/>
                      </a:lnTo>
                      <a:lnTo>
                        <a:pt x="186" y="594"/>
                      </a:lnTo>
                      <a:lnTo>
                        <a:pt x="192" y="612"/>
                      </a:lnTo>
                      <a:lnTo>
                        <a:pt x="198" y="636"/>
                      </a:lnTo>
                      <a:lnTo>
                        <a:pt x="210" y="648"/>
                      </a:lnTo>
                      <a:lnTo>
                        <a:pt x="234" y="660"/>
                      </a:lnTo>
                      <a:lnTo>
                        <a:pt x="264" y="660"/>
                      </a:lnTo>
                      <a:lnTo>
                        <a:pt x="282" y="666"/>
                      </a:lnTo>
                      <a:lnTo>
                        <a:pt x="294" y="678"/>
                      </a:lnTo>
                      <a:lnTo>
                        <a:pt x="312" y="708"/>
                      </a:lnTo>
                      <a:lnTo>
                        <a:pt x="330" y="756"/>
                      </a:lnTo>
                      <a:lnTo>
                        <a:pt x="336" y="804"/>
                      </a:lnTo>
                      <a:lnTo>
                        <a:pt x="342" y="840"/>
                      </a:lnTo>
                      <a:lnTo>
                        <a:pt x="348" y="870"/>
                      </a:lnTo>
                      <a:lnTo>
                        <a:pt x="366" y="906"/>
                      </a:lnTo>
                      <a:lnTo>
                        <a:pt x="384" y="924"/>
                      </a:lnTo>
                      <a:lnTo>
                        <a:pt x="390" y="936"/>
                      </a:lnTo>
                      <a:lnTo>
                        <a:pt x="414" y="936"/>
                      </a:lnTo>
                      <a:lnTo>
                        <a:pt x="438" y="948"/>
                      </a:lnTo>
                      <a:lnTo>
                        <a:pt x="456" y="972"/>
                      </a:lnTo>
                      <a:lnTo>
                        <a:pt x="480" y="1008"/>
                      </a:lnTo>
                      <a:lnTo>
                        <a:pt x="504" y="1056"/>
                      </a:lnTo>
                      <a:lnTo>
                        <a:pt x="552" y="1128"/>
                      </a:lnTo>
                      <a:lnTo>
                        <a:pt x="582" y="1170"/>
                      </a:lnTo>
                      <a:lnTo>
                        <a:pt x="606" y="1206"/>
                      </a:lnTo>
                      <a:lnTo>
                        <a:pt x="618" y="1236"/>
                      </a:lnTo>
                      <a:lnTo>
                        <a:pt x="618" y="1266"/>
                      </a:lnTo>
                      <a:lnTo>
                        <a:pt x="612" y="1278"/>
                      </a:lnTo>
                      <a:lnTo>
                        <a:pt x="624" y="1266"/>
                      </a:lnTo>
                      <a:lnTo>
                        <a:pt x="630" y="1254"/>
                      </a:lnTo>
                      <a:lnTo>
                        <a:pt x="636" y="1248"/>
                      </a:lnTo>
                      <a:lnTo>
                        <a:pt x="636" y="1200"/>
                      </a:lnTo>
                      <a:lnTo>
                        <a:pt x="642" y="1188"/>
                      </a:lnTo>
                      <a:lnTo>
                        <a:pt x="648" y="1182"/>
                      </a:lnTo>
                      <a:lnTo>
                        <a:pt x="654" y="1182"/>
                      </a:lnTo>
                      <a:lnTo>
                        <a:pt x="672" y="1200"/>
                      </a:lnTo>
                      <a:lnTo>
                        <a:pt x="696" y="1194"/>
                      </a:lnTo>
                      <a:lnTo>
                        <a:pt x="702" y="1188"/>
                      </a:lnTo>
                      <a:lnTo>
                        <a:pt x="792" y="1188"/>
                      </a:lnTo>
                      <a:lnTo>
                        <a:pt x="804" y="1194"/>
                      </a:lnTo>
                      <a:lnTo>
                        <a:pt x="810" y="1200"/>
                      </a:lnTo>
                      <a:lnTo>
                        <a:pt x="888" y="1200"/>
                      </a:lnTo>
                      <a:lnTo>
                        <a:pt x="894" y="1206"/>
                      </a:lnTo>
                      <a:lnTo>
                        <a:pt x="900" y="1218"/>
                      </a:lnTo>
                      <a:lnTo>
                        <a:pt x="912" y="1224"/>
                      </a:lnTo>
                      <a:lnTo>
                        <a:pt x="924" y="1224"/>
                      </a:lnTo>
                      <a:lnTo>
                        <a:pt x="930" y="1212"/>
                      </a:lnTo>
                      <a:lnTo>
                        <a:pt x="936" y="1206"/>
                      </a:lnTo>
                      <a:lnTo>
                        <a:pt x="936" y="1188"/>
                      </a:lnTo>
                      <a:lnTo>
                        <a:pt x="942" y="1176"/>
                      </a:lnTo>
                      <a:lnTo>
                        <a:pt x="948" y="1170"/>
                      </a:lnTo>
                      <a:lnTo>
                        <a:pt x="954" y="1158"/>
                      </a:lnTo>
                      <a:lnTo>
                        <a:pt x="966" y="1146"/>
                      </a:lnTo>
                      <a:lnTo>
                        <a:pt x="972" y="1134"/>
                      </a:lnTo>
                      <a:lnTo>
                        <a:pt x="990" y="1116"/>
                      </a:lnTo>
                      <a:lnTo>
                        <a:pt x="1020" y="1098"/>
                      </a:lnTo>
                      <a:lnTo>
                        <a:pt x="1050" y="1092"/>
                      </a:lnTo>
                      <a:lnTo>
                        <a:pt x="1068" y="1086"/>
                      </a:lnTo>
                      <a:lnTo>
                        <a:pt x="1092" y="1086"/>
                      </a:lnTo>
                      <a:lnTo>
                        <a:pt x="1140" y="1080"/>
                      </a:lnTo>
                      <a:lnTo>
                        <a:pt x="1188" y="1068"/>
                      </a:lnTo>
                      <a:lnTo>
                        <a:pt x="1230" y="1062"/>
                      </a:lnTo>
                      <a:lnTo>
                        <a:pt x="1248" y="1062"/>
                      </a:lnTo>
                      <a:lnTo>
                        <a:pt x="1452" y="990"/>
                      </a:lnTo>
                      <a:lnTo>
                        <a:pt x="1488" y="816"/>
                      </a:lnTo>
                      <a:lnTo>
                        <a:pt x="1482" y="810"/>
                      </a:lnTo>
                      <a:lnTo>
                        <a:pt x="1470" y="804"/>
                      </a:lnTo>
                      <a:lnTo>
                        <a:pt x="1464" y="798"/>
                      </a:lnTo>
                      <a:lnTo>
                        <a:pt x="1464" y="792"/>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559" name="Rwanda"/>
                <p:cNvSpPr>
                  <a:spLocks/>
                </p:cNvSpPr>
                <p:nvPr/>
              </p:nvSpPr>
              <p:spPr bwMode="gray">
                <a:xfrm>
                  <a:off x="3177" y="2331"/>
                  <a:ext cx="38" cy="38"/>
                </a:xfrm>
                <a:custGeom>
                  <a:avLst/>
                  <a:gdLst>
                    <a:gd name="T0" fmla="*/ 2147483647 w 150"/>
                    <a:gd name="T1" fmla="*/ 2147483647 h 150"/>
                    <a:gd name="T2" fmla="*/ 2147483647 w 150"/>
                    <a:gd name="T3" fmla="*/ 2147483647 h 150"/>
                    <a:gd name="T4" fmla="*/ 2147483647 w 150"/>
                    <a:gd name="T5" fmla="*/ 2147483647 h 150"/>
                    <a:gd name="T6" fmla="*/ 2147483647 w 150"/>
                    <a:gd name="T7" fmla="*/ 2147483647 h 150"/>
                    <a:gd name="T8" fmla="*/ 2147483647 w 150"/>
                    <a:gd name="T9" fmla="*/ 2147483647 h 150"/>
                    <a:gd name="T10" fmla="*/ 2147483647 w 150"/>
                    <a:gd name="T11" fmla="*/ 2147483647 h 150"/>
                    <a:gd name="T12" fmla="*/ 2147483647 w 150"/>
                    <a:gd name="T13" fmla="*/ 2147483647 h 150"/>
                    <a:gd name="T14" fmla="*/ 2147483647 w 150"/>
                    <a:gd name="T15" fmla="*/ 2147483647 h 150"/>
                    <a:gd name="T16" fmla="*/ 2147483647 w 150"/>
                    <a:gd name="T17" fmla="*/ 2147483647 h 150"/>
                    <a:gd name="T18" fmla="*/ 2147483647 w 150"/>
                    <a:gd name="T19" fmla="*/ 2147483647 h 150"/>
                    <a:gd name="T20" fmla="*/ 2147483647 w 150"/>
                    <a:gd name="T21" fmla="*/ 2147483647 h 150"/>
                    <a:gd name="T22" fmla="*/ 2147483647 w 150"/>
                    <a:gd name="T23" fmla="*/ 2147483647 h 150"/>
                    <a:gd name="T24" fmla="*/ 2147483647 w 150"/>
                    <a:gd name="T25" fmla="*/ 2147483647 h 150"/>
                    <a:gd name="T26" fmla="*/ 2147483647 w 150"/>
                    <a:gd name="T27" fmla="*/ 0 h 150"/>
                    <a:gd name="T28" fmla="*/ 2147483647 w 150"/>
                    <a:gd name="T29" fmla="*/ 2147483647 h 150"/>
                    <a:gd name="T30" fmla="*/ 2147483647 w 150"/>
                    <a:gd name="T31" fmla="*/ 2147483647 h 150"/>
                    <a:gd name="T32" fmla="*/ 2147483647 w 150"/>
                    <a:gd name="T33" fmla="*/ 2147483647 h 150"/>
                    <a:gd name="T34" fmla="*/ 2147483647 w 150"/>
                    <a:gd name="T35" fmla="*/ 2147483647 h 150"/>
                    <a:gd name="T36" fmla="*/ 2147483647 w 150"/>
                    <a:gd name="T37" fmla="*/ 2147483647 h 150"/>
                    <a:gd name="T38" fmla="*/ 2147483647 w 150"/>
                    <a:gd name="T39" fmla="*/ 2147483647 h 150"/>
                    <a:gd name="T40" fmla="*/ 2147483647 w 150"/>
                    <a:gd name="T41" fmla="*/ 2147483647 h 150"/>
                    <a:gd name="T42" fmla="*/ 2147483647 w 150"/>
                    <a:gd name="T43" fmla="*/ 2147483647 h 150"/>
                    <a:gd name="T44" fmla="*/ 2147483647 w 150"/>
                    <a:gd name="T45" fmla="*/ 2147483647 h 150"/>
                    <a:gd name="T46" fmla="*/ 2147483647 w 150"/>
                    <a:gd name="T47" fmla="*/ 2147483647 h 150"/>
                    <a:gd name="T48" fmla="*/ 2147483647 w 150"/>
                    <a:gd name="T49" fmla="*/ 2147483647 h 150"/>
                    <a:gd name="T50" fmla="*/ 2147483647 w 150"/>
                    <a:gd name="T51" fmla="*/ 2147483647 h 150"/>
                    <a:gd name="T52" fmla="*/ 2147483647 w 150"/>
                    <a:gd name="T53" fmla="*/ 2147483647 h 150"/>
                    <a:gd name="T54" fmla="*/ 2147483647 w 150"/>
                    <a:gd name="T55" fmla="*/ 2147483647 h 150"/>
                    <a:gd name="T56" fmla="*/ 2147483647 w 150"/>
                    <a:gd name="T57" fmla="*/ 2147483647 h 150"/>
                    <a:gd name="T58" fmla="*/ 2147483647 w 150"/>
                    <a:gd name="T59" fmla="*/ 2147483647 h 150"/>
                    <a:gd name="T60" fmla="*/ 0 w 150"/>
                    <a:gd name="T61" fmla="*/ 2147483647 h 150"/>
                    <a:gd name="T62" fmla="*/ 0 w 150"/>
                    <a:gd name="T63" fmla="*/ 2147483647 h 150"/>
                    <a:gd name="T64" fmla="*/ 2147483647 w 150"/>
                    <a:gd name="T65" fmla="*/ 2147483647 h 150"/>
                    <a:gd name="T66" fmla="*/ 2147483647 w 150"/>
                    <a:gd name="T67" fmla="*/ 2147483647 h 150"/>
                    <a:gd name="T68" fmla="*/ 2147483647 w 150"/>
                    <a:gd name="T69" fmla="*/ 2147483647 h 150"/>
                    <a:gd name="T70" fmla="*/ 2147483647 w 150"/>
                    <a:gd name="T71" fmla="*/ 2147483647 h 150"/>
                    <a:gd name="T72" fmla="*/ 2147483647 w 150"/>
                    <a:gd name="T73" fmla="*/ 2147483647 h 15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50"/>
                    <a:gd name="T112" fmla="*/ 0 h 150"/>
                    <a:gd name="T113" fmla="*/ 150 w 150"/>
                    <a:gd name="T114" fmla="*/ 150 h 15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50" h="150">
                      <a:moveTo>
                        <a:pt x="48" y="150"/>
                      </a:moveTo>
                      <a:lnTo>
                        <a:pt x="54" y="150"/>
                      </a:lnTo>
                      <a:lnTo>
                        <a:pt x="60" y="144"/>
                      </a:lnTo>
                      <a:lnTo>
                        <a:pt x="72" y="138"/>
                      </a:lnTo>
                      <a:lnTo>
                        <a:pt x="78" y="114"/>
                      </a:lnTo>
                      <a:lnTo>
                        <a:pt x="138" y="114"/>
                      </a:lnTo>
                      <a:lnTo>
                        <a:pt x="150" y="102"/>
                      </a:lnTo>
                      <a:lnTo>
                        <a:pt x="150" y="72"/>
                      </a:lnTo>
                      <a:lnTo>
                        <a:pt x="144" y="66"/>
                      </a:lnTo>
                      <a:lnTo>
                        <a:pt x="144" y="48"/>
                      </a:lnTo>
                      <a:lnTo>
                        <a:pt x="138" y="42"/>
                      </a:lnTo>
                      <a:lnTo>
                        <a:pt x="132" y="30"/>
                      </a:lnTo>
                      <a:lnTo>
                        <a:pt x="126" y="24"/>
                      </a:lnTo>
                      <a:lnTo>
                        <a:pt x="132" y="0"/>
                      </a:lnTo>
                      <a:lnTo>
                        <a:pt x="108" y="6"/>
                      </a:lnTo>
                      <a:lnTo>
                        <a:pt x="108" y="12"/>
                      </a:lnTo>
                      <a:lnTo>
                        <a:pt x="102" y="18"/>
                      </a:lnTo>
                      <a:lnTo>
                        <a:pt x="90" y="42"/>
                      </a:lnTo>
                      <a:lnTo>
                        <a:pt x="84" y="42"/>
                      </a:lnTo>
                      <a:lnTo>
                        <a:pt x="72" y="30"/>
                      </a:lnTo>
                      <a:lnTo>
                        <a:pt x="54" y="30"/>
                      </a:lnTo>
                      <a:lnTo>
                        <a:pt x="48" y="36"/>
                      </a:lnTo>
                      <a:lnTo>
                        <a:pt x="24" y="48"/>
                      </a:lnTo>
                      <a:lnTo>
                        <a:pt x="18" y="54"/>
                      </a:lnTo>
                      <a:lnTo>
                        <a:pt x="18" y="60"/>
                      </a:lnTo>
                      <a:lnTo>
                        <a:pt x="24" y="72"/>
                      </a:lnTo>
                      <a:lnTo>
                        <a:pt x="30" y="78"/>
                      </a:lnTo>
                      <a:lnTo>
                        <a:pt x="30" y="90"/>
                      </a:lnTo>
                      <a:lnTo>
                        <a:pt x="18" y="102"/>
                      </a:lnTo>
                      <a:lnTo>
                        <a:pt x="6" y="108"/>
                      </a:lnTo>
                      <a:lnTo>
                        <a:pt x="0" y="120"/>
                      </a:lnTo>
                      <a:lnTo>
                        <a:pt x="0" y="126"/>
                      </a:lnTo>
                      <a:lnTo>
                        <a:pt x="6" y="132"/>
                      </a:lnTo>
                      <a:lnTo>
                        <a:pt x="30" y="132"/>
                      </a:lnTo>
                      <a:lnTo>
                        <a:pt x="36" y="144"/>
                      </a:lnTo>
                      <a:lnTo>
                        <a:pt x="42" y="150"/>
                      </a:lnTo>
                      <a:lnTo>
                        <a:pt x="48" y="15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560" name="Russia (Urup,Simushir)"/>
                <p:cNvSpPr>
                  <a:spLocks noEditPoints="1"/>
                </p:cNvSpPr>
                <p:nvPr/>
              </p:nvSpPr>
              <p:spPr bwMode="gray">
                <a:xfrm>
                  <a:off x="5061" y="1103"/>
                  <a:ext cx="77" cy="306"/>
                </a:xfrm>
                <a:custGeom>
                  <a:avLst/>
                  <a:gdLst>
                    <a:gd name="T0" fmla="*/ 0 w 300"/>
                    <a:gd name="T1" fmla="*/ 2147483647 h 1194"/>
                    <a:gd name="T2" fmla="*/ 2147483647 w 300"/>
                    <a:gd name="T3" fmla="*/ 2147483647 h 1194"/>
                    <a:gd name="T4" fmla="*/ 2147483647 w 300"/>
                    <a:gd name="T5" fmla="*/ 2147483647 h 1194"/>
                    <a:gd name="T6" fmla="*/ 2147483647 w 300"/>
                    <a:gd name="T7" fmla="*/ 2147483647 h 1194"/>
                    <a:gd name="T8" fmla="*/ 0 w 300"/>
                    <a:gd name="T9" fmla="*/ 2147483647 h 1194"/>
                    <a:gd name="T10" fmla="*/ 2147483647 w 300"/>
                    <a:gd name="T11" fmla="*/ 2147483647 h 1194"/>
                    <a:gd name="T12" fmla="*/ 2147483647 w 300"/>
                    <a:gd name="T13" fmla="*/ 2147483647 h 1194"/>
                    <a:gd name="T14" fmla="*/ 2147483647 w 300"/>
                    <a:gd name="T15" fmla="*/ 2147483647 h 1194"/>
                    <a:gd name="T16" fmla="*/ 2147483647 w 300"/>
                    <a:gd name="T17" fmla="*/ 2147483647 h 1194"/>
                    <a:gd name="T18" fmla="*/ 2147483647 w 300"/>
                    <a:gd name="T19" fmla="*/ 2147483647 h 1194"/>
                    <a:gd name="T20" fmla="*/ 2147483647 w 300"/>
                    <a:gd name="T21" fmla="*/ 2147483647 h 1194"/>
                    <a:gd name="T22" fmla="*/ 2147483647 w 300"/>
                    <a:gd name="T23" fmla="*/ 2147483647 h 1194"/>
                    <a:gd name="T24" fmla="*/ 2147483647 w 300"/>
                    <a:gd name="T25" fmla="*/ 2147483647 h 1194"/>
                    <a:gd name="T26" fmla="*/ 2147483647 w 300"/>
                    <a:gd name="T27" fmla="*/ 2147483647 h 1194"/>
                    <a:gd name="T28" fmla="*/ 2147483647 w 300"/>
                    <a:gd name="T29" fmla="*/ 2147483647 h 1194"/>
                    <a:gd name="T30" fmla="*/ 2147483647 w 300"/>
                    <a:gd name="T31" fmla="*/ 2147483647 h 1194"/>
                    <a:gd name="T32" fmla="*/ 2147483647 w 300"/>
                    <a:gd name="T33" fmla="*/ 2147483647 h 1194"/>
                    <a:gd name="T34" fmla="*/ 2147483647 w 300"/>
                    <a:gd name="T35" fmla="*/ 2147483647 h 1194"/>
                    <a:gd name="T36" fmla="*/ 2147483647 w 300"/>
                    <a:gd name="T37" fmla="*/ 2147483647 h 1194"/>
                    <a:gd name="T38" fmla="*/ 2147483647 w 300"/>
                    <a:gd name="T39" fmla="*/ 2147483647 h 1194"/>
                    <a:gd name="T40" fmla="*/ 2147483647 w 300"/>
                    <a:gd name="T41" fmla="*/ 2147483647 h 1194"/>
                    <a:gd name="T42" fmla="*/ 2147483647 w 300"/>
                    <a:gd name="T43" fmla="*/ 2147483647 h 1194"/>
                    <a:gd name="T44" fmla="*/ 2147483647 w 300"/>
                    <a:gd name="T45" fmla="*/ 2147483647 h 1194"/>
                    <a:gd name="T46" fmla="*/ 2147483647 w 300"/>
                    <a:gd name="T47" fmla="*/ 2147483647 h 1194"/>
                    <a:gd name="T48" fmla="*/ 2147483647 w 300"/>
                    <a:gd name="T49" fmla="*/ 2147483647 h 1194"/>
                    <a:gd name="T50" fmla="*/ 2147483647 w 300"/>
                    <a:gd name="T51" fmla="*/ 2147483647 h 1194"/>
                    <a:gd name="T52" fmla="*/ 2147483647 w 300"/>
                    <a:gd name="T53" fmla="*/ 2147483647 h 1194"/>
                    <a:gd name="T54" fmla="*/ 2147483647 w 300"/>
                    <a:gd name="T55" fmla="*/ 2147483647 h 1194"/>
                    <a:gd name="T56" fmla="*/ 2147483647 w 300"/>
                    <a:gd name="T57" fmla="*/ 2147483647 h 1194"/>
                    <a:gd name="T58" fmla="*/ 2147483647 w 300"/>
                    <a:gd name="T59" fmla="*/ 2147483647 h 1194"/>
                    <a:gd name="T60" fmla="*/ 2147483647 w 300"/>
                    <a:gd name="T61" fmla="*/ 2147483647 h 1194"/>
                    <a:gd name="T62" fmla="*/ 2147483647 w 300"/>
                    <a:gd name="T63" fmla="*/ 2147483647 h 1194"/>
                    <a:gd name="T64" fmla="*/ 2147483647 w 300"/>
                    <a:gd name="T65" fmla="*/ 2147483647 h 1194"/>
                    <a:gd name="T66" fmla="*/ 2147483647 w 300"/>
                    <a:gd name="T67" fmla="*/ 2147483647 h 1194"/>
                    <a:gd name="T68" fmla="*/ 2147483647 w 300"/>
                    <a:gd name="T69" fmla="*/ 2147483647 h 1194"/>
                    <a:gd name="T70" fmla="*/ 2147483647 w 300"/>
                    <a:gd name="T71" fmla="*/ 2147483647 h 1194"/>
                    <a:gd name="T72" fmla="*/ 2147483647 w 300"/>
                    <a:gd name="T73" fmla="*/ 2147483647 h 1194"/>
                    <a:gd name="T74" fmla="*/ 2147483647 w 300"/>
                    <a:gd name="T75" fmla="*/ 2147483647 h 1194"/>
                    <a:gd name="T76" fmla="*/ 2147483647 w 300"/>
                    <a:gd name="T77" fmla="*/ 2147483647 h 1194"/>
                    <a:gd name="T78" fmla="*/ 2147483647 w 300"/>
                    <a:gd name="T79" fmla="*/ 2147483647 h 1194"/>
                    <a:gd name="T80" fmla="*/ 2147483647 w 300"/>
                    <a:gd name="T81" fmla="*/ 2147483647 h 1194"/>
                    <a:gd name="T82" fmla="*/ 2147483647 w 300"/>
                    <a:gd name="T83" fmla="*/ 2147483647 h 1194"/>
                    <a:gd name="T84" fmla="*/ 2147483647 w 300"/>
                    <a:gd name="T85" fmla="*/ 2147483647 h 1194"/>
                    <a:gd name="T86" fmla="*/ 2147483647 w 300"/>
                    <a:gd name="T87" fmla="*/ 2147483647 h 1194"/>
                    <a:gd name="T88" fmla="*/ 2147483647 w 300"/>
                    <a:gd name="T89" fmla="*/ 2147483647 h 1194"/>
                    <a:gd name="T90" fmla="*/ 2147483647 w 300"/>
                    <a:gd name="T91" fmla="*/ 2147483647 h 1194"/>
                    <a:gd name="T92" fmla="*/ 2147483647 w 300"/>
                    <a:gd name="T93" fmla="*/ 2147483647 h 1194"/>
                    <a:gd name="T94" fmla="*/ 2147483647 w 300"/>
                    <a:gd name="T95" fmla="*/ 2147483647 h 1194"/>
                    <a:gd name="T96" fmla="*/ 2147483647 w 300"/>
                    <a:gd name="T97" fmla="*/ 2147483647 h 1194"/>
                    <a:gd name="T98" fmla="*/ 2147483647 w 300"/>
                    <a:gd name="T99" fmla="*/ 0 h 1194"/>
                    <a:gd name="T100" fmla="*/ 2147483647 w 300"/>
                    <a:gd name="T101" fmla="*/ 2147483647 h 119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00"/>
                    <a:gd name="T154" fmla="*/ 0 h 1194"/>
                    <a:gd name="T155" fmla="*/ 300 w 300"/>
                    <a:gd name="T156" fmla="*/ 1194 h 119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00" h="1194">
                      <a:moveTo>
                        <a:pt x="0" y="1194"/>
                      </a:moveTo>
                      <a:lnTo>
                        <a:pt x="12" y="1188"/>
                      </a:lnTo>
                      <a:lnTo>
                        <a:pt x="36" y="1146"/>
                      </a:lnTo>
                      <a:lnTo>
                        <a:pt x="18" y="1134"/>
                      </a:lnTo>
                      <a:lnTo>
                        <a:pt x="0" y="1194"/>
                      </a:lnTo>
                      <a:close/>
                      <a:moveTo>
                        <a:pt x="114" y="1068"/>
                      </a:moveTo>
                      <a:lnTo>
                        <a:pt x="72" y="1062"/>
                      </a:lnTo>
                      <a:lnTo>
                        <a:pt x="54" y="1134"/>
                      </a:lnTo>
                      <a:lnTo>
                        <a:pt x="66" y="1134"/>
                      </a:lnTo>
                      <a:lnTo>
                        <a:pt x="84" y="1104"/>
                      </a:lnTo>
                      <a:lnTo>
                        <a:pt x="132" y="1074"/>
                      </a:lnTo>
                      <a:lnTo>
                        <a:pt x="120" y="1050"/>
                      </a:lnTo>
                      <a:lnTo>
                        <a:pt x="114" y="1068"/>
                      </a:lnTo>
                      <a:close/>
                      <a:moveTo>
                        <a:pt x="192" y="1008"/>
                      </a:moveTo>
                      <a:lnTo>
                        <a:pt x="186" y="1008"/>
                      </a:lnTo>
                      <a:lnTo>
                        <a:pt x="180" y="1020"/>
                      </a:lnTo>
                      <a:lnTo>
                        <a:pt x="174" y="1026"/>
                      </a:lnTo>
                      <a:lnTo>
                        <a:pt x="168" y="1038"/>
                      </a:lnTo>
                      <a:lnTo>
                        <a:pt x="168" y="1044"/>
                      </a:lnTo>
                      <a:lnTo>
                        <a:pt x="174" y="1050"/>
                      </a:lnTo>
                      <a:lnTo>
                        <a:pt x="180" y="1050"/>
                      </a:lnTo>
                      <a:lnTo>
                        <a:pt x="198" y="1032"/>
                      </a:lnTo>
                      <a:lnTo>
                        <a:pt x="198" y="1014"/>
                      </a:lnTo>
                      <a:lnTo>
                        <a:pt x="192" y="1008"/>
                      </a:lnTo>
                      <a:close/>
                      <a:moveTo>
                        <a:pt x="282" y="636"/>
                      </a:moveTo>
                      <a:lnTo>
                        <a:pt x="264" y="654"/>
                      </a:lnTo>
                      <a:lnTo>
                        <a:pt x="276" y="678"/>
                      </a:lnTo>
                      <a:lnTo>
                        <a:pt x="258" y="678"/>
                      </a:lnTo>
                      <a:lnTo>
                        <a:pt x="258" y="702"/>
                      </a:lnTo>
                      <a:lnTo>
                        <a:pt x="282" y="702"/>
                      </a:lnTo>
                      <a:lnTo>
                        <a:pt x="294" y="684"/>
                      </a:lnTo>
                      <a:lnTo>
                        <a:pt x="282" y="654"/>
                      </a:lnTo>
                      <a:lnTo>
                        <a:pt x="300" y="654"/>
                      </a:lnTo>
                      <a:lnTo>
                        <a:pt x="282" y="636"/>
                      </a:lnTo>
                      <a:close/>
                      <a:moveTo>
                        <a:pt x="276" y="768"/>
                      </a:moveTo>
                      <a:lnTo>
                        <a:pt x="294" y="750"/>
                      </a:lnTo>
                      <a:lnTo>
                        <a:pt x="270" y="732"/>
                      </a:lnTo>
                      <a:lnTo>
                        <a:pt x="276" y="768"/>
                      </a:lnTo>
                      <a:close/>
                      <a:moveTo>
                        <a:pt x="258" y="954"/>
                      </a:moveTo>
                      <a:lnTo>
                        <a:pt x="258" y="924"/>
                      </a:lnTo>
                      <a:lnTo>
                        <a:pt x="240" y="948"/>
                      </a:lnTo>
                      <a:lnTo>
                        <a:pt x="258" y="954"/>
                      </a:lnTo>
                      <a:close/>
                      <a:moveTo>
                        <a:pt x="252" y="858"/>
                      </a:moveTo>
                      <a:lnTo>
                        <a:pt x="270" y="858"/>
                      </a:lnTo>
                      <a:lnTo>
                        <a:pt x="252" y="840"/>
                      </a:lnTo>
                      <a:lnTo>
                        <a:pt x="252" y="858"/>
                      </a:lnTo>
                      <a:close/>
                      <a:moveTo>
                        <a:pt x="126" y="24"/>
                      </a:moveTo>
                      <a:lnTo>
                        <a:pt x="144" y="60"/>
                      </a:lnTo>
                      <a:lnTo>
                        <a:pt x="174" y="24"/>
                      </a:lnTo>
                      <a:lnTo>
                        <a:pt x="162" y="0"/>
                      </a:lnTo>
                      <a:lnTo>
                        <a:pt x="126" y="24"/>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561" name="Russia"/>
                <p:cNvSpPr>
                  <a:spLocks noEditPoints="1"/>
                </p:cNvSpPr>
                <p:nvPr/>
              </p:nvSpPr>
              <p:spPr bwMode="gray">
                <a:xfrm>
                  <a:off x="2985" y="724"/>
                  <a:ext cx="2314" cy="737"/>
                </a:xfrm>
                <a:custGeom>
                  <a:avLst/>
                  <a:gdLst>
                    <a:gd name="T0" fmla="*/ 2147483647 w 9048"/>
                    <a:gd name="T1" fmla="*/ 2147483647 h 2880"/>
                    <a:gd name="T2" fmla="*/ 2147483647 w 9048"/>
                    <a:gd name="T3" fmla="*/ 2147483647 h 2880"/>
                    <a:gd name="T4" fmla="*/ 2147483647 w 9048"/>
                    <a:gd name="T5" fmla="*/ 2147483647 h 2880"/>
                    <a:gd name="T6" fmla="*/ 2147483647 w 9048"/>
                    <a:gd name="T7" fmla="*/ 2147483647 h 2880"/>
                    <a:gd name="T8" fmla="*/ 2147483647 w 9048"/>
                    <a:gd name="T9" fmla="*/ 2147483647 h 2880"/>
                    <a:gd name="T10" fmla="*/ 2147483647 w 9048"/>
                    <a:gd name="T11" fmla="*/ 2147483647 h 2880"/>
                    <a:gd name="T12" fmla="*/ 2147483647 w 9048"/>
                    <a:gd name="T13" fmla="*/ 2147483647 h 2880"/>
                    <a:gd name="T14" fmla="*/ 2147483647 w 9048"/>
                    <a:gd name="T15" fmla="*/ 2147483647 h 2880"/>
                    <a:gd name="T16" fmla="*/ 2147483647 w 9048"/>
                    <a:gd name="T17" fmla="*/ 2147483647 h 2880"/>
                    <a:gd name="T18" fmla="*/ 2147483647 w 9048"/>
                    <a:gd name="T19" fmla="*/ 2147483647 h 2880"/>
                    <a:gd name="T20" fmla="*/ 2147483647 w 9048"/>
                    <a:gd name="T21" fmla="*/ 2147483647 h 2880"/>
                    <a:gd name="T22" fmla="*/ 2147483647 w 9048"/>
                    <a:gd name="T23" fmla="*/ 2147483647 h 2880"/>
                    <a:gd name="T24" fmla="*/ 2147483647 w 9048"/>
                    <a:gd name="T25" fmla="*/ 2147483647 h 2880"/>
                    <a:gd name="T26" fmla="*/ 2147483647 w 9048"/>
                    <a:gd name="T27" fmla="*/ 2147483647 h 2880"/>
                    <a:gd name="T28" fmla="*/ 2147483647 w 9048"/>
                    <a:gd name="T29" fmla="*/ 2147483647 h 2880"/>
                    <a:gd name="T30" fmla="*/ 2147483647 w 9048"/>
                    <a:gd name="T31" fmla="*/ 2147483647 h 2880"/>
                    <a:gd name="T32" fmla="*/ 2147483647 w 9048"/>
                    <a:gd name="T33" fmla="*/ 2147483647 h 2880"/>
                    <a:gd name="T34" fmla="*/ 2147483647 w 9048"/>
                    <a:gd name="T35" fmla="*/ 2147483647 h 2880"/>
                    <a:gd name="T36" fmla="*/ 2147483647 w 9048"/>
                    <a:gd name="T37" fmla="*/ 2147483647 h 2880"/>
                    <a:gd name="T38" fmla="*/ 2147483647 w 9048"/>
                    <a:gd name="T39" fmla="*/ 2147483647 h 2880"/>
                    <a:gd name="T40" fmla="*/ 2147483647 w 9048"/>
                    <a:gd name="T41" fmla="*/ 2147483647 h 2880"/>
                    <a:gd name="T42" fmla="*/ 2147483647 w 9048"/>
                    <a:gd name="T43" fmla="*/ 2147483647 h 2880"/>
                    <a:gd name="T44" fmla="*/ 2147483647 w 9048"/>
                    <a:gd name="T45" fmla="*/ 2147483647 h 2880"/>
                    <a:gd name="T46" fmla="*/ 2147483647 w 9048"/>
                    <a:gd name="T47" fmla="*/ 2147483647 h 2880"/>
                    <a:gd name="T48" fmla="*/ 2147483647 w 9048"/>
                    <a:gd name="T49" fmla="*/ 2147483647 h 2880"/>
                    <a:gd name="T50" fmla="*/ 2147483647 w 9048"/>
                    <a:gd name="T51" fmla="*/ 2147483647 h 2880"/>
                    <a:gd name="T52" fmla="*/ 2147483647 w 9048"/>
                    <a:gd name="T53" fmla="*/ 2147483647 h 2880"/>
                    <a:gd name="T54" fmla="*/ 2147483647 w 9048"/>
                    <a:gd name="T55" fmla="*/ 2147483647 h 2880"/>
                    <a:gd name="T56" fmla="*/ 2147483647 w 9048"/>
                    <a:gd name="T57" fmla="*/ 2147483647 h 2880"/>
                    <a:gd name="T58" fmla="*/ 2147483647 w 9048"/>
                    <a:gd name="T59" fmla="*/ 2147483647 h 2880"/>
                    <a:gd name="T60" fmla="*/ 2147483647 w 9048"/>
                    <a:gd name="T61" fmla="*/ 2147483647 h 2880"/>
                    <a:gd name="T62" fmla="*/ 2147483647 w 9048"/>
                    <a:gd name="T63" fmla="*/ 2147483647 h 2880"/>
                    <a:gd name="T64" fmla="*/ 2147483647 w 9048"/>
                    <a:gd name="T65" fmla="*/ 2147483647 h 2880"/>
                    <a:gd name="T66" fmla="*/ 2147483647 w 9048"/>
                    <a:gd name="T67" fmla="*/ 2147483647 h 2880"/>
                    <a:gd name="T68" fmla="*/ 2147483647 w 9048"/>
                    <a:gd name="T69" fmla="*/ 2147483647 h 2880"/>
                    <a:gd name="T70" fmla="*/ 2147483647 w 9048"/>
                    <a:gd name="T71" fmla="*/ 2147483647 h 2880"/>
                    <a:gd name="T72" fmla="*/ 2147483647 w 9048"/>
                    <a:gd name="T73" fmla="*/ 2147483647 h 2880"/>
                    <a:gd name="T74" fmla="*/ 2147483647 w 9048"/>
                    <a:gd name="T75" fmla="*/ 2147483647 h 2880"/>
                    <a:gd name="T76" fmla="*/ 2147483647 w 9048"/>
                    <a:gd name="T77" fmla="*/ 2147483647 h 2880"/>
                    <a:gd name="T78" fmla="*/ 2147483647 w 9048"/>
                    <a:gd name="T79" fmla="*/ 2147483647 h 2880"/>
                    <a:gd name="T80" fmla="*/ 2147483647 w 9048"/>
                    <a:gd name="T81" fmla="*/ 2147483647 h 2880"/>
                    <a:gd name="T82" fmla="*/ 2147483647 w 9048"/>
                    <a:gd name="T83" fmla="*/ 2147483647 h 2880"/>
                    <a:gd name="T84" fmla="*/ 2147483647 w 9048"/>
                    <a:gd name="T85" fmla="*/ 2147483647 h 2880"/>
                    <a:gd name="T86" fmla="*/ 2147483647 w 9048"/>
                    <a:gd name="T87" fmla="*/ 2147483647 h 2880"/>
                    <a:gd name="T88" fmla="*/ 2147483647 w 9048"/>
                    <a:gd name="T89" fmla="*/ 2147483647 h 2880"/>
                    <a:gd name="T90" fmla="*/ 2147483647 w 9048"/>
                    <a:gd name="T91" fmla="*/ 2147483647 h 2880"/>
                    <a:gd name="T92" fmla="*/ 2147483647 w 9048"/>
                    <a:gd name="T93" fmla="*/ 2147483647 h 2880"/>
                    <a:gd name="T94" fmla="*/ 2147483647 w 9048"/>
                    <a:gd name="T95" fmla="*/ 2147483647 h 2880"/>
                    <a:gd name="T96" fmla="*/ 2147483647 w 9048"/>
                    <a:gd name="T97" fmla="*/ 2147483647 h 2880"/>
                    <a:gd name="T98" fmla="*/ 2147483647 w 9048"/>
                    <a:gd name="T99" fmla="*/ 2147483647 h 2880"/>
                    <a:gd name="T100" fmla="*/ 2147483647 w 9048"/>
                    <a:gd name="T101" fmla="*/ 2147483647 h 2880"/>
                    <a:gd name="T102" fmla="*/ 2147483647 w 9048"/>
                    <a:gd name="T103" fmla="*/ 2147483647 h 2880"/>
                    <a:gd name="T104" fmla="*/ 2147483647 w 9048"/>
                    <a:gd name="T105" fmla="*/ 2147483647 h 2880"/>
                    <a:gd name="T106" fmla="*/ 2147483647 w 9048"/>
                    <a:gd name="T107" fmla="*/ 2147483647 h 2880"/>
                    <a:gd name="T108" fmla="*/ 2147483647 w 9048"/>
                    <a:gd name="T109" fmla="*/ 2147483647 h 2880"/>
                    <a:gd name="T110" fmla="*/ 2147483647 w 9048"/>
                    <a:gd name="T111" fmla="*/ 2147483647 h 2880"/>
                    <a:gd name="T112" fmla="*/ 2147483647 w 9048"/>
                    <a:gd name="T113" fmla="*/ 2147483647 h 2880"/>
                    <a:gd name="T114" fmla="*/ 2147483647 w 9048"/>
                    <a:gd name="T115" fmla="*/ 2147483647 h 2880"/>
                    <a:gd name="T116" fmla="*/ 2147483647 w 9048"/>
                    <a:gd name="T117" fmla="*/ 2147483647 h 2880"/>
                    <a:gd name="T118" fmla="*/ 2147483647 w 9048"/>
                    <a:gd name="T119" fmla="*/ 2147483647 h 2880"/>
                    <a:gd name="T120" fmla="*/ 2147483647 w 9048"/>
                    <a:gd name="T121" fmla="*/ 2147483647 h 2880"/>
                    <a:gd name="T122" fmla="*/ 2147483647 w 9048"/>
                    <a:gd name="T123" fmla="*/ 2147483647 h 2880"/>
                    <a:gd name="T124" fmla="*/ 2147483647 w 9048"/>
                    <a:gd name="T125" fmla="*/ 2147483647 h 288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9048"/>
                    <a:gd name="T190" fmla="*/ 0 h 2880"/>
                    <a:gd name="T191" fmla="*/ 9048 w 9048"/>
                    <a:gd name="T192" fmla="*/ 2880 h 2880"/>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9048" h="2880">
                      <a:moveTo>
                        <a:pt x="2790" y="546"/>
                      </a:moveTo>
                      <a:lnTo>
                        <a:pt x="2760" y="540"/>
                      </a:lnTo>
                      <a:lnTo>
                        <a:pt x="2736" y="558"/>
                      </a:lnTo>
                      <a:lnTo>
                        <a:pt x="2778" y="570"/>
                      </a:lnTo>
                      <a:lnTo>
                        <a:pt x="2790" y="546"/>
                      </a:lnTo>
                      <a:close/>
                      <a:moveTo>
                        <a:pt x="2832" y="522"/>
                      </a:moveTo>
                      <a:lnTo>
                        <a:pt x="2820" y="516"/>
                      </a:lnTo>
                      <a:lnTo>
                        <a:pt x="2814" y="510"/>
                      </a:lnTo>
                      <a:lnTo>
                        <a:pt x="2808" y="510"/>
                      </a:lnTo>
                      <a:lnTo>
                        <a:pt x="2808" y="528"/>
                      </a:lnTo>
                      <a:lnTo>
                        <a:pt x="2820" y="534"/>
                      </a:lnTo>
                      <a:lnTo>
                        <a:pt x="2832" y="534"/>
                      </a:lnTo>
                      <a:lnTo>
                        <a:pt x="2844" y="540"/>
                      </a:lnTo>
                      <a:lnTo>
                        <a:pt x="2850" y="540"/>
                      </a:lnTo>
                      <a:lnTo>
                        <a:pt x="2850" y="534"/>
                      </a:lnTo>
                      <a:lnTo>
                        <a:pt x="2844" y="528"/>
                      </a:lnTo>
                      <a:lnTo>
                        <a:pt x="2832" y="522"/>
                      </a:lnTo>
                      <a:close/>
                      <a:moveTo>
                        <a:pt x="1704" y="18"/>
                      </a:moveTo>
                      <a:lnTo>
                        <a:pt x="1710" y="18"/>
                      </a:lnTo>
                      <a:lnTo>
                        <a:pt x="1716" y="12"/>
                      </a:lnTo>
                      <a:lnTo>
                        <a:pt x="1728" y="6"/>
                      </a:lnTo>
                      <a:lnTo>
                        <a:pt x="1734" y="0"/>
                      </a:lnTo>
                      <a:lnTo>
                        <a:pt x="1644" y="0"/>
                      </a:lnTo>
                      <a:lnTo>
                        <a:pt x="1638" y="12"/>
                      </a:lnTo>
                      <a:lnTo>
                        <a:pt x="1680" y="12"/>
                      </a:lnTo>
                      <a:lnTo>
                        <a:pt x="1686" y="18"/>
                      </a:lnTo>
                      <a:lnTo>
                        <a:pt x="1704" y="18"/>
                      </a:lnTo>
                      <a:close/>
                      <a:moveTo>
                        <a:pt x="1740" y="60"/>
                      </a:moveTo>
                      <a:lnTo>
                        <a:pt x="1746" y="60"/>
                      </a:lnTo>
                      <a:lnTo>
                        <a:pt x="1758" y="48"/>
                      </a:lnTo>
                      <a:lnTo>
                        <a:pt x="1764" y="48"/>
                      </a:lnTo>
                      <a:lnTo>
                        <a:pt x="1770" y="54"/>
                      </a:lnTo>
                      <a:lnTo>
                        <a:pt x="1782" y="54"/>
                      </a:lnTo>
                      <a:lnTo>
                        <a:pt x="1788" y="60"/>
                      </a:lnTo>
                      <a:lnTo>
                        <a:pt x="1800" y="60"/>
                      </a:lnTo>
                      <a:lnTo>
                        <a:pt x="1812" y="48"/>
                      </a:lnTo>
                      <a:lnTo>
                        <a:pt x="1812" y="36"/>
                      </a:lnTo>
                      <a:lnTo>
                        <a:pt x="1806" y="30"/>
                      </a:lnTo>
                      <a:lnTo>
                        <a:pt x="1794" y="24"/>
                      </a:lnTo>
                      <a:lnTo>
                        <a:pt x="1758" y="24"/>
                      </a:lnTo>
                      <a:lnTo>
                        <a:pt x="1710" y="48"/>
                      </a:lnTo>
                      <a:lnTo>
                        <a:pt x="1716" y="54"/>
                      </a:lnTo>
                      <a:lnTo>
                        <a:pt x="1728" y="60"/>
                      </a:lnTo>
                      <a:lnTo>
                        <a:pt x="1740" y="60"/>
                      </a:lnTo>
                      <a:close/>
                      <a:moveTo>
                        <a:pt x="2382" y="510"/>
                      </a:moveTo>
                      <a:lnTo>
                        <a:pt x="2400" y="504"/>
                      </a:lnTo>
                      <a:lnTo>
                        <a:pt x="2412" y="498"/>
                      </a:lnTo>
                      <a:lnTo>
                        <a:pt x="2412" y="486"/>
                      </a:lnTo>
                      <a:lnTo>
                        <a:pt x="2406" y="486"/>
                      </a:lnTo>
                      <a:lnTo>
                        <a:pt x="2400" y="480"/>
                      </a:lnTo>
                      <a:lnTo>
                        <a:pt x="2346" y="480"/>
                      </a:lnTo>
                      <a:lnTo>
                        <a:pt x="2346" y="492"/>
                      </a:lnTo>
                      <a:lnTo>
                        <a:pt x="2358" y="504"/>
                      </a:lnTo>
                      <a:lnTo>
                        <a:pt x="2370" y="510"/>
                      </a:lnTo>
                      <a:lnTo>
                        <a:pt x="2382" y="510"/>
                      </a:lnTo>
                      <a:close/>
                      <a:moveTo>
                        <a:pt x="1590" y="30"/>
                      </a:moveTo>
                      <a:lnTo>
                        <a:pt x="1548" y="24"/>
                      </a:lnTo>
                      <a:lnTo>
                        <a:pt x="1554" y="36"/>
                      </a:lnTo>
                      <a:lnTo>
                        <a:pt x="1590" y="30"/>
                      </a:lnTo>
                      <a:close/>
                      <a:moveTo>
                        <a:pt x="1890" y="696"/>
                      </a:moveTo>
                      <a:lnTo>
                        <a:pt x="1896" y="708"/>
                      </a:lnTo>
                      <a:lnTo>
                        <a:pt x="1920" y="720"/>
                      </a:lnTo>
                      <a:lnTo>
                        <a:pt x="1950" y="738"/>
                      </a:lnTo>
                      <a:lnTo>
                        <a:pt x="1974" y="744"/>
                      </a:lnTo>
                      <a:lnTo>
                        <a:pt x="1992" y="738"/>
                      </a:lnTo>
                      <a:lnTo>
                        <a:pt x="1980" y="720"/>
                      </a:lnTo>
                      <a:lnTo>
                        <a:pt x="1950" y="702"/>
                      </a:lnTo>
                      <a:lnTo>
                        <a:pt x="1914" y="696"/>
                      </a:lnTo>
                      <a:lnTo>
                        <a:pt x="1890" y="696"/>
                      </a:lnTo>
                      <a:close/>
                      <a:moveTo>
                        <a:pt x="3108" y="126"/>
                      </a:moveTo>
                      <a:lnTo>
                        <a:pt x="3120" y="108"/>
                      </a:lnTo>
                      <a:lnTo>
                        <a:pt x="3030" y="108"/>
                      </a:lnTo>
                      <a:lnTo>
                        <a:pt x="3108" y="126"/>
                      </a:lnTo>
                      <a:close/>
                      <a:moveTo>
                        <a:pt x="1560" y="102"/>
                      </a:moveTo>
                      <a:lnTo>
                        <a:pt x="1632" y="102"/>
                      </a:lnTo>
                      <a:lnTo>
                        <a:pt x="1608" y="84"/>
                      </a:lnTo>
                      <a:lnTo>
                        <a:pt x="1560" y="102"/>
                      </a:lnTo>
                      <a:close/>
                      <a:moveTo>
                        <a:pt x="1572" y="60"/>
                      </a:moveTo>
                      <a:lnTo>
                        <a:pt x="1584" y="66"/>
                      </a:lnTo>
                      <a:lnTo>
                        <a:pt x="1596" y="78"/>
                      </a:lnTo>
                      <a:lnTo>
                        <a:pt x="1620" y="66"/>
                      </a:lnTo>
                      <a:lnTo>
                        <a:pt x="1620" y="72"/>
                      </a:lnTo>
                      <a:lnTo>
                        <a:pt x="1644" y="72"/>
                      </a:lnTo>
                      <a:lnTo>
                        <a:pt x="1668" y="60"/>
                      </a:lnTo>
                      <a:lnTo>
                        <a:pt x="1674" y="54"/>
                      </a:lnTo>
                      <a:lnTo>
                        <a:pt x="1680" y="54"/>
                      </a:lnTo>
                      <a:lnTo>
                        <a:pt x="1626" y="48"/>
                      </a:lnTo>
                      <a:lnTo>
                        <a:pt x="1614" y="54"/>
                      </a:lnTo>
                      <a:lnTo>
                        <a:pt x="1608" y="54"/>
                      </a:lnTo>
                      <a:lnTo>
                        <a:pt x="1602" y="48"/>
                      </a:lnTo>
                      <a:lnTo>
                        <a:pt x="1584" y="48"/>
                      </a:lnTo>
                      <a:lnTo>
                        <a:pt x="1572" y="60"/>
                      </a:lnTo>
                      <a:close/>
                      <a:moveTo>
                        <a:pt x="1662" y="36"/>
                      </a:moveTo>
                      <a:lnTo>
                        <a:pt x="1602" y="36"/>
                      </a:lnTo>
                      <a:lnTo>
                        <a:pt x="1650" y="48"/>
                      </a:lnTo>
                      <a:lnTo>
                        <a:pt x="1662" y="36"/>
                      </a:lnTo>
                      <a:close/>
                      <a:moveTo>
                        <a:pt x="1542" y="522"/>
                      </a:moveTo>
                      <a:lnTo>
                        <a:pt x="1500" y="528"/>
                      </a:lnTo>
                      <a:lnTo>
                        <a:pt x="1512" y="552"/>
                      </a:lnTo>
                      <a:lnTo>
                        <a:pt x="1542" y="534"/>
                      </a:lnTo>
                      <a:lnTo>
                        <a:pt x="1524" y="558"/>
                      </a:lnTo>
                      <a:lnTo>
                        <a:pt x="1518" y="558"/>
                      </a:lnTo>
                      <a:lnTo>
                        <a:pt x="1512" y="564"/>
                      </a:lnTo>
                      <a:lnTo>
                        <a:pt x="1506" y="564"/>
                      </a:lnTo>
                      <a:lnTo>
                        <a:pt x="1494" y="570"/>
                      </a:lnTo>
                      <a:lnTo>
                        <a:pt x="1488" y="576"/>
                      </a:lnTo>
                      <a:lnTo>
                        <a:pt x="1488" y="582"/>
                      </a:lnTo>
                      <a:lnTo>
                        <a:pt x="1500" y="594"/>
                      </a:lnTo>
                      <a:lnTo>
                        <a:pt x="1524" y="606"/>
                      </a:lnTo>
                      <a:lnTo>
                        <a:pt x="1566" y="606"/>
                      </a:lnTo>
                      <a:lnTo>
                        <a:pt x="1590" y="612"/>
                      </a:lnTo>
                      <a:lnTo>
                        <a:pt x="1608" y="618"/>
                      </a:lnTo>
                      <a:lnTo>
                        <a:pt x="1614" y="624"/>
                      </a:lnTo>
                      <a:lnTo>
                        <a:pt x="1620" y="636"/>
                      </a:lnTo>
                      <a:lnTo>
                        <a:pt x="1620" y="648"/>
                      </a:lnTo>
                      <a:lnTo>
                        <a:pt x="1626" y="654"/>
                      </a:lnTo>
                      <a:lnTo>
                        <a:pt x="1626" y="660"/>
                      </a:lnTo>
                      <a:lnTo>
                        <a:pt x="1644" y="660"/>
                      </a:lnTo>
                      <a:lnTo>
                        <a:pt x="1662" y="666"/>
                      </a:lnTo>
                      <a:lnTo>
                        <a:pt x="1674" y="666"/>
                      </a:lnTo>
                      <a:lnTo>
                        <a:pt x="1692" y="672"/>
                      </a:lnTo>
                      <a:lnTo>
                        <a:pt x="1704" y="672"/>
                      </a:lnTo>
                      <a:lnTo>
                        <a:pt x="1818" y="666"/>
                      </a:lnTo>
                      <a:lnTo>
                        <a:pt x="1806" y="666"/>
                      </a:lnTo>
                      <a:lnTo>
                        <a:pt x="1734" y="642"/>
                      </a:lnTo>
                      <a:lnTo>
                        <a:pt x="1704" y="618"/>
                      </a:lnTo>
                      <a:lnTo>
                        <a:pt x="1692" y="600"/>
                      </a:lnTo>
                      <a:lnTo>
                        <a:pt x="1686" y="588"/>
                      </a:lnTo>
                      <a:lnTo>
                        <a:pt x="1674" y="582"/>
                      </a:lnTo>
                      <a:lnTo>
                        <a:pt x="1674" y="570"/>
                      </a:lnTo>
                      <a:lnTo>
                        <a:pt x="1668" y="564"/>
                      </a:lnTo>
                      <a:lnTo>
                        <a:pt x="1692" y="516"/>
                      </a:lnTo>
                      <a:lnTo>
                        <a:pt x="1686" y="510"/>
                      </a:lnTo>
                      <a:lnTo>
                        <a:pt x="1686" y="504"/>
                      </a:lnTo>
                      <a:lnTo>
                        <a:pt x="1674" y="504"/>
                      </a:lnTo>
                      <a:lnTo>
                        <a:pt x="1710" y="498"/>
                      </a:lnTo>
                      <a:lnTo>
                        <a:pt x="1698" y="480"/>
                      </a:lnTo>
                      <a:lnTo>
                        <a:pt x="1734" y="480"/>
                      </a:lnTo>
                      <a:lnTo>
                        <a:pt x="1710" y="468"/>
                      </a:lnTo>
                      <a:lnTo>
                        <a:pt x="1734" y="474"/>
                      </a:lnTo>
                      <a:lnTo>
                        <a:pt x="1740" y="462"/>
                      </a:lnTo>
                      <a:lnTo>
                        <a:pt x="1722" y="450"/>
                      </a:lnTo>
                      <a:lnTo>
                        <a:pt x="1764" y="450"/>
                      </a:lnTo>
                      <a:lnTo>
                        <a:pt x="1770" y="444"/>
                      </a:lnTo>
                      <a:lnTo>
                        <a:pt x="1752" y="426"/>
                      </a:lnTo>
                      <a:lnTo>
                        <a:pt x="1782" y="432"/>
                      </a:lnTo>
                      <a:lnTo>
                        <a:pt x="1782" y="402"/>
                      </a:lnTo>
                      <a:lnTo>
                        <a:pt x="1788" y="408"/>
                      </a:lnTo>
                      <a:lnTo>
                        <a:pt x="1800" y="414"/>
                      </a:lnTo>
                      <a:lnTo>
                        <a:pt x="1812" y="414"/>
                      </a:lnTo>
                      <a:lnTo>
                        <a:pt x="1830" y="408"/>
                      </a:lnTo>
                      <a:lnTo>
                        <a:pt x="1842" y="402"/>
                      </a:lnTo>
                      <a:lnTo>
                        <a:pt x="1860" y="390"/>
                      </a:lnTo>
                      <a:lnTo>
                        <a:pt x="1878" y="372"/>
                      </a:lnTo>
                      <a:lnTo>
                        <a:pt x="1896" y="372"/>
                      </a:lnTo>
                      <a:lnTo>
                        <a:pt x="1938" y="366"/>
                      </a:lnTo>
                      <a:lnTo>
                        <a:pt x="1992" y="354"/>
                      </a:lnTo>
                      <a:lnTo>
                        <a:pt x="2046" y="348"/>
                      </a:lnTo>
                      <a:lnTo>
                        <a:pt x="2094" y="336"/>
                      </a:lnTo>
                      <a:lnTo>
                        <a:pt x="2124" y="330"/>
                      </a:lnTo>
                      <a:lnTo>
                        <a:pt x="2136" y="324"/>
                      </a:lnTo>
                      <a:lnTo>
                        <a:pt x="2154" y="318"/>
                      </a:lnTo>
                      <a:lnTo>
                        <a:pt x="2160" y="312"/>
                      </a:lnTo>
                      <a:lnTo>
                        <a:pt x="2166" y="300"/>
                      </a:lnTo>
                      <a:lnTo>
                        <a:pt x="2166" y="294"/>
                      </a:lnTo>
                      <a:lnTo>
                        <a:pt x="2154" y="282"/>
                      </a:lnTo>
                      <a:lnTo>
                        <a:pt x="2136" y="276"/>
                      </a:lnTo>
                      <a:lnTo>
                        <a:pt x="2088" y="270"/>
                      </a:lnTo>
                      <a:lnTo>
                        <a:pt x="2046" y="276"/>
                      </a:lnTo>
                      <a:lnTo>
                        <a:pt x="2016" y="288"/>
                      </a:lnTo>
                      <a:lnTo>
                        <a:pt x="1980" y="300"/>
                      </a:lnTo>
                      <a:lnTo>
                        <a:pt x="1938" y="318"/>
                      </a:lnTo>
                      <a:lnTo>
                        <a:pt x="1860" y="318"/>
                      </a:lnTo>
                      <a:lnTo>
                        <a:pt x="1842" y="312"/>
                      </a:lnTo>
                      <a:lnTo>
                        <a:pt x="1824" y="312"/>
                      </a:lnTo>
                      <a:lnTo>
                        <a:pt x="1806" y="336"/>
                      </a:lnTo>
                      <a:lnTo>
                        <a:pt x="1782" y="318"/>
                      </a:lnTo>
                      <a:lnTo>
                        <a:pt x="1728" y="342"/>
                      </a:lnTo>
                      <a:lnTo>
                        <a:pt x="1698" y="342"/>
                      </a:lnTo>
                      <a:lnTo>
                        <a:pt x="1668" y="366"/>
                      </a:lnTo>
                      <a:lnTo>
                        <a:pt x="1692" y="372"/>
                      </a:lnTo>
                      <a:lnTo>
                        <a:pt x="1644" y="372"/>
                      </a:lnTo>
                      <a:lnTo>
                        <a:pt x="1614" y="378"/>
                      </a:lnTo>
                      <a:lnTo>
                        <a:pt x="1614" y="396"/>
                      </a:lnTo>
                      <a:lnTo>
                        <a:pt x="1638" y="378"/>
                      </a:lnTo>
                      <a:lnTo>
                        <a:pt x="1644" y="396"/>
                      </a:lnTo>
                      <a:lnTo>
                        <a:pt x="1668" y="396"/>
                      </a:lnTo>
                      <a:lnTo>
                        <a:pt x="1662" y="408"/>
                      </a:lnTo>
                      <a:lnTo>
                        <a:pt x="1620" y="408"/>
                      </a:lnTo>
                      <a:lnTo>
                        <a:pt x="1614" y="420"/>
                      </a:lnTo>
                      <a:lnTo>
                        <a:pt x="1644" y="426"/>
                      </a:lnTo>
                      <a:lnTo>
                        <a:pt x="1596" y="432"/>
                      </a:lnTo>
                      <a:lnTo>
                        <a:pt x="1632" y="438"/>
                      </a:lnTo>
                      <a:lnTo>
                        <a:pt x="1584" y="444"/>
                      </a:lnTo>
                      <a:lnTo>
                        <a:pt x="1584" y="462"/>
                      </a:lnTo>
                      <a:lnTo>
                        <a:pt x="1554" y="474"/>
                      </a:lnTo>
                      <a:lnTo>
                        <a:pt x="1560" y="486"/>
                      </a:lnTo>
                      <a:lnTo>
                        <a:pt x="1602" y="468"/>
                      </a:lnTo>
                      <a:lnTo>
                        <a:pt x="1590" y="498"/>
                      </a:lnTo>
                      <a:lnTo>
                        <a:pt x="1554" y="498"/>
                      </a:lnTo>
                      <a:lnTo>
                        <a:pt x="1542" y="504"/>
                      </a:lnTo>
                      <a:lnTo>
                        <a:pt x="1542" y="522"/>
                      </a:lnTo>
                      <a:close/>
                      <a:moveTo>
                        <a:pt x="5778" y="498"/>
                      </a:moveTo>
                      <a:lnTo>
                        <a:pt x="5850" y="486"/>
                      </a:lnTo>
                      <a:lnTo>
                        <a:pt x="5958" y="504"/>
                      </a:lnTo>
                      <a:lnTo>
                        <a:pt x="5952" y="492"/>
                      </a:lnTo>
                      <a:lnTo>
                        <a:pt x="5940" y="486"/>
                      </a:lnTo>
                      <a:lnTo>
                        <a:pt x="5928" y="474"/>
                      </a:lnTo>
                      <a:lnTo>
                        <a:pt x="5904" y="462"/>
                      </a:lnTo>
                      <a:lnTo>
                        <a:pt x="5844" y="462"/>
                      </a:lnTo>
                      <a:lnTo>
                        <a:pt x="5808" y="468"/>
                      </a:lnTo>
                      <a:lnTo>
                        <a:pt x="5796" y="468"/>
                      </a:lnTo>
                      <a:lnTo>
                        <a:pt x="5778" y="498"/>
                      </a:lnTo>
                      <a:close/>
                      <a:moveTo>
                        <a:pt x="5784" y="378"/>
                      </a:moveTo>
                      <a:lnTo>
                        <a:pt x="5838" y="384"/>
                      </a:lnTo>
                      <a:lnTo>
                        <a:pt x="5844" y="378"/>
                      </a:lnTo>
                      <a:lnTo>
                        <a:pt x="5850" y="366"/>
                      </a:lnTo>
                      <a:lnTo>
                        <a:pt x="5838" y="354"/>
                      </a:lnTo>
                      <a:lnTo>
                        <a:pt x="5802" y="354"/>
                      </a:lnTo>
                      <a:lnTo>
                        <a:pt x="5742" y="342"/>
                      </a:lnTo>
                      <a:lnTo>
                        <a:pt x="5724" y="342"/>
                      </a:lnTo>
                      <a:lnTo>
                        <a:pt x="5718" y="348"/>
                      </a:lnTo>
                      <a:lnTo>
                        <a:pt x="5730" y="354"/>
                      </a:lnTo>
                      <a:lnTo>
                        <a:pt x="5742" y="366"/>
                      </a:lnTo>
                      <a:lnTo>
                        <a:pt x="5754" y="372"/>
                      </a:lnTo>
                      <a:lnTo>
                        <a:pt x="5772" y="372"/>
                      </a:lnTo>
                      <a:lnTo>
                        <a:pt x="5778" y="378"/>
                      </a:lnTo>
                      <a:lnTo>
                        <a:pt x="5784" y="378"/>
                      </a:lnTo>
                      <a:close/>
                      <a:moveTo>
                        <a:pt x="5724" y="432"/>
                      </a:moveTo>
                      <a:lnTo>
                        <a:pt x="5712" y="444"/>
                      </a:lnTo>
                      <a:lnTo>
                        <a:pt x="5712" y="456"/>
                      </a:lnTo>
                      <a:lnTo>
                        <a:pt x="5724" y="462"/>
                      </a:lnTo>
                      <a:lnTo>
                        <a:pt x="5772" y="462"/>
                      </a:lnTo>
                      <a:lnTo>
                        <a:pt x="5778" y="456"/>
                      </a:lnTo>
                      <a:lnTo>
                        <a:pt x="5778" y="450"/>
                      </a:lnTo>
                      <a:lnTo>
                        <a:pt x="5766" y="438"/>
                      </a:lnTo>
                      <a:lnTo>
                        <a:pt x="5742" y="426"/>
                      </a:lnTo>
                      <a:lnTo>
                        <a:pt x="5730" y="426"/>
                      </a:lnTo>
                      <a:lnTo>
                        <a:pt x="5724" y="432"/>
                      </a:lnTo>
                      <a:close/>
                      <a:moveTo>
                        <a:pt x="3072" y="96"/>
                      </a:moveTo>
                      <a:lnTo>
                        <a:pt x="3192" y="96"/>
                      </a:lnTo>
                      <a:lnTo>
                        <a:pt x="3204" y="90"/>
                      </a:lnTo>
                      <a:lnTo>
                        <a:pt x="3228" y="90"/>
                      </a:lnTo>
                      <a:lnTo>
                        <a:pt x="3240" y="84"/>
                      </a:lnTo>
                      <a:lnTo>
                        <a:pt x="3240" y="72"/>
                      </a:lnTo>
                      <a:lnTo>
                        <a:pt x="3222" y="60"/>
                      </a:lnTo>
                      <a:lnTo>
                        <a:pt x="3192" y="42"/>
                      </a:lnTo>
                      <a:lnTo>
                        <a:pt x="3156" y="30"/>
                      </a:lnTo>
                      <a:lnTo>
                        <a:pt x="3132" y="24"/>
                      </a:lnTo>
                      <a:lnTo>
                        <a:pt x="3120" y="18"/>
                      </a:lnTo>
                      <a:lnTo>
                        <a:pt x="3108" y="18"/>
                      </a:lnTo>
                      <a:lnTo>
                        <a:pt x="3096" y="12"/>
                      </a:lnTo>
                      <a:lnTo>
                        <a:pt x="3060" y="12"/>
                      </a:lnTo>
                      <a:lnTo>
                        <a:pt x="3048" y="18"/>
                      </a:lnTo>
                      <a:lnTo>
                        <a:pt x="3036" y="18"/>
                      </a:lnTo>
                      <a:lnTo>
                        <a:pt x="3030" y="30"/>
                      </a:lnTo>
                      <a:lnTo>
                        <a:pt x="3030" y="42"/>
                      </a:lnTo>
                      <a:lnTo>
                        <a:pt x="3036" y="54"/>
                      </a:lnTo>
                      <a:lnTo>
                        <a:pt x="3048" y="66"/>
                      </a:lnTo>
                      <a:lnTo>
                        <a:pt x="3054" y="78"/>
                      </a:lnTo>
                      <a:lnTo>
                        <a:pt x="3072" y="96"/>
                      </a:lnTo>
                      <a:close/>
                      <a:moveTo>
                        <a:pt x="6138" y="408"/>
                      </a:moveTo>
                      <a:lnTo>
                        <a:pt x="6144" y="402"/>
                      </a:lnTo>
                      <a:lnTo>
                        <a:pt x="6132" y="396"/>
                      </a:lnTo>
                      <a:lnTo>
                        <a:pt x="6102" y="390"/>
                      </a:lnTo>
                      <a:lnTo>
                        <a:pt x="6036" y="390"/>
                      </a:lnTo>
                      <a:lnTo>
                        <a:pt x="6012" y="366"/>
                      </a:lnTo>
                      <a:lnTo>
                        <a:pt x="6000" y="360"/>
                      </a:lnTo>
                      <a:lnTo>
                        <a:pt x="5970" y="360"/>
                      </a:lnTo>
                      <a:lnTo>
                        <a:pt x="5958" y="366"/>
                      </a:lnTo>
                      <a:lnTo>
                        <a:pt x="5910" y="366"/>
                      </a:lnTo>
                      <a:lnTo>
                        <a:pt x="5946" y="390"/>
                      </a:lnTo>
                      <a:lnTo>
                        <a:pt x="5964" y="396"/>
                      </a:lnTo>
                      <a:lnTo>
                        <a:pt x="6000" y="402"/>
                      </a:lnTo>
                      <a:lnTo>
                        <a:pt x="6054" y="414"/>
                      </a:lnTo>
                      <a:lnTo>
                        <a:pt x="6102" y="414"/>
                      </a:lnTo>
                      <a:lnTo>
                        <a:pt x="6138" y="408"/>
                      </a:lnTo>
                      <a:close/>
                      <a:moveTo>
                        <a:pt x="7602" y="744"/>
                      </a:moveTo>
                      <a:lnTo>
                        <a:pt x="7596" y="732"/>
                      </a:lnTo>
                      <a:lnTo>
                        <a:pt x="7572" y="726"/>
                      </a:lnTo>
                      <a:lnTo>
                        <a:pt x="7512" y="714"/>
                      </a:lnTo>
                      <a:lnTo>
                        <a:pt x="7500" y="714"/>
                      </a:lnTo>
                      <a:lnTo>
                        <a:pt x="7512" y="726"/>
                      </a:lnTo>
                      <a:lnTo>
                        <a:pt x="7548" y="738"/>
                      </a:lnTo>
                      <a:lnTo>
                        <a:pt x="7584" y="744"/>
                      </a:lnTo>
                      <a:lnTo>
                        <a:pt x="7602" y="744"/>
                      </a:lnTo>
                      <a:close/>
                      <a:moveTo>
                        <a:pt x="3162" y="120"/>
                      </a:moveTo>
                      <a:lnTo>
                        <a:pt x="3216" y="138"/>
                      </a:lnTo>
                      <a:lnTo>
                        <a:pt x="3246" y="144"/>
                      </a:lnTo>
                      <a:lnTo>
                        <a:pt x="3264" y="144"/>
                      </a:lnTo>
                      <a:lnTo>
                        <a:pt x="3312" y="138"/>
                      </a:lnTo>
                      <a:lnTo>
                        <a:pt x="3372" y="156"/>
                      </a:lnTo>
                      <a:lnTo>
                        <a:pt x="3432" y="156"/>
                      </a:lnTo>
                      <a:lnTo>
                        <a:pt x="3426" y="138"/>
                      </a:lnTo>
                      <a:lnTo>
                        <a:pt x="3402" y="102"/>
                      </a:lnTo>
                      <a:lnTo>
                        <a:pt x="3384" y="96"/>
                      </a:lnTo>
                      <a:lnTo>
                        <a:pt x="3372" y="90"/>
                      </a:lnTo>
                      <a:lnTo>
                        <a:pt x="3354" y="96"/>
                      </a:lnTo>
                      <a:lnTo>
                        <a:pt x="3318" y="114"/>
                      </a:lnTo>
                      <a:lnTo>
                        <a:pt x="3294" y="90"/>
                      </a:lnTo>
                      <a:lnTo>
                        <a:pt x="3282" y="90"/>
                      </a:lnTo>
                      <a:lnTo>
                        <a:pt x="3210" y="102"/>
                      </a:lnTo>
                      <a:lnTo>
                        <a:pt x="3174" y="114"/>
                      </a:lnTo>
                      <a:lnTo>
                        <a:pt x="3162" y="120"/>
                      </a:lnTo>
                      <a:close/>
                      <a:moveTo>
                        <a:pt x="3582" y="198"/>
                      </a:moveTo>
                      <a:lnTo>
                        <a:pt x="3744" y="192"/>
                      </a:lnTo>
                      <a:lnTo>
                        <a:pt x="3702" y="168"/>
                      </a:lnTo>
                      <a:lnTo>
                        <a:pt x="3696" y="168"/>
                      </a:lnTo>
                      <a:lnTo>
                        <a:pt x="3690" y="162"/>
                      </a:lnTo>
                      <a:lnTo>
                        <a:pt x="3666" y="150"/>
                      </a:lnTo>
                      <a:lnTo>
                        <a:pt x="3648" y="144"/>
                      </a:lnTo>
                      <a:lnTo>
                        <a:pt x="3636" y="138"/>
                      </a:lnTo>
                      <a:lnTo>
                        <a:pt x="3618" y="138"/>
                      </a:lnTo>
                      <a:lnTo>
                        <a:pt x="3606" y="144"/>
                      </a:lnTo>
                      <a:lnTo>
                        <a:pt x="3600" y="150"/>
                      </a:lnTo>
                      <a:lnTo>
                        <a:pt x="3588" y="156"/>
                      </a:lnTo>
                      <a:lnTo>
                        <a:pt x="3588" y="150"/>
                      </a:lnTo>
                      <a:lnTo>
                        <a:pt x="3582" y="144"/>
                      </a:lnTo>
                      <a:lnTo>
                        <a:pt x="3576" y="132"/>
                      </a:lnTo>
                      <a:lnTo>
                        <a:pt x="3570" y="126"/>
                      </a:lnTo>
                      <a:lnTo>
                        <a:pt x="3546" y="114"/>
                      </a:lnTo>
                      <a:lnTo>
                        <a:pt x="3522" y="126"/>
                      </a:lnTo>
                      <a:lnTo>
                        <a:pt x="3504" y="162"/>
                      </a:lnTo>
                      <a:lnTo>
                        <a:pt x="3498" y="192"/>
                      </a:lnTo>
                      <a:lnTo>
                        <a:pt x="3492" y="210"/>
                      </a:lnTo>
                      <a:lnTo>
                        <a:pt x="3516" y="222"/>
                      </a:lnTo>
                      <a:lnTo>
                        <a:pt x="3534" y="216"/>
                      </a:lnTo>
                      <a:lnTo>
                        <a:pt x="3546" y="216"/>
                      </a:lnTo>
                      <a:lnTo>
                        <a:pt x="3582" y="198"/>
                      </a:lnTo>
                      <a:close/>
                      <a:moveTo>
                        <a:pt x="5622" y="420"/>
                      </a:moveTo>
                      <a:lnTo>
                        <a:pt x="5640" y="390"/>
                      </a:lnTo>
                      <a:lnTo>
                        <a:pt x="5754" y="390"/>
                      </a:lnTo>
                      <a:lnTo>
                        <a:pt x="5688" y="360"/>
                      </a:lnTo>
                      <a:lnTo>
                        <a:pt x="5700" y="336"/>
                      </a:lnTo>
                      <a:lnTo>
                        <a:pt x="5610" y="318"/>
                      </a:lnTo>
                      <a:lnTo>
                        <a:pt x="5628" y="348"/>
                      </a:lnTo>
                      <a:lnTo>
                        <a:pt x="5616" y="342"/>
                      </a:lnTo>
                      <a:lnTo>
                        <a:pt x="5592" y="336"/>
                      </a:lnTo>
                      <a:lnTo>
                        <a:pt x="5556" y="330"/>
                      </a:lnTo>
                      <a:lnTo>
                        <a:pt x="5514" y="318"/>
                      </a:lnTo>
                      <a:lnTo>
                        <a:pt x="5454" y="318"/>
                      </a:lnTo>
                      <a:lnTo>
                        <a:pt x="5448" y="330"/>
                      </a:lnTo>
                      <a:lnTo>
                        <a:pt x="5460" y="354"/>
                      </a:lnTo>
                      <a:lnTo>
                        <a:pt x="5496" y="372"/>
                      </a:lnTo>
                      <a:lnTo>
                        <a:pt x="5538" y="390"/>
                      </a:lnTo>
                      <a:lnTo>
                        <a:pt x="5574" y="408"/>
                      </a:lnTo>
                      <a:lnTo>
                        <a:pt x="5610" y="414"/>
                      </a:lnTo>
                      <a:lnTo>
                        <a:pt x="5622" y="420"/>
                      </a:lnTo>
                      <a:close/>
                      <a:moveTo>
                        <a:pt x="4320" y="432"/>
                      </a:moveTo>
                      <a:lnTo>
                        <a:pt x="4368" y="444"/>
                      </a:lnTo>
                      <a:lnTo>
                        <a:pt x="4380" y="444"/>
                      </a:lnTo>
                      <a:lnTo>
                        <a:pt x="4392" y="438"/>
                      </a:lnTo>
                      <a:lnTo>
                        <a:pt x="4398" y="438"/>
                      </a:lnTo>
                      <a:lnTo>
                        <a:pt x="4404" y="432"/>
                      </a:lnTo>
                      <a:lnTo>
                        <a:pt x="4404" y="426"/>
                      </a:lnTo>
                      <a:lnTo>
                        <a:pt x="4398" y="426"/>
                      </a:lnTo>
                      <a:lnTo>
                        <a:pt x="4362" y="414"/>
                      </a:lnTo>
                      <a:lnTo>
                        <a:pt x="4344" y="420"/>
                      </a:lnTo>
                      <a:lnTo>
                        <a:pt x="4332" y="420"/>
                      </a:lnTo>
                      <a:lnTo>
                        <a:pt x="4320" y="432"/>
                      </a:lnTo>
                      <a:close/>
                      <a:moveTo>
                        <a:pt x="5424" y="354"/>
                      </a:moveTo>
                      <a:lnTo>
                        <a:pt x="5370" y="336"/>
                      </a:lnTo>
                      <a:lnTo>
                        <a:pt x="5394" y="366"/>
                      </a:lnTo>
                      <a:lnTo>
                        <a:pt x="5424" y="354"/>
                      </a:lnTo>
                      <a:close/>
                      <a:moveTo>
                        <a:pt x="7986" y="666"/>
                      </a:moveTo>
                      <a:lnTo>
                        <a:pt x="8034" y="654"/>
                      </a:lnTo>
                      <a:lnTo>
                        <a:pt x="8088" y="654"/>
                      </a:lnTo>
                      <a:lnTo>
                        <a:pt x="8100" y="648"/>
                      </a:lnTo>
                      <a:lnTo>
                        <a:pt x="8106" y="642"/>
                      </a:lnTo>
                      <a:lnTo>
                        <a:pt x="8106" y="636"/>
                      </a:lnTo>
                      <a:lnTo>
                        <a:pt x="8100" y="630"/>
                      </a:lnTo>
                      <a:lnTo>
                        <a:pt x="8088" y="630"/>
                      </a:lnTo>
                      <a:lnTo>
                        <a:pt x="8052" y="618"/>
                      </a:lnTo>
                      <a:lnTo>
                        <a:pt x="8028" y="612"/>
                      </a:lnTo>
                      <a:lnTo>
                        <a:pt x="8010" y="606"/>
                      </a:lnTo>
                      <a:lnTo>
                        <a:pt x="7968" y="606"/>
                      </a:lnTo>
                      <a:lnTo>
                        <a:pt x="7944" y="618"/>
                      </a:lnTo>
                      <a:lnTo>
                        <a:pt x="7938" y="630"/>
                      </a:lnTo>
                      <a:lnTo>
                        <a:pt x="7938" y="654"/>
                      </a:lnTo>
                      <a:lnTo>
                        <a:pt x="7944" y="666"/>
                      </a:lnTo>
                      <a:lnTo>
                        <a:pt x="7950" y="666"/>
                      </a:lnTo>
                      <a:lnTo>
                        <a:pt x="7962" y="672"/>
                      </a:lnTo>
                      <a:lnTo>
                        <a:pt x="7968" y="672"/>
                      </a:lnTo>
                      <a:lnTo>
                        <a:pt x="7980" y="666"/>
                      </a:lnTo>
                      <a:lnTo>
                        <a:pt x="7986" y="666"/>
                      </a:lnTo>
                      <a:close/>
                      <a:moveTo>
                        <a:pt x="162" y="1788"/>
                      </a:moveTo>
                      <a:lnTo>
                        <a:pt x="150" y="1788"/>
                      </a:lnTo>
                      <a:lnTo>
                        <a:pt x="138" y="1794"/>
                      </a:lnTo>
                      <a:lnTo>
                        <a:pt x="114" y="1794"/>
                      </a:lnTo>
                      <a:lnTo>
                        <a:pt x="108" y="1788"/>
                      </a:lnTo>
                      <a:lnTo>
                        <a:pt x="96" y="1788"/>
                      </a:lnTo>
                      <a:lnTo>
                        <a:pt x="96" y="1782"/>
                      </a:lnTo>
                      <a:lnTo>
                        <a:pt x="84" y="1782"/>
                      </a:lnTo>
                      <a:lnTo>
                        <a:pt x="84" y="1788"/>
                      </a:lnTo>
                      <a:lnTo>
                        <a:pt x="72" y="1800"/>
                      </a:lnTo>
                      <a:lnTo>
                        <a:pt x="12" y="1800"/>
                      </a:lnTo>
                      <a:lnTo>
                        <a:pt x="0" y="1812"/>
                      </a:lnTo>
                      <a:lnTo>
                        <a:pt x="0" y="1818"/>
                      </a:lnTo>
                      <a:lnTo>
                        <a:pt x="12" y="1830"/>
                      </a:lnTo>
                      <a:lnTo>
                        <a:pt x="6" y="1842"/>
                      </a:lnTo>
                      <a:lnTo>
                        <a:pt x="12" y="1848"/>
                      </a:lnTo>
                      <a:lnTo>
                        <a:pt x="18" y="1848"/>
                      </a:lnTo>
                      <a:lnTo>
                        <a:pt x="24" y="1842"/>
                      </a:lnTo>
                      <a:lnTo>
                        <a:pt x="48" y="1842"/>
                      </a:lnTo>
                      <a:lnTo>
                        <a:pt x="54" y="1848"/>
                      </a:lnTo>
                      <a:lnTo>
                        <a:pt x="66" y="1848"/>
                      </a:lnTo>
                      <a:lnTo>
                        <a:pt x="72" y="1854"/>
                      </a:lnTo>
                      <a:lnTo>
                        <a:pt x="162" y="1854"/>
                      </a:lnTo>
                      <a:lnTo>
                        <a:pt x="162" y="1848"/>
                      </a:lnTo>
                      <a:lnTo>
                        <a:pt x="168" y="1848"/>
                      </a:lnTo>
                      <a:lnTo>
                        <a:pt x="162" y="1830"/>
                      </a:lnTo>
                      <a:lnTo>
                        <a:pt x="174" y="1818"/>
                      </a:lnTo>
                      <a:lnTo>
                        <a:pt x="174" y="1800"/>
                      </a:lnTo>
                      <a:lnTo>
                        <a:pt x="168" y="1788"/>
                      </a:lnTo>
                      <a:lnTo>
                        <a:pt x="162" y="1788"/>
                      </a:lnTo>
                      <a:close/>
                      <a:moveTo>
                        <a:pt x="1038" y="90"/>
                      </a:moveTo>
                      <a:lnTo>
                        <a:pt x="1062" y="72"/>
                      </a:lnTo>
                      <a:lnTo>
                        <a:pt x="1032" y="72"/>
                      </a:lnTo>
                      <a:lnTo>
                        <a:pt x="1032" y="84"/>
                      </a:lnTo>
                      <a:lnTo>
                        <a:pt x="1038" y="90"/>
                      </a:lnTo>
                      <a:close/>
                      <a:moveTo>
                        <a:pt x="990" y="72"/>
                      </a:moveTo>
                      <a:lnTo>
                        <a:pt x="1074" y="54"/>
                      </a:lnTo>
                      <a:lnTo>
                        <a:pt x="1044" y="42"/>
                      </a:lnTo>
                      <a:lnTo>
                        <a:pt x="996" y="54"/>
                      </a:lnTo>
                      <a:lnTo>
                        <a:pt x="948" y="54"/>
                      </a:lnTo>
                      <a:lnTo>
                        <a:pt x="966" y="66"/>
                      </a:lnTo>
                      <a:lnTo>
                        <a:pt x="990" y="72"/>
                      </a:lnTo>
                      <a:close/>
                      <a:moveTo>
                        <a:pt x="1122" y="90"/>
                      </a:moveTo>
                      <a:lnTo>
                        <a:pt x="1128" y="78"/>
                      </a:lnTo>
                      <a:lnTo>
                        <a:pt x="1152" y="78"/>
                      </a:lnTo>
                      <a:lnTo>
                        <a:pt x="1164" y="66"/>
                      </a:lnTo>
                      <a:lnTo>
                        <a:pt x="1218" y="66"/>
                      </a:lnTo>
                      <a:lnTo>
                        <a:pt x="1218" y="60"/>
                      </a:lnTo>
                      <a:lnTo>
                        <a:pt x="1206" y="54"/>
                      </a:lnTo>
                      <a:lnTo>
                        <a:pt x="1182" y="54"/>
                      </a:lnTo>
                      <a:lnTo>
                        <a:pt x="1182" y="48"/>
                      </a:lnTo>
                      <a:lnTo>
                        <a:pt x="1176" y="48"/>
                      </a:lnTo>
                      <a:lnTo>
                        <a:pt x="1164" y="42"/>
                      </a:lnTo>
                      <a:lnTo>
                        <a:pt x="1140" y="42"/>
                      </a:lnTo>
                      <a:lnTo>
                        <a:pt x="1134" y="48"/>
                      </a:lnTo>
                      <a:lnTo>
                        <a:pt x="1128" y="60"/>
                      </a:lnTo>
                      <a:lnTo>
                        <a:pt x="1128" y="66"/>
                      </a:lnTo>
                      <a:lnTo>
                        <a:pt x="1122" y="66"/>
                      </a:lnTo>
                      <a:lnTo>
                        <a:pt x="1116" y="72"/>
                      </a:lnTo>
                      <a:lnTo>
                        <a:pt x="1104" y="72"/>
                      </a:lnTo>
                      <a:lnTo>
                        <a:pt x="1086" y="78"/>
                      </a:lnTo>
                      <a:lnTo>
                        <a:pt x="1080" y="78"/>
                      </a:lnTo>
                      <a:lnTo>
                        <a:pt x="1074" y="84"/>
                      </a:lnTo>
                      <a:lnTo>
                        <a:pt x="1080" y="84"/>
                      </a:lnTo>
                      <a:lnTo>
                        <a:pt x="1092" y="90"/>
                      </a:lnTo>
                      <a:lnTo>
                        <a:pt x="1122" y="90"/>
                      </a:lnTo>
                      <a:close/>
                      <a:moveTo>
                        <a:pt x="1176" y="78"/>
                      </a:moveTo>
                      <a:lnTo>
                        <a:pt x="1158" y="90"/>
                      </a:lnTo>
                      <a:lnTo>
                        <a:pt x="1176" y="102"/>
                      </a:lnTo>
                      <a:lnTo>
                        <a:pt x="1194" y="108"/>
                      </a:lnTo>
                      <a:lnTo>
                        <a:pt x="1248" y="102"/>
                      </a:lnTo>
                      <a:lnTo>
                        <a:pt x="1242" y="90"/>
                      </a:lnTo>
                      <a:lnTo>
                        <a:pt x="1212" y="90"/>
                      </a:lnTo>
                      <a:lnTo>
                        <a:pt x="1176" y="78"/>
                      </a:lnTo>
                      <a:close/>
                      <a:moveTo>
                        <a:pt x="7812" y="2436"/>
                      </a:moveTo>
                      <a:lnTo>
                        <a:pt x="7782" y="2400"/>
                      </a:lnTo>
                      <a:lnTo>
                        <a:pt x="7776" y="2400"/>
                      </a:lnTo>
                      <a:lnTo>
                        <a:pt x="7770" y="2394"/>
                      </a:lnTo>
                      <a:lnTo>
                        <a:pt x="7752" y="2388"/>
                      </a:lnTo>
                      <a:lnTo>
                        <a:pt x="7728" y="2364"/>
                      </a:lnTo>
                      <a:lnTo>
                        <a:pt x="7722" y="2352"/>
                      </a:lnTo>
                      <a:lnTo>
                        <a:pt x="7704" y="2298"/>
                      </a:lnTo>
                      <a:lnTo>
                        <a:pt x="7698" y="2286"/>
                      </a:lnTo>
                      <a:lnTo>
                        <a:pt x="7698" y="2274"/>
                      </a:lnTo>
                      <a:lnTo>
                        <a:pt x="7674" y="2250"/>
                      </a:lnTo>
                      <a:lnTo>
                        <a:pt x="7680" y="2244"/>
                      </a:lnTo>
                      <a:lnTo>
                        <a:pt x="7698" y="2244"/>
                      </a:lnTo>
                      <a:lnTo>
                        <a:pt x="7770" y="2268"/>
                      </a:lnTo>
                      <a:lnTo>
                        <a:pt x="7800" y="2280"/>
                      </a:lnTo>
                      <a:lnTo>
                        <a:pt x="7812" y="2286"/>
                      </a:lnTo>
                      <a:lnTo>
                        <a:pt x="7740" y="2232"/>
                      </a:lnTo>
                      <a:lnTo>
                        <a:pt x="7734" y="2226"/>
                      </a:lnTo>
                      <a:lnTo>
                        <a:pt x="7722" y="2202"/>
                      </a:lnTo>
                      <a:lnTo>
                        <a:pt x="7710" y="2196"/>
                      </a:lnTo>
                      <a:lnTo>
                        <a:pt x="7704" y="2184"/>
                      </a:lnTo>
                      <a:lnTo>
                        <a:pt x="7698" y="2178"/>
                      </a:lnTo>
                      <a:lnTo>
                        <a:pt x="7674" y="2166"/>
                      </a:lnTo>
                      <a:lnTo>
                        <a:pt x="7668" y="2160"/>
                      </a:lnTo>
                      <a:lnTo>
                        <a:pt x="7656" y="2154"/>
                      </a:lnTo>
                      <a:lnTo>
                        <a:pt x="7578" y="2070"/>
                      </a:lnTo>
                      <a:lnTo>
                        <a:pt x="7554" y="2070"/>
                      </a:lnTo>
                      <a:lnTo>
                        <a:pt x="7542" y="2040"/>
                      </a:lnTo>
                      <a:lnTo>
                        <a:pt x="7524" y="2040"/>
                      </a:lnTo>
                      <a:lnTo>
                        <a:pt x="7512" y="2028"/>
                      </a:lnTo>
                      <a:lnTo>
                        <a:pt x="7500" y="2004"/>
                      </a:lnTo>
                      <a:lnTo>
                        <a:pt x="7500" y="1980"/>
                      </a:lnTo>
                      <a:lnTo>
                        <a:pt x="7470" y="1944"/>
                      </a:lnTo>
                      <a:lnTo>
                        <a:pt x="7446" y="1950"/>
                      </a:lnTo>
                      <a:lnTo>
                        <a:pt x="7434" y="1920"/>
                      </a:lnTo>
                      <a:lnTo>
                        <a:pt x="7392" y="1890"/>
                      </a:lnTo>
                      <a:lnTo>
                        <a:pt x="7380" y="1866"/>
                      </a:lnTo>
                      <a:lnTo>
                        <a:pt x="7368" y="1860"/>
                      </a:lnTo>
                      <a:lnTo>
                        <a:pt x="7362" y="1854"/>
                      </a:lnTo>
                      <a:lnTo>
                        <a:pt x="7344" y="1854"/>
                      </a:lnTo>
                      <a:lnTo>
                        <a:pt x="7344" y="1860"/>
                      </a:lnTo>
                      <a:lnTo>
                        <a:pt x="7392" y="1908"/>
                      </a:lnTo>
                      <a:lnTo>
                        <a:pt x="7392" y="1914"/>
                      </a:lnTo>
                      <a:lnTo>
                        <a:pt x="7386" y="1914"/>
                      </a:lnTo>
                      <a:lnTo>
                        <a:pt x="7380" y="1908"/>
                      </a:lnTo>
                      <a:lnTo>
                        <a:pt x="7368" y="1908"/>
                      </a:lnTo>
                      <a:lnTo>
                        <a:pt x="7362" y="1914"/>
                      </a:lnTo>
                      <a:lnTo>
                        <a:pt x="7362" y="1926"/>
                      </a:lnTo>
                      <a:lnTo>
                        <a:pt x="7374" y="1950"/>
                      </a:lnTo>
                      <a:lnTo>
                        <a:pt x="7386" y="1962"/>
                      </a:lnTo>
                      <a:lnTo>
                        <a:pt x="7392" y="1974"/>
                      </a:lnTo>
                      <a:lnTo>
                        <a:pt x="7404" y="1980"/>
                      </a:lnTo>
                      <a:lnTo>
                        <a:pt x="7404" y="1992"/>
                      </a:lnTo>
                      <a:lnTo>
                        <a:pt x="7416" y="2016"/>
                      </a:lnTo>
                      <a:lnTo>
                        <a:pt x="7422" y="2022"/>
                      </a:lnTo>
                      <a:lnTo>
                        <a:pt x="7440" y="2034"/>
                      </a:lnTo>
                      <a:lnTo>
                        <a:pt x="7470" y="2052"/>
                      </a:lnTo>
                      <a:lnTo>
                        <a:pt x="7500" y="2076"/>
                      </a:lnTo>
                      <a:lnTo>
                        <a:pt x="7518" y="2100"/>
                      </a:lnTo>
                      <a:lnTo>
                        <a:pt x="7524" y="2112"/>
                      </a:lnTo>
                      <a:lnTo>
                        <a:pt x="7536" y="2130"/>
                      </a:lnTo>
                      <a:lnTo>
                        <a:pt x="7536" y="2142"/>
                      </a:lnTo>
                      <a:lnTo>
                        <a:pt x="7548" y="2154"/>
                      </a:lnTo>
                      <a:lnTo>
                        <a:pt x="7554" y="2166"/>
                      </a:lnTo>
                      <a:lnTo>
                        <a:pt x="7572" y="2184"/>
                      </a:lnTo>
                      <a:lnTo>
                        <a:pt x="7590" y="2208"/>
                      </a:lnTo>
                      <a:lnTo>
                        <a:pt x="7608" y="2238"/>
                      </a:lnTo>
                      <a:lnTo>
                        <a:pt x="7620" y="2262"/>
                      </a:lnTo>
                      <a:lnTo>
                        <a:pt x="7626" y="2268"/>
                      </a:lnTo>
                      <a:lnTo>
                        <a:pt x="7626" y="2280"/>
                      </a:lnTo>
                      <a:lnTo>
                        <a:pt x="7632" y="2292"/>
                      </a:lnTo>
                      <a:lnTo>
                        <a:pt x="7644" y="2304"/>
                      </a:lnTo>
                      <a:lnTo>
                        <a:pt x="7656" y="2304"/>
                      </a:lnTo>
                      <a:lnTo>
                        <a:pt x="7668" y="2310"/>
                      </a:lnTo>
                      <a:lnTo>
                        <a:pt x="7674" y="2322"/>
                      </a:lnTo>
                      <a:lnTo>
                        <a:pt x="7686" y="2334"/>
                      </a:lnTo>
                      <a:lnTo>
                        <a:pt x="7698" y="2358"/>
                      </a:lnTo>
                      <a:lnTo>
                        <a:pt x="7698" y="2376"/>
                      </a:lnTo>
                      <a:lnTo>
                        <a:pt x="7740" y="2412"/>
                      </a:lnTo>
                      <a:lnTo>
                        <a:pt x="7752" y="2466"/>
                      </a:lnTo>
                      <a:lnTo>
                        <a:pt x="7794" y="2508"/>
                      </a:lnTo>
                      <a:lnTo>
                        <a:pt x="7794" y="2502"/>
                      </a:lnTo>
                      <a:lnTo>
                        <a:pt x="7788" y="2496"/>
                      </a:lnTo>
                      <a:lnTo>
                        <a:pt x="7788" y="2484"/>
                      </a:lnTo>
                      <a:lnTo>
                        <a:pt x="7782" y="2472"/>
                      </a:lnTo>
                      <a:lnTo>
                        <a:pt x="7782" y="2460"/>
                      </a:lnTo>
                      <a:lnTo>
                        <a:pt x="7776" y="2448"/>
                      </a:lnTo>
                      <a:lnTo>
                        <a:pt x="7782" y="2442"/>
                      </a:lnTo>
                      <a:lnTo>
                        <a:pt x="7788" y="2442"/>
                      </a:lnTo>
                      <a:lnTo>
                        <a:pt x="7800" y="2454"/>
                      </a:lnTo>
                      <a:lnTo>
                        <a:pt x="7830" y="2454"/>
                      </a:lnTo>
                      <a:lnTo>
                        <a:pt x="7866" y="2496"/>
                      </a:lnTo>
                      <a:lnTo>
                        <a:pt x="7866" y="2472"/>
                      </a:lnTo>
                      <a:lnTo>
                        <a:pt x="7836" y="2430"/>
                      </a:lnTo>
                      <a:lnTo>
                        <a:pt x="7812" y="2436"/>
                      </a:lnTo>
                      <a:close/>
                      <a:moveTo>
                        <a:pt x="1344" y="84"/>
                      </a:moveTo>
                      <a:lnTo>
                        <a:pt x="1350" y="72"/>
                      </a:lnTo>
                      <a:lnTo>
                        <a:pt x="1308" y="66"/>
                      </a:lnTo>
                      <a:lnTo>
                        <a:pt x="1284" y="78"/>
                      </a:lnTo>
                      <a:lnTo>
                        <a:pt x="1290" y="90"/>
                      </a:lnTo>
                      <a:lnTo>
                        <a:pt x="1344" y="84"/>
                      </a:lnTo>
                      <a:close/>
                      <a:moveTo>
                        <a:pt x="9048" y="996"/>
                      </a:moveTo>
                      <a:lnTo>
                        <a:pt x="9036" y="984"/>
                      </a:lnTo>
                      <a:lnTo>
                        <a:pt x="9024" y="978"/>
                      </a:lnTo>
                      <a:lnTo>
                        <a:pt x="9006" y="972"/>
                      </a:lnTo>
                      <a:lnTo>
                        <a:pt x="8994" y="966"/>
                      </a:lnTo>
                      <a:lnTo>
                        <a:pt x="8982" y="966"/>
                      </a:lnTo>
                      <a:lnTo>
                        <a:pt x="8940" y="948"/>
                      </a:lnTo>
                      <a:lnTo>
                        <a:pt x="8898" y="948"/>
                      </a:lnTo>
                      <a:lnTo>
                        <a:pt x="8868" y="930"/>
                      </a:lnTo>
                      <a:lnTo>
                        <a:pt x="8778" y="924"/>
                      </a:lnTo>
                      <a:lnTo>
                        <a:pt x="8736" y="906"/>
                      </a:lnTo>
                      <a:lnTo>
                        <a:pt x="8700" y="906"/>
                      </a:lnTo>
                      <a:lnTo>
                        <a:pt x="8754" y="942"/>
                      </a:lnTo>
                      <a:lnTo>
                        <a:pt x="8808" y="966"/>
                      </a:lnTo>
                      <a:lnTo>
                        <a:pt x="8796" y="966"/>
                      </a:lnTo>
                      <a:lnTo>
                        <a:pt x="8784" y="972"/>
                      </a:lnTo>
                      <a:lnTo>
                        <a:pt x="8754" y="972"/>
                      </a:lnTo>
                      <a:lnTo>
                        <a:pt x="8730" y="960"/>
                      </a:lnTo>
                      <a:lnTo>
                        <a:pt x="8676" y="906"/>
                      </a:lnTo>
                      <a:lnTo>
                        <a:pt x="8580" y="870"/>
                      </a:lnTo>
                      <a:lnTo>
                        <a:pt x="8496" y="846"/>
                      </a:lnTo>
                      <a:lnTo>
                        <a:pt x="8442" y="834"/>
                      </a:lnTo>
                      <a:lnTo>
                        <a:pt x="8370" y="822"/>
                      </a:lnTo>
                      <a:lnTo>
                        <a:pt x="8280" y="804"/>
                      </a:lnTo>
                      <a:lnTo>
                        <a:pt x="8190" y="780"/>
                      </a:lnTo>
                      <a:lnTo>
                        <a:pt x="8112" y="762"/>
                      </a:lnTo>
                      <a:lnTo>
                        <a:pt x="8052" y="750"/>
                      </a:lnTo>
                      <a:lnTo>
                        <a:pt x="7998" y="738"/>
                      </a:lnTo>
                      <a:lnTo>
                        <a:pt x="7956" y="732"/>
                      </a:lnTo>
                      <a:lnTo>
                        <a:pt x="7758" y="732"/>
                      </a:lnTo>
                      <a:lnTo>
                        <a:pt x="7746" y="714"/>
                      </a:lnTo>
                      <a:lnTo>
                        <a:pt x="7698" y="720"/>
                      </a:lnTo>
                      <a:lnTo>
                        <a:pt x="7680" y="708"/>
                      </a:lnTo>
                      <a:lnTo>
                        <a:pt x="7626" y="708"/>
                      </a:lnTo>
                      <a:lnTo>
                        <a:pt x="7650" y="726"/>
                      </a:lnTo>
                      <a:lnTo>
                        <a:pt x="7644" y="744"/>
                      </a:lnTo>
                      <a:lnTo>
                        <a:pt x="7656" y="744"/>
                      </a:lnTo>
                      <a:lnTo>
                        <a:pt x="7680" y="756"/>
                      </a:lnTo>
                      <a:lnTo>
                        <a:pt x="7716" y="762"/>
                      </a:lnTo>
                      <a:lnTo>
                        <a:pt x="7740" y="774"/>
                      </a:lnTo>
                      <a:lnTo>
                        <a:pt x="7758" y="786"/>
                      </a:lnTo>
                      <a:lnTo>
                        <a:pt x="7752" y="798"/>
                      </a:lnTo>
                      <a:lnTo>
                        <a:pt x="7728" y="804"/>
                      </a:lnTo>
                      <a:lnTo>
                        <a:pt x="7698" y="804"/>
                      </a:lnTo>
                      <a:lnTo>
                        <a:pt x="7686" y="798"/>
                      </a:lnTo>
                      <a:lnTo>
                        <a:pt x="7680" y="792"/>
                      </a:lnTo>
                      <a:lnTo>
                        <a:pt x="7656" y="774"/>
                      </a:lnTo>
                      <a:lnTo>
                        <a:pt x="7584" y="774"/>
                      </a:lnTo>
                      <a:lnTo>
                        <a:pt x="7530" y="738"/>
                      </a:lnTo>
                      <a:lnTo>
                        <a:pt x="7524" y="738"/>
                      </a:lnTo>
                      <a:lnTo>
                        <a:pt x="7518" y="744"/>
                      </a:lnTo>
                      <a:lnTo>
                        <a:pt x="7506" y="744"/>
                      </a:lnTo>
                      <a:lnTo>
                        <a:pt x="7500" y="750"/>
                      </a:lnTo>
                      <a:lnTo>
                        <a:pt x="7446" y="750"/>
                      </a:lnTo>
                      <a:lnTo>
                        <a:pt x="7440" y="738"/>
                      </a:lnTo>
                      <a:lnTo>
                        <a:pt x="7344" y="744"/>
                      </a:lnTo>
                      <a:lnTo>
                        <a:pt x="7320" y="726"/>
                      </a:lnTo>
                      <a:lnTo>
                        <a:pt x="7314" y="732"/>
                      </a:lnTo>
                      <a:lnTo>
                        <a:pt x="7212" y="732"/>
                      </a:lnTo>
                      <a:lnTo>
                        <a:pt x="7206" y="738"/>
                      </a:lnTo>
                      <a:lnTo>
                        <a:pt x="7212" y="744"/>
                      </a:lnTo>
                      <a:lnTo>
                        <a:pt x="7218" y="756"/>
                      </a:lnTo>
                      <a:lnTo>
                        <a:pt x="7254" y="792"/>
                      </a:lnTo>
                      <a:lnTo>
                        <a:pt x="7248" y="792"/>
                      </a:lnTo>
                      <a:lnTo>
                        <a:pt x="7242" y="786"/>
                      </a:lnTo>
                      <a:lnTo>
                        <a:pt x="7230" y="780"/>
                      </a:lnTo>
                      <a:lnTo>
                        <a:pt x="7218" y="768"/>
                      </a:lnTo>
                      <a:lnTo>
                        <a:pt x="7206" y="762"/>
                      </a:lnTo>
                      <a:lnTo>
                        <a:pt x="7194" y="750"/>
                      </a:lnTo>
                      <a:lnTo>
                        <a:pt x="7176" y="744"/>
                      </a:lnTo>
                      <a:lnTo>
                        <a:pt x="7104" y="732"/>
                      </a:lnTo>
                      <a:lnTo>
                        <a:pt x="7086" y="732"/>
                      </a:lnTo>
                      <a:lnTo>
                        <a:pt x="7086" y="726"/>
                      </a:lnTo>
                      <a:lnTo>
                        <a:pt x="7056" y="696"/>
                      </a:lnTo>
                      <a:lnTo>
                        <a:pt x="7032" y="684"/>
                      </a:lnTo>
                      <a:lnTo>
                        <a:pt x="6990" y="666"/>
                      </a:lnTo>
                      <a:lnTo>
                        <a:pt x="6948" y="660"/>
                      </a:lnTo>
                      <a:lnTo>
                        <a:pt x="6912" y="654"/>
                      </a:lnTo>
                      <a:lnTo>
                        <a:pt x="6882" y="654"/>
                      </a:lnTo>
                      <a:lnTo>
                        <a:pt x="6864" y="648"/>
                      </a:lnTo>
                      <a:lnTo>
                        <a:pt x="6834" y="648"/>
                      </a:lnTo>
                      <a:lnTo>
                        <a:pt x="6786" y="636"/>
                      </a:lnTo>
                      <a:lnTo>
                        <a:pt x="6774" y="642"/>
                      </a:lnTo>
                      <a:lnTo>
                        <a:pt x="6714" y="642"/>
                      </a:lnTo>
                      <a:lnTo>
                        <a:pt x="6696" y="660"/>
                      </a:lnTo>
                      <a:lnTo>
                        <a:pt x="6684" y="666"/>
                      </a:lnTo>
                      <a:lnTo>
                        <a:pt x="6648" y="666"/>
                      </a:lnTo>
                      <a:lnTo>
                        <a:pt x="6630" y="660"/>
                      </a:lnTo>
                      <a:lnTo>
                        <a:pt x="6594" y="660"/>
                      </a:lnTo>
                      <a:lnTo>
                        <a:pt x="6582" y="654"/>
                      </a:lnTo>
                      <a:lnTo>
                        <a:pt x="6576" y="648"/>
                      </a:lnTo>
                      <a:lnTo>
                        <a:pt x="6552" y="636"/>
                      </a:lnTo>
                      <a:lnTo>
                        <a:pt x="6534" y="630"/>
                      </a:lnTo>
                      <a:lnTo>
                        <a:pt x="6522" y="624"/>
                      </a:lnTo>
                      <a:lnTo>
                        <a:pt x="6498" y="624"/>
                      </a:lnTo>
                      <a:lnTo>
                        <a:pt x="6486" y="630"/>
                      </a:lnTo>
                      <a:lnTo>
                        <a:pt x="6474" y="612"/>
                      </a:lnTo>
                      <a:lnTo>
                        <a:pt x="6438" y="612"/>
                      </a:lnTo>
                      <a:lnTo>
                        <a:pt x="6372" y="606"/>
                      </a:lnTo>
                      <a:lnTo>
                        <a:pt x="6408" y="594"/>
                      </a:lnTo>
                      <a:lnTo>
                        <a:pt x="6372" y="570"/>
                      </a:lnTo>
                      <a:lnTo>
                        <a:pt x="6360" y="570"/>
                      </a:lnTo>
                      <a:lnTo>
                        <a:pt x="6324" y="564"/>
                      </a:lnTo>
                      <a:lnTo>
                        <a:pt x="6282" y="558"/>
                      </a:lnTo>
                      <a:lnTo>
                        <a:pt x="6246" y="558"/>
                      </a:lnTo>
                      <a:lnTo>
                        <a:pt x="6228" y="564"/>
                      </a:lnTo>
                      <a:lnTo>
                        <a:pt x="6228" y="594"/>
                      </a:lnTo>
                      <a:lnTo>
                        <a:pt x="6222" y="600"/>
                      </a:lnTo>
                      <a:lnTo>
                        <a:pt x="6192" y="600"/>
                      </a:lnTo>
                      <a:lnTo>
                        <a:pt x="6180" y="594"/>
                      </a:lnTo>
                      <a:lnTo>
                        <a:pt x="6168" y="594"/>
                      </a:lnTo>
                      <a:lnTo>
                        <a:pt x="6186" y="582"/>
                      </a:lnTo>
                      <a:lnTo>
                        <a:pt x="6168" y="570"/>
                      </a:lnTo>
                      <a:lnTo>
                        <a:pt x="6096" y="570"/>
                      </a:lnTo>
                      <a:lnTo>
                        <a:pt x="6114" y="558"/>
                      </a:lnTo>
                      <a:lnTo>
                        <a:pt x="6156" y="558"/>
                      </a:lnTo>
                      <a:lnTo>
                        <a:pt x="6216" y="588"/>
                      </a:lnTo>
                      <a:lnTo>
                        <a:pt x="6216" y="564"/>
                      </a:lnTo>
                      <a:lnTo>
                        <a:pt x="6162" y="540"/>
                      </a:lnTo>
                      <a:lnTo>
                        <a:pt x="6048" y="546"/>
                      </a:lnTo>
                      <a:lnTo>
                        <a:pt x="6048" y="534"/>
                      </a:lnTo>
                      <a:lnTo>
                        <a:pt x="5928" y="540"/>
                      </a:lnTo>
                      <a:lnTo>
                        <a:pt x="5880" y="522"/>
                      </a:lnTo>
                      <a:lnTo>
                        <a:pt x="5862" y="522"/>
                      </a:lnTo>
                      <a:lnTo>
                        <a:pt x="5898" y="546"/>
                      </a:lnTo>
                      <a:lnTo>
                        <a:pt x="5850" y="546"/>
                      </a:lnTo>
                      <a:lnTo>
                        <a:pt x="5838" y="552"/>
                      </a:lnTo>
                      <a:lnTo>
                        <a:pt x="5832" y="552"/>
                      </a:lnTo>
                      <a:lnTo>
                        <a:pt x="5832" y="558"/>
                      </a:lnTo>
                      <a:lnTo>
                        <a:pt x="5844" y="564"/>
                      </a:lnTo>
                      <a:lnTo>
                        <a:pt x="5850" y="570"/>
                      </a:lnTo>
                      <a:lnTo>
                        <a:pt x="5862" y="576"/>
                      </a:lnTo>
                      <a:lnTo>
                        <a:pt x="5892" y="576"/>
                      </a:lnTo>
                      <a:lnTo>
                        <a:pt x="5892" y="582"/>
                      </a:lnTo>
                      <a:lnTo>
                        <a:pt x="5952" y="618"/>
                      </a:lnTo>
                      <a:lnTo>
                        <a:pt x="5904" y="618"/>
                      </a:lnTo>
                      <a:lnTo>
                        <a:pt x="5898" y="612"/>
                      </a:lnTo>
                      <a:lnTo>
                        <a:pt x="5886" y="606"/>
                      </a:lnTo>
                      <a:lnTo>
                        <a:pt x="5874" y="606"/>
                      </a:lnTo>
                      <a:lnTo>
                        <a:pt x="5862" y="600"/>
                      </a:lnTo>
                      <a:lnTo>
                        <a:pt x="5844" y="618"/>
                      </a:lnTo>
                      <a:lnTo>
                        <a:pt x="5868" y="636"/>
                      </a:lnTo>
                      <a:lnTo>
                        <a:pt x="5814" y="630"/>
                      </a:lnTo>
                      <a:lnTo>
                        <a:pt x="5808" y="630"/>
                      </a:lnTo>
                      <a:lnTo>
                        <a:pt x="5802" y="624"/>
                      </a:lnTo>
                      <a:lnTo>
                        <a:pt x="5784" y="618"/>
                      </a:lnTo>
                      <a:lnTo>
                        <a:pt x="5766" y="618"/>
                      </a:lnTo>
                      <a:lnTo>
                        <a:pt x="5754" y="612"/>
                      </a:lnTo>
                      <a:lnTo>
                        <a:pt x="5736" y="606"/>
                      </a:lnTo>
                      <a:lnTo>
                        <a:pt x="5724" y="606"/>
                      </a:lnTo>
                      <a:lnTo>
                        <a:pt x="5712" y="612"/>
                      </a:lnTo>
                      <a:lnTo>
                        <a:pt x="5700" y="612"/>
                      </a:lnTo>
                      <a:lnTo>
                        <a:pt x="5688" y="618"/>
                      </a:lnTo>
                      <a:lnTo>
                        <a:pt x="5682" y="624"/>
                      </a:lnTo>
                      <a:lnTo>
                        <a:pt x="5676" y="624"/>
                      </a:lnTo>
                      <a:lnTo>
                        <a:pt x="5610" y="618"/>
                      </a:lnTo>
                      <a:lnTo>
                        <a:pt x="5604" y="618"/>
                      </a:lnTo>
                      <a:lnTo>
                        <a:pt x="5598" y="612"/>
                      </a:lnTo>
                      <a:lnTo>
                        <a:pt x="5562" y="594"/>
                      </a:lnTo>
                      <a:lnTo>
                        <a:pt x="5556" y="594"/>
                      </a:lnTo>
                      <a:lnTo>
                        <a:pt x="5550" y="588"/>
                      </a:lnTo>
                      <a:lnTo>
                        <a:pt x="5538" y="588"/>
                      </a:lnTo>
                      <a:lnTo>
                        <a:pt x="5538" y="606"/>
                      </a:lnTo>
                      <a:lnTo>
                        <a:pt x="5544" y="612"/>
                      </a:lnTo>
                      <a:lnTo>
                        <a:pt x="5550" y="624"/>
                      </a:lnTo>
                      <a:lnTo>
                        <a:pt x="5556" y="630"/>
                      </a:lnTo>
                      <a:lnTo>
                        <a:pt x="5562" y="642"/>
                      </a:lnTo>
                      <a:lnTo>
                        <a:pt x="5562" y="660"/>
                      </a:lnTo>
                      <a:lnTo>
                        <a:pt x="5556" y="666"/>
                      </a:lnTo>
                      <a:lnTo>
                        <a:pt x="5532" y="660"/>
                      </a:lnTo>
                      <a:lnTo>
                        <a:pt x="5424" y="624"/>
                      </a:lnTo>
                      <a:lnTo>
                        <a:pt x="5412" y="618"/>
                      </a:lnTo>
                      <a:lnTo>
                        <a:pt x="5406" y="618"/>
                      </a:lnTo>
                      <a:lnTo>
                        <a:pt x="5400" y="612"/>
                      </a:lnTo>
                      <a:lnTo>
                        <a:pt x="5394" y="600"/>
                      </a:lnTo>
                      <a:lnTo>
                        <a:pt x="5382" y="594"/>
                      </a:lnTo>
                      <a:lnTo>
                        <a:pt x="5376" y="588"/>
                      </a:lnTo>
                      <a:lnTo>
                        <a:pt x="5376" y="606"/>
                      </a:lnTo>
                      <a:lnTo>
                        <a:pt x="5322" y="588"/>
                      </a:lnTo>
                      <a:lnTo>
                        <a:pt x="5292" y="570"/>
                      </a:lnTo>
                      <a:lnTo>
                        <a:pt x="5298" y="570"/>
                      </a:lnTo>
                      <a:lnTo>
                        <a:pt x="5304" y="576"/>
                      </a:lnTo>
                      <a:lnTo>
                        <a:pt x="5328" y="576"/>
                      </a:lnTo>
                      <a:lnTo>
                        <a:pt x="5340" y="582"/>
                      </a:lnTo>
                      <a:lnTo>
                        <a:pt x="5352" y="582"/>
                      </a:lnTo>
                      <a:lnTo>
                        <a:pt x="5358" y="576"/>
                      </a:lnTo>
                      <a:lnTo>
                        <a:pt x="5358" y="570"/>
                      </a:lnTo>
                      <a:lnTo>
                        <a:pt x="5346" y="564"/>
                      </a:lnTo>
                      <a:lnTo>
                        <a:pt x="5334" y="552"/>
                      </a:lnTo>
                      <a:lnTo>
                        <a:pt x="5292" y="552"/>
                      </a:lnTo>
                      <a:lnTo>
                        <a:pt x="5304" y="540"/>
                      </a:lnTo>
                      <a:lnTo>
                        <a:pt x="5298" y="534"/>
                      </a:lnTo>
                      <a:lnTo>
                        <a:pt x="5286" y="528"/>
                      </a:lnTo>
                      <a:lnTo>
                        <a:pt x="5256" y="528"/>
                      </a:lnTo>
                      <a:lnTo>
                        <a:pt x="5268" y="510"/>
                      </a:lnTo>
                      <a:lnTo>
                        <a:pt x="5262" y="510"/>
                      </a:lnTo>
                      <a:lnTo>
                        <a:pt x="5256" y="504"/>
                      </a:lnTo>
                      <a:lnTo>
                        <a:pt x="5232" y="504"/>
                      </a:lnTo>
                      <a:lnTo>
                        <a:pt x="5220" y="498"/>
                      </a:lnTo>
                      <a:lnTo>
                        <a:pt x="5208" y="498"/>
                      </a:lnTo>
                      <a:lnTo>
                        <a:pt x="5202" y="492"/>
                      </a:lnTo>
                      <a:lnTo>
                        <a:pt x="5190" y="492"/>
                      </a:lnTo>
                      <a:lnTo>
                        <a:pt x="5184" y="486"/>
                      </a:lnTo>
                      <a:lnTo>
                        <a:pt x="5142" y="486"/>
                      </a:lnTo>
                      <a:lnTo>
                        <a:pt x="5130" y="492"/>
                      </a:lnTo>
                      <a:lnTo>
                        <a:pt x="5094" y="492"/>
                      </a:lnTo>
                      <a:lnTo>
                        <a:pt x="5076" y="486"/>
                      </a:lnTo>
                      <a:lnTo>
                        <a:pt x="5070" y="480"/>
                      </a:lnTo>
                      <a:lnTo>
                        <a:pt x="5064" y="480"/>
                      </a:lnTo>
                      <a:lnTo>
                        <a:pt x="5040" y="486"/>
                      </a:lnTo>
                      <a:lnTo>
                        <a:pt x="5040" y="474"/>
                      </a:lnTo>
                      <a:lnTo>
                        <a:pt x="4992" y="468"/>
                      </a:lnTo>
                      <a:lnTo>
                        <a:pt x="4980" y="456"/>
                      </a:lnTo>
                      <a:lnTo>
                        <a:pt x="4974" y="474"/>
                      </a:lnTo>
                      <a:lnTo>
                        <a:pt x="4956" y="480"/>
                      </a:lnTo>
                      <a:lnTo>
                        <a:pt x="4986" y="498"/>
                      </a:lnTo>
                      <a:lnTo>
                        <a:pt x="5010" y="528"/>
                      </a:lnTo>
                      <a:lnTo>
                        <a:pt x="4962" y="522"/>
                      </a:lnTo>
                      <a:lnTo>
                        <a:pt x="4956" y="516"/>
                      </a:lnTo>
                      <a:lnTo>
                        <a:pt x="4890" y="522"/>
                      </a:lnTo>
                      <a:lnTo>
                        <a:pt x="4872" y="528"/>
                      </a:lnTo>
                      <a:lnTo>
                        <a:pt x="4872" y="516"/>
                      </a:lnTo>
                      <a:lnTo>
                        <a:pt x="4824" y="522"/>
                      </a:lnTo>
                      <a:lnTo>
                        <a:pt x="4818" y="510"/>
                      </a:lnTo>
                      <a:lnTo>
                        <a:pt x="4764" y="510"/>
                      </a:lnTo>
                      <a:lnTo>
                        <a:pt x="4728" y="504"/>
                      </a:lnTo>
                      <a:lnTo>
                        <a:pt x="4746" y="480"/>
                      </a:lnTo>
                      <a:lnTo>
                        <a:pt x="4620" y="480"/>
                      </a:lnTo>
                      <a:lnTo>
                        <a:pt x="4608" y="468"/>
                      </a:lnTo>
                      <a:lnTo>
                        <a:pt x="4602" y="474"/>
                      </a:lnTo>
                      <a:lnTo>
                        <a:pt x="4590" y="468"/>
                      </a:lnTo>
                      <a:lnTo>
                        <a:pt x="4542" y="474"/>
                      </a:lnTo>
                      <a:lnTo>
                        <a:pt x="4548" y="486"/>
                      </a:lnTo>
                      <a:lnTo>
                        <a:pt x="4488" y="480"/>
                      </a:lnTo>
                      <a:lnTo>
                        <a:pt x="4476" y="486"/>
                      </a:lnTo>
                      <a:lnTo>
                        <a:pt x="4506" y="498"/>
                      </a:lnTo>
                      <a:lnTo>
                        <a:pt x="4464" y="492"/>
                      </a:lnTo>
                      <a:lnTo>
                        <a:pt x="4464" y="474"/>
                      </a:lnTo>
                      <a:lnTo>
                        <a:pt x="4434" y="456"/>
                      </a:lnTo>
                      <a:lnTo>
                        <a:pt x="4416" y="456"/>
                      </a:lnTo>
                      <a:lnTo>
                        <a:pt x="4428" y="474"/>
                      </a:lnTo>
                      <a:lnTo>
                        <a:pt x="4374" y="474"/>
                      </a:lnTo>
                      <a:lnTo>
                        <a:pt x="4368" y="468"/>
                      </a:lnTo>
                      <a:lnTo>
                        <a:pt x="4356" y="468"/>
                      </a:lnTo>
                      <a:lnTo>
                        <a:pt x="4350" y="456"/>
                      </a:lnTo>
                      <a:lnTo>
                        <a:pt x="4320" y="456"/>
                      </a:lnTo>
                      <a:lnTo>
                        <a:pt x="4296" y="444"/>
                      </a:lnTo>
                      <a:lnTo>
                        <a:pt x="4266" y="468"/>
                      </a:lnTo>
                      <a:lnTo>
                        <a:pt x="4320" y="474"/>
                      </a:lnTo>
                      <a:lnTo>
                        <a:pt x="4332" y="474"/>
                      </a:lnTo>
                      <a:lnTo>
                        <a:pt x="4326" y="480"/>
                      </a:lnTo>
                      <a:lnTo>
                        <a:pt x="4314" y="486"/>
                      </a:lnTo>
                      <a:lnTo>
                        <a:pt x="4308" y="492"/>
                      </a:lnTo>
                      <a:lnTo>
                        <a:pt x="4272" y="492"/>
                      </a:lnTo>
                      <a:lnTo>
                        <a:pt x="4266" y="498"/>
                      </a:lnTo>
                      <a:lnTo>
                        <a:pt x="4254" y="504"/>
                      </a:lnTo>
                      <a:lnTo>
                        <a:pt x="4182" y="504"/>
                      </a:lnTo>
                      <a:lnTo>
                        <a:pt x="4146" y="510"/>
                      </a:lnTo>
                      <a:lnTo>
                        <a:pt x="4134" y="534"/>
                      </a:lnTo>
                      <a:lnTo>
                        <a:pt x="4110" y="528"/>
                      </a:lnTo>
                      <a:lnTo>
                        <a:pt x="4110" y="516"/>
                      </a:lnTo>
                      <a:lnTo>
                        <a:pt x="4116" y="504"/>
                      </a:lnTo>
                      <a:lnTo>
                        <a:pt x="4122" y="498"/>
                      </a:lnTo>
                      <a:lnTo>
                        <a:pt x="4134" y="492"/>
                      </a:lnTo>
                      <a:lnTo>
                        <a:pt x="4152" y="492"/>
                      </a:lnTo>
                      <a:lnTo>
                        <a:pt x="4164" y="480"/>
                      </a:lnTo>
                      <a:lnTo>
                        <a:pt x="4206" y="474"/>
                      </a:lnTo>
                      <a:lnTo>
                        <a:pt x="4248" y="438"/>
                      </a:lnTo>
                      <a:lnTo>
                        <a:pt x="4248" y="426"/>
                      </a:lnTo>
                      <a:lnTo>
                        <a:pt x="4254" y="420"/>
                      </a:lnTo>
                      <a:lnTo>
                        <a:pt x="4266" y="414"/>
                      </a:lnTo>
                      <a:lnTo>
                        <a:pt x="4278" y="414"/>
                      </a:lnTo>
                      <a:lnTo>
                        <a:pt x="4290" y="408"/>
                      </a:lnTo>
                      <a:lnTo>
                        <a:pt x="4302" y="408"/>
                      </a:lnTo>
                      <a:lnTo>
                        <a:pt x="4320" y="402"/>
                      </a:lnTo>
                      <a:lnTo>
                        <a:pt x="4332" y="402"/>
                      </a:lnTo>
                      <a:lnTo>
                        <a:pt x="4344" y="396"/>
                      </a:lnTo>
                      <a:lnTo>
                        <a:pt x="4350" y="390"/>
                      </a:lnTo>
                      <a:lnTo>
                        <a:pt x="4356" y="378"/>
                      </a:lnTo>
                      <a:lnTo>
                        <a:pt x="4350" y="366"/>
                      </a:lnTo>
                      <a:lnTo>
                        <a:pt x="4344" y="360"/>
                      </a:lnTo>
                      <a:lnTo>
                        <a:pt x="4332" y="354"/>
                      </a:lnTo>
                      <a:lnTo>
                        <a:pt x="4326" y="348"/>
                      </a:lnTo>
                      <a:lnTo>
                        <a:pt x="4290" y="348"/>
                      </a:lnTo>
                      <a:lnTo>
                        <a:pt x="4320" y="336"/>
                      </a:lnTo>
                      <a:lnTo>
                        <a:pt x="4314" y="330"/>
                      </a:lnTo>
                      <a:lnTo>
                        <a:pt x="4302" y="324"/>
                      </a:lnTo>
                      <a:lnTo>
                        <a:pt x="4290" y="312"/>
                      </a:lnTo>
                      <a:lnTo>
                        <a:pt x="4284" y="312"/>
                      </a:lnTo>
                      <a:lnTo>
                        <a:pt x="4278" y="318"/>
                      </a:lnTo>
                      <a:lnTo>
                        <a:pt x="4254" y="318"/>
                      </a:lnTo>
                      <a:lnTo>
                        <a:pt x="4248" y="312"/>
                      </a:lnTo>
                      <a:lnTo>
                        <a:pt x="4242" y="300"/>
                      </a:lnTo>
                      <a:lnTo>
                        <a:pt x="4236" y="294"/>
                      </a:lnTo>
                      <a:lnTo>
                        <a:pt x="4194" y="294"/>
                      </a:lnTo>
                      <a:lnTo>
                        <a:pt x="4188" y="300"/>
                      </a:lnTo>
                      <a:lnTo>
                        <a:pt x="4182" y="300"/>
                      </a:lnTo>
                      <a:lnTo>
                        <a:pt x="4128" y="288"/>
                      </a:lnTo>
                      <a:lnTo>
                        <a:pt x="3990" y="282"/>
                      </a:lnTo>
                      <a:lnTo>
                        <a:pt x="3990" y="300"/>
                      </a:lnTo>
                      <a:lnTo>
                        <a:pt x="3924" y="300"/>
                      </a:lnTo>
                      <a:lnTo>
                        <a:pt x="3942" y="282"/>
                      </a:lnTo>
                      <a:lnTo>
                        <a:pt x="3942" y="276"/>
                      </a:lnTo>
                      <a:lnTo>
                        <a:pt x="3936" y="270"/>
                      </a:lnTo>
                      <a:lnTo>
                        <a:pt x="3912" y="264"/>
                      </a:lnTo>
                      <a:lnTo>
                        <a:pt x="3882" y="264"/>
                      </a:lnTo>
                      <a:lnTo>
                        <a:pt x="3852" y="270"/>
                      </a:lnTo>
                      <a:lnTo>
                        <a:pt x="3840" y="270"/>
                      </a:lnTo>
                      <a:lnTo>
                        <a:pt x="3780" y="264"/>
                      </a:lnTo>
                      <a:lnTo>
                        <a:pt x="3792" y="264"/>
                      </a:lnTo>
                      <a:lnTo>
                        <a:pt x="3810" y="258"/>
                      </a:lnTo>
                      <a:lnTo>
                        <a:pt x="3822" y="258"/>
                      </a:lnTo>
                      <a:lnTo>
                        <a:pt x="3834" y="252"/>
                      </a:lnTo>
                      <a:lnTo>
                        <a:pt x="3840" y="252"/>
                      </a:lnTo>
                      <a:lnTo>
                        <a:pt x="3840" y="246"/>
                      </a:lnTo>
                      <a:lnTo>
                        <a:pt x="3834" y="240"/>
                      </a:lnTo>
                      <a:lnTo>
                        <a:pt x="3822" y="240"/>
                      </a:lnTo>
                      <a:lnTo>
                        <a:pt x="3804" y="234"/>
                      </a:lnTo>
                      <a:lnTo>
                        <a:pt x="3762" y="234"/>
                      </a:lnTo>
                      <a:lnTo>
                        <a:pt x="3720" y="228"/>
                      </a:lnTo>
                      <a:lnTo>
                        <a:pt x="3714" y="240"/>
                      </a:lnTo>
                      <a:lnTo>
                        <a:pt x="3684" y="240"/>
                      </a:lnTo>
                      <a:lnTo>
                        <a:pt x="3672" y="246"/>
                      </a:lnTo>
                      <a:lnTo>
                        <a:pt x="3660" y="246"/>
                      </a:lnTo>
                      <a:lnTo>
                        <a:pt x="3648" y="252"/>
                      </a:lnTo>
                      <a:lnTo>
                        <a:pt x="3648" y="258"/>
                      </a:lnTo>
                      <a:lnTo>
                        <a:pt x="3654" y="270"/>
                      </a:lnTo>
                      <a:lnTo>
                        <a:pt x="3678" y="282"/>
                      </a:lnTo>
                      <a:lnTo>
                        <a:pt x="3696" y="294"/>
                      </a:lnTo>
                      <a:lnTo>
                        <a:pt x="3708" y="294"/>
                      </a:lnTo>
                      <a:lnTo>
                        <a:pt x="3714" y="300"/>
                      </a:lnTo>
                      <a:lnTo>
                        <a:pt x="3720" y="300"/>
                      </a:lnTo>
                      <a:lnTo>
                        <a:pt x="3576" y="294"/>
                      </a:lnTo>
                      <a:lnTo>
                        <a:pt x="3630" y="312"/>
                      </a:lnTo>
                      <a:lnTo>
                        <a:pt x="3576" y="324"/>
                      </a:lnTo>
                      <a:lnTo>
                        <a:pt x="3564" y="330"/>
                      </a:lnTo>
                      <a:lnTo>
                        <a:pt x="3534" y="336"/>
                      </a:lnTo>
                      <a:lnTo>
                        <a:pt x="3498" y="342"/>
                      </a:lnTo>
                      <a:lnTo>
                        <a:pt x="3474" y="342"/>
                      </a:lnTo>
                      <a:lnTo>
                        <a:pt x="3468" y="336"/>
                      </a:lnTo>
                      <a:lnTo>
                        <a:pt x="3474" y="324"/>
                      </a:lnTo>
                      <a:lnTo>
                        <a:pt x="3486" y="312"/>
                      </a:lnTo>
                      <a:lnTo>
                        <a:pt x="3420" y="312"/>
                      </a:lnTo>
                      <a:lnTo>
                        <a:pt x="3408" y="318"/>
                      </a:lnTo>
                      <a:lnTo>
                        <a:pt x="3390" y="318"/>
                      </a:lnTo>
                      <a:lnTo>
                        <a:pt x="3378" y="324"/>
                      </a:lnTo>
                      <a:lnTo>
                        <a:pt x="3366" y="336"/>
                      </a:lnTo>
                      <a:lnTo>
                        <a:pt x="3348" y="336"/>
                      </a:lnTo>
                      <a:lnTo>
                        <a:pt x="3318" y="342"/>
                      </a:lnTo>
                      <a:lnTo>
                        <a:pt x="3276" y="342"/>
                      </a:lnTo>
                      <a:lnTo>
                        <a:pt x="3246" y="348"/>
                      </a:lnTo>
                      <a:lnTo>
                        <a:pt x="3234" y="354"/>
                      </a:lnTo>
                      <a:lnTo>
                        <a:pt x="3216" y="354"/>
                      </a:lnTo>
                      <a:lnTo>
                        <a:pt x="3204" y="360"/>
                      </a:lnTo>
                      <a:lnTo>
                        <a:pt x="3186" y="360"/>
                      </a:lnTo>
                      <a:lnTo>
                        <a:pt x="3180" y="366"/>
                      </a:lnTo>
                      <a:lnTo>
                        <a:pt x="3174" y="366"/>
                      </a:lnTo>
                      <a:lnTo>
                        <a:pt x="3132" y="396"/>
                      </a:lnTo>
                      <a:lnTo>
                        <a:pt x="3114" y="396"/>
                      </a:lnTo>
                      <a:lnTo>
                        <a:pt x="3108" y="402"/>
                      </a:lnTo>
                      <a:lnTo>
                        <a:pt x="3102" y="402"/>
                      </a:lnTo>
                      <a:lnTo>
                        <a:pt x="3096" y="408"/>
                      </a:lnTo>
                      <a:lnTo>
                        <a:pt x="3102" y="414"/>
                      </a:lnTo>
                      <a:lnTo>
                        <a:pt x="3120" y="426"/>
                      </a:lnTo>
                      <a:lnTo>
                        <a:pt x="3132" y="438"/>
                      </a:lnTo>
                      <a:lnTo>
                        <a:pt x="3150" y="444"/>
                      </a:lnTo>
                      <a:lnTo>
                        <a:pt x="3156" y="450"/>
                      </a:lnTo>
                      <a:lnTo>
                        <a:pt x="3162" y="450"/>
                      </a:lnTo>
                      <a:lnTo>
                        <a:pt x="3120" y="462"/>
                      </a:lnTo>
                      <a:lnTo>
                        <a:pt x="3096" y="474"/>
                      </a:lnTo>
                      <a:lnTo>
                        <a:pt x="2994" y="474"/>
                      </a:lnTo>
                      <a:lnTo>
                        <a:pt x="2988" y="480"/>
                      </a:lnTo>
                      <a:lnTo>
                        <a:pt x="2952" y="468"/>
                      </a:lnTo>
                      <a:lnTo>
                        <a:pt x="2934" y="474"/>
                      </a:lnTo>
                      <a:lnTo>
                        <a:pt x="2880" y="474"/>
                      </a:lnTo>
                      <a:lnTo>
                        <a:pt x="2874" y="480"/>
                      </a:lnTo>
                      <a:lnTo>
                        <a:pt x="2874" y="498"/>
                      </a:lnTo>
                      <a:lnTo>
                        <a:pt x="2880" y="510"/>
                      </a:lnTo>
                      <a:lnTo>
                        <a:pt x="2892" y="522"/>
                      </a:lnTo>
                      <a:lnTo>
                        <a:pt x="2898" y="522"/>
                      </a:lnTo>
                      <a:lnTo>
                        <a:pt x="2904" y="528"/>
                      </a:lnTo>
                      <a:lnTo>
                        <a:pt x="2910" y="540"/>
                      </a:lnTo>
                      <a:lnTo>
                        <a:pt x="2916" y="546"/>
                      </a:lnTo>
                      <a:lnTo>
                        <a:pt x="2922" y="546"/>
                      </a:lnTo>
                      <a:lnTo>
                        <a:pt x="2928" y="552"/>
                      </a:lnTo>
                      <a:lnTo>
                        <a:pt x="2940" y="552"/>
                      </a:lnTo>
                      <a:lnTo>
                        <a:pt x="2952" y="558"/>
                      </a:lnTo>
                      <a:lnTo>
                        <a:pt x="2964" y="558"/>
                      </a:lnTo>
                      <a:lnTo>
                        <a:pt x="2976" y="564"/>
                      </a:lnTo>
                      <a:lnTo>
                        <a:pt x="2994" y="564"/>
                      </a:lnTo>
                      <a:lnTo>
                        <a:pt x="3012" y="570"/>
                      </a:lnTo>
                      <a:lnTo>
                        <a:pt x="3024" y="570"/>
                      </a:lnTo>
                      <a:lnTo>
                        <a:pt x="3036" y="576"/>
                      </a:lnTo>
                      <a:lnTo>
                        <a:pt x="3042" y="576"/>
                      </a:lnTo>
                      <a:lnTo>
                        <a:pt x="3054" y="588"/>
                      </a:lnTo>
                      <a:lnTo>
                        <a:pt x="3054" y="594"/>
                      </a:lnTo>
                      <a:lnTo>
                        <a:pt x="3060" y="600"/>
                      </a:lnTo>
                      <a:lnTo>
                        <a:pt x="3030" y="600"/>
                      </a:lnTo>
                      <a:lnTo>
                        <a:pt x="3012" y="606"/>
                      </a:lnTo>
                      <a:lnTo>
                        <a:pt x="3000" y="606"/>
                      </a:lnTo>
                      <a:lnTo>
                        <a:pt x="2964" y="588"/>
                      </a:lnTo>
                      <a:lnTo>
                        <a:pt x="2928" y="576"/>
                      </a:lnTo>
                      <a:lnTo>
                        <a:pt x="2904" y="570"/>
                      </a:lnTo>
                      <a:lnTo>
                        <a:pt x="2886" y="564"/>
                      </a:lnTo>
                      <a:lnTo>
                        <a:pt x="2862" y="564"/>
                      </a:lnTo>
                      <a:lnTo>
                        <a:pt x="2844" y="558"/>
                      </a:lnTo>
                      <a:lnTo>
                        <a:pt x="2802" y="558"/>
                      </a:lnTo>
                      <a:lnTo>
                        <a:pt x="2796" y="564"/>
                      </a:lnTo>
                      <a:lnTo>
                        <a:pt x="2796" y="576"/>
                      </a:lnTo>
                      <a:lnTo>
                        <a:pt x="2802" y="582"/>
                      </a:lnTo>
                      <a:lnTo>
                        <a:pt x="2808" y="582"/>
                      </a:lnTo>
                      <a:lnTo>
                        <a:pt x="2820" y="594"/>
                      </a:lnTo>
                      <a:lnTo>
                        <a:pt x="2784" y="594"/>
                      </a:lnTo>
                      <a:lnTo>
                        <a:pt x="2772" y="582"/>
                      </a:lnTo>
                      <a:lnTo>
                        <a:pt x="2754" y="582"/>
                      </a:lnTo>
                      <a:lnTo>
                        <a:pt x="2748" y="576"/>
                      </a:lnTo>
                      <a:lnTo>
                        <a:pt x="2724" y="576"/>
                      </a:lnTo>
                      <a:lnTo>
                        <a:pt x="2724" y="582"/>
                      </a:lnTo>
                      <a:lnTo>
                        <a:pt x="2730" y="600"/>
                      </a:lnTo>
                      <a:lnTo>
                        <a:pt x="2736" y="612"/>
                      </a:lnTo>
                      <a:lnTo>
                        <a:pt x="2748" y="618"/>
                      </a:lnTo>
                      <a:lnTo>
                        <a:pt x="2766" y="624"/>
                      </a:lnTo>
                      <a:lnTo>
                        <a:pt x="2802" y="624"/>
                      </a:lnTo>
                      <a:lnTo>
                        <a:pt x="2820" y="630"/>
                      </a:lnTo>
                      <a:lnTo>
                        <a:pt x="2844" y="630"/>
                      </a:lnTo>
                      <a:lnTo>
                        <a:pt x="2856" y="636"/>
                      </a:lnTo>
                      <a:lnTo>
                        <a:pt x="2862" y="648"/>
                      </a:lnTo>
                      <a:lnTo>
                        <a:pt x="2874" y="654"/>
                      </a:lnTo>
                      <a:lnTo>
                        <a:pt x="2844" y="654"/>
                      </a:lnTo>
                      <a:lnTo>
                        <a:pt x="2838" y="648"/>
                      </a:lnTo>
                      <a:lnTo>
                        <a:pt x="2826" y="642"/>
                      </a:lnTo>
                      <a:lnTo>
                        <a:pt x="2772" y="642"/>
                      </a:lnTo>
                      <a:lnTo>
                        <a:pt x="2760" y="636"/>
                      </a:lnTo>
                      <a:lnTo>
                        <a:pt x="2730" y="636"/>
                      </a:lnTo>
                      <a:lnTo>
                        <a:pt x="2724" y="624"/>
                      </a:lnTo>
                      <a:lnTo>
                        <a:pt x="2700" y="624"/>
                      </a:lnTo>
                      <a:lnTo>
                        <a:pt x="2694" y="606"/>
                      </a:lnTo>
                      <a:lnTo>
                        <a:pt x="2664" y="594"/>
                      </a:lnTo>
                      <a:lnTo>
                        <a:pt x="2670" y="588"/>
                      </a:lnTo>
                      <a:lnTo>
                        <a:pt x="2682" y="582"/>
                      </a:lnTo>
                      <a:lnTo>
                        <a:pt x="2688" y="576"/>
                      </a:lnTo>
                      <a:lnTo>
                        <a:pt x="2688" y="564"/>
                      </a:lnTo>
                      <a:lnTo>
                        <a:pt x="2658" y="534"/>
                      </a:lnTo>
                      <a:lnTo>
                        <a:pt x="2646" y="528"/>
                      </a:lnTo>
                      <a:lnTo>
                        <a:pt x="2616" y="528"/>
                      </a:lnTo>
                      <a:lnTo>
                        <a:pt x="2628" y="534"/>
                      </a:lnTo>
                      <a:lnTo>
                        <a:pt x="2652" y="558"/>
                      </a:lnTo>
                      <a:lnTo>
                        <a:pt x="2640" y="570"/>
                      </a:lnTo>
                      <a:lnTo>
                        <a:pt x="2616" y="582"/>
                      </a:lnTo>
                      <a:lnTo>
                        <a:pt x="2604" y="582"/>
                      </a:lnTo>
                      <a:lnTo>
                        <a:pt x="2586" y="624"/>
                      </a:lnTo>
                      <a:lnTo>
                        <a:pt x="2658" y="660"/>
                      </a:lnTo>
                      <a:lnTo>
                        <a:pt x="2676" y="660"/>
                      </a:lnTo>
                      <a:lnTo>
                        <a:pt x="2676" y="696"/>
                      </a:lnTo>
                      <a:lnTo>
                        <a:pt x="2670" y="708"/>
                      </a:lnTo>
                      <a:lnTo>
                        <a:pt x="2670" y="720"/>
                      </a:lnTo>
                      <a:lnTo>
                        <a:pt x="2676" y="738"/>
                      </a:lnTo>
                      <a:lnTo>
                        <a:pt x="2712" y="744"/>
                      </a:lnTo>
                      <a:lnTo>
                        <a:pt x="2712" y="768"/>
                      </a:lnTo>
                      <a:lnTo>
                        <a:pt x="2772" y="780"/>
                      </a:lnTo>
                      <a:lnTo>
                        <a:pt x="2778" y="780"/>
                      </a:lnTo>
                      <a:lnTo>
                        <a:pt x="2784" y="774"/>
                      </a:lnTo>
                      <a:lnTo>
                        <a:pt x="2796" y="774"/>
                      </a:lnTo>
                      <a:lnTo>
                        <a:pt x="2814" y="768"/>
                      </a:lnTo>
                      <a:lnTo>
                        <a:pt x="2850" y="768"/>
                      </a:lnTo>
                      <a:lnTo>
                        <a:pt x="2868" y="774"/>
                      </a:lnTo>
                      <a:lnTo>
                        <a:pt x="2874" y="780"/>
                      </a:lnTo>
                      <a:lnTo>
                        <a:pt x="2886" y="786"/>
                      </a:lnTo>
                      <a:lnTo>
                        <a:pt x="2904" y="786"/>
                      </a:lnTo>
                      <a:lnTo>
                        <a:pt x="2916" y="792"/>
                      </a:lnTo>
                      <a:lnTo>
                        <a:pt x="2952" y="804"/>
                      </a:lnTo>
                      <a:lnTo>
                        <a:pt x="2976" y="828"/>
                      </a:lnTo>
                      <a:lnTo>
                        <a:pt x="2976" y="834"/>
                      </a:lnTo>
                      <a:lnTo>
                        <a:pt x="2964" y="834"/>
                      </a:lnTo>
                      <a:lnTo>
                        <a:pt x="2958" y="840"/>
                      </a:lnTo>
                      <a:lnTo>
                        <a:pt x="2946" y="840"/>
                      </a:lnTo>
                      <a:lnTo>
                        <a:pt x="2940" y="846"/>
                      </a:lnTo>
                      <a:lnTo>
                        <a:pt x="2946" y="852"/>
                      </a:lnTo>
                      <a:lnTo>
                        <a:pt x="2958" y="858"/>
                      </a:lnTo>
                      <a:lnTo>
                        <a:pt x="2976" y="876"/>
                      </a:lnTo>
                      <a:lnTo>
                        <a:pt x="3024" y="876"/>
                      </a:lnTo>
                      <a:lnTo>
                        <a:pt x="3012" y="882"/>
                      </a:lnTo>
                      <a:lnTo>
                        <a:pt x="3006" y="882"/>
                      </a:lnTo>
                      <a:lnTo>
                        <a:pt x="2994" y="888"/>
                      </a:lnTo>
                      <a:lnTo>
                        <a:pt x="2970" y="888"/>
                      </a:lnTo>
                      <a:lnTo>
                        <a:pt x="2958" y="882"/>
                      </a:lnTo>
                      <a:lnTo>
                        <a:pt x="2952" y="876"/>
                      </a:lnTo>
                      <a:lnTo>
                        <a:pt x="2940" y="870"/>
                      </a:lnTo>
                      <a:lnTo>
                        <a:pt x="2940" y="858"/>
                      </a:lnTo>
                      <a:lnTo>
                        <a:pt x="2928" y="834"/>
                      </a:lnTo>
                      <a:lnTo>
                        <a:pt x="2916" y="822"/>
                      </a:lnTo>
                      <a:lnTo>
                        <a:pt x="2892" y="810"/>
                      </a:lnTo>
                      <a:lnTo>
                        <a:pt x="2886" y="804"/>
                      </a:lnTo>
                      <a:lnTo>
                        <a:pt x="2880" y="804"/>
                      </a:lnTo>
                      <a:lnTo>
                        <a:pt x="2874" y="798"/>
                      </a:lnTo>
                      <a:lnTo>
                        <a:pt x="2874" y="786"/>
                      </a:lnTo>
                      <a:lnTo>
                        <a:pt x="2868" y="780"/>
                      </a:lnTo>
                      <a:lnTo>
                        <a:pt x="2844" y="780"/>
                      </a:lnTo>
                      <a:lnTo>
                        <a:pt x="2832" y="786"/>
                      </a:lnTo>
                      <a:lnTo>
                        <a:pt x="2814" y="786"/>
                      </a:lnTo>
                      <a:lnTo>
                        <a:pt x="2802" y="792"/>
                      </a:lnTo>
                      <a:lnTo>
                        <a:pt x="2778" y="792"/>
                      </a:lnTo>
                      <a:lnTo>
                        <a:pt x="2760" y="810"/>
                      </a:lnTo>
                      <a:lnTo>
                        <a:pt x="2766" y="816"/>
                      </a:lnTo>
                      <a:lnTo>
                        <a:pt x="2772" y="828"/>
                      </a:lnTo>
                      <a:lnTo>
                        <a:pt x="2784" y="834"/>
                      </a:lnTo>
                      <a:lnTo>
                        <a:pt x="2802" y="852"/>
                      </a:lnTo>
                      <a:lnTo>
                        <a:pt x="2814" y="858"/>
                      </a:lnTo>
                      <a:lnTo>
                        <a:pt x="2814" y="864"/>
                      </a:lnTo>
                      <a:lnTo>
                        <a:pt x="2790" y="888"/>
                      </a:lnTo>
                      <a:lnTo>
                        <a:pt x="2784" y="888"/>
                      </a:lnTo>
                      <a:lnTo>
                        <a:pt x="2778" y="930"/>
                      </a:lnTo>
                      <a:lnTo>
                        <a:pt x="2736" y="948"/>
                      </a:lnTo>
                      <a:lnTo>
                        <a:pt x="2736" y="954"/>
                      </a:lnTo>
                      <a:lnTo>
                        <a:pt x="2730" y="966"/>
                      </a:lnTo>
                      <a:lnTo>
                        <a:pt x="2724" y="972"/>
                      </a:lnTo>
                      <a:lnTo>
                        <a:pt x="2694" y="972"/>
                      </a:lnTo>
                      <a:lnTo>
                        <a:pt x="2682" y="966"/>
                      </a:lnTo>
                      <a:lnTo>
                        <a:pt x="2652" y="966"/>
                      </a:lnTo>
                      <a:lnTo>
                        <a:pt x="2592" y="960"/>
                      </a:lnTo>
                      <a:lnTo>
                        <a:pt x="2586" y="960"/>
                      </a:lnTo>
                      <a:lnTo>
                        <a:pt x="2580" y="954"/>
                      </a:lnTo>
                      <a:lnTo>
                        <a:pt x="2568" y="948"/>
                      </a:lnTo>
                      <a:lnTo>
                        <a:pt x="2556" y="948"/>
                      </a:lnTo>
                      <a:lnTo>
                        <a:pt x="2544" y="936"/>
                      </a:lnTo>
                      <a:lnTo>
                        <a:pt x="2598" y="936"/>
                      </a:lnTo>
                      <a:lnTo>
                        <a:pt x="2616" y="942"/>
                      </a:lnTo>
                      <a:lnTo>
                        <a:pt x="2640" y="924"/>
                      </a:lnTo>
                      <a:lnTo>
                        <a:pt x="2652" y="924"/>
                      </a:lnTo>
                      <a:lnTo>
                        <a:pt x="2664" y="930"/>
                      </a:lnTo>
                      <a:lnTo>
                        <a:pt x="2682" y="930"/>
                      </a:lnTo>
                      <a:lnTo>
                        <a:pt x="2694" y="924"/>
                      </a:lnTo>
                      <a:lnTo>
                        <a:pt x="2694" y="906"/>
                      </a:lnTo>
                      <a:lnTo>
                        <a:pt x="2700" y="894"/>
                      </a:lnTo>
                      <a:lnTo>
                        <a:pt x="2700" y="882"/>
                      </a:lnTo>
                      <a:lnTo>
                        <a:pt x="2724" y="876"/>
                      </a:lnTo>
                      <a:lnTo>
                        <a:pt x="2724" y="852"/>
                      </a:lnTo>
                      <a:lnTo>
                        <a:pt x="2712" y="852"/>
                      </a:lnTo>
                      <a:lnTo>
                        <a:pt x="2718" y="846"/>
                      </a:lnTo>
                      <a:lnTo>
                        <a:pt x="2724" y="834"/>
                      </a:lnTo>
                      <a:lnTo>
                        <a:pt x="2724" y="822"/>
                      </a:lnTo>
                      <a:lnTo>
                        <a:pt x="2718" y="816"/>
                      </a:lnTo>
                      <a:lnTo>
                        <a:pt x="2712" y="816"/>
                      </a:lnTo>
                      <a:lnTo>
                        <a:pt x="2700" y="810"/>
                      </a:lnTo>
                      <a:lnTo>
                        <a:pt x="2682" y="810"/>
                      </a:lnTo>
                      <a:lnTo>
                        <a:pt x="2664" y="804"/>
                      </a:lnTo>
                      <a:lnTo>
                        <a:pt x="2652" y="804"/>
                      </a:lnTo>
                      <a:lnTo>
                        <a:pt x="2634" y="786"/>
                      </a:lnTo>
                      <a:lnTo>
                        <a:pt x="2634" y="744"/>
                      </a:lnTo>
                      <a:lnTo>
                        <a:pt x="2628" y="732"/>
                      </a:lnTo>
                      <a:lnTo>
                        <a:pt x="2616" y="720"/>
                      </a:lnTo>
                      <a:lnTo>
                        <a:pt x="2604" y="714"/>
                      </a:lnTo>
                      <a:lnTo>
                        <a:pt x="2598" y="702"/>
                      </a:lnTo>
                      <a:lnTo>
                        <a:pt x="2592" y="696"/>
                      </a:lnTo>
                      <a:lnTo>
                        <a:pt x="2586" y="660"/>
                      </a:lnTo>
                      <a:lnTo>
                        <a:pt x="2520" y="624"/>
                      </a:lnTo>
                      <a:lnTo>
                        <a:pt x="2532" y="612"/>
                      </a:lnTo>
                      <a:lnTo>
                        <a:pt x="2544" y="588"/>
                      </a:lnTo>
                      <a:lnTo>
                        <a:pt x="2544" y="576"/>
                      </a:lnTo>
                      <a:lnTo>
                        <a:pt x="2538" y="564"/>
                      </a:lnTo>
                      <a:lnTo>
                        <a:pt x="2514" y="540"/>
                      </a:lnTo>
                      <a:lnTo>
                        <a:pt x="2496" y="540"/>
                      </a:lnTo>
                      <a:lnTo>
                        <a:pt x="2484" y="534"/>
                      </a:lnTo>
                      <a:lnTo>
                        <a:pt x="2472" y="534"/>
                      </a:lnTo>
                      <a:lnTo>
                        <a:pt x="2340" y="522"/>
                      </a:lnTo>
                      <a:lnTo>
                        <a:pt x="2328" y="552"/>
                      </a:lnTo>
                      <a:lnTo>
                        <a:pt x="2346" y="570"/>
                      </a:lnTo>
                      <a:lnTo>
                        <a:pt x="2334" y="600"/>
                      </a:lnTo>
                      <a:lnTo>
                        <a:pt x="2280" y="624"/>
                      </a:lnTo>
                      <a:lnTo>
                        <a:pt x="2268" y="654"/>
                      </a:lnTo>
                      <a:lnTo>
                        <a:pt x="2304" y="660"/>
                      </a:lnTo>
                      <a:lnTo>
                        <a:pt x="2334" y="708"/>
                      </a:lnTo>
                      <a:lnTo>
                        <a:pt x="2322" y="726"/>
                      </a:lnTo>
                      <a:lnTo>
                        <a:pt x="2352" y="750"/>
                      </a:lnTo>
                      <a:lnTo>
                        <a:pt x="2388" y="744"/>
                      </a:lnTo>
                      <a:lnTo>
                        <a:pt x="2394" y="750"/>
                      </a:lnTo>
                      <a:lnTo>
                        <a:pt x="2400" y="762"/>
                      </a:lnTo>
                      <a:lnTo>
                        <a:pt x="2412" y="768"/>
                      </a:lnTo>
                      <a:lnTo>
                        <a:pt x="2418" y="774"/>
                      </a:lnTo>
                      <a:lnTo>
                        <a:pt x="2430" y="780"/>
                      </a:lnTo>
                      <a:lnTo>
                        <a:pt x="2472" y="780"/>
                      </a:lnTo>
                      <a:lnTo>
                        <a:pt x="2466" y="840"/>
                      </a:lnTo>
                      <a:lnTo>
                        <a:pt x="2448" y="816"/>
                      </a:lnTo>
                      <a:lnTo>
                        <a:pt x="2430" y="828"/>
                      </a:lnTo>
                      <a:lnTo>
                        <a:pt x="2418" y="822"/>
                      </a:lnTo>
                      <a:lnTo>
                        <a:pt x="2388" y="804"/>
                      </a:lnTo>
                      <a:lnTo>
                        <a:pt x="2352" y="792"/>
                      </a:lnTo>
                      <a:lnTo>
                        <a:pt x="2328" y="780"/>
                      </a:lnTo>
                      <a:lnTo>
                        <a:pt x="2268" y="780"/>
                      </a:lnTo>
                      <a:lnTo>
                        <a:pt x="2250" y="762"/>
                      </a:lnTo>
                      <a:lnTo>
                        <a:pt x="2244" y="780"/>
                      </a:lnTo>
                      <a:lnTo>
                        <a:pt x="2220" y="756"/>
                      </a:lnTo>
                      <a:lnTo>
                        <a:pt x="2214" y="756"/>
                      </a:lnTo>
                      <a:lnTo>
                        <a:pt x="2208" y="750"/>
                      </a:lnTo>
                      <a:lnTo>
                        <a:pt x="2196" y="744"/>
                      </a:lnTo>
                      <a:lnTo>
                        <a:pt x="2178" y="744"/>
                      </a:lnTo>
                      <a:lnTo>
                        <a:pt x="2154" y="732"/>
                      </a:lnTo>
                      <a:lnTo>
                        <a:pt x="2130" y="732"/>
                      </a:lnTo>
                      <a:lnTo>
                        <a:pt x="2118" y="738"/>
                      </a:lnTo>
                      <a:lnTo>
                        <a:pt x="2088" y="738"/>
                      </a:lnTo>
                      <a:lnTo>
                        <a:pt x="2076" y="732"/>
                      </a:lnTo>
                      <a:lnTo>
                        <a:pt x="2022" y="732"/>
                      </a:lnTo>
                      <a:lnTo>
                        <a:pt x="2016" y="738"/>
                      </a:lnTo>
                      <a:lnTo>
                        <a:pt x="2010" y="738"/>
                      </a:lnTo>
                      <a:lnTo>
                        <a:pt x="2004" y="744"/>
                      </a:lnTo>
                      <a:lnTo>
                        <a:pt x="2004" y="750"/>
                      </a:lnTo>
                      <a:lnTo>
                        <a:pt x="2016" y="762"/>
                      </a:lnTo>
                      <a:lnTo>
                        <a:pt x="2028" y="768"/>
                      </a:lnTo>
                      <a:lnTo>
                        <a:pt x="2040" y="780"/>
                      </a:lnTo>
                      <a:lnTo>
                        <a:pt x="2046" y="780"/>
                      </a:lnTo>
                      <a:lnTo>
                        <a:pt x="2022" y="810"/>
                      </a:lnTo>
                      <a:lnTo>
                        <a:pt x="2010" y="798"/>
                      </a:lnTo>
                      <a:lnTo>
                        <a:pt x="2010" y="828"/>
                      </a:lnTo>
                      <a:lnTo>
                        <a:pt x="1998" y="828"/>
                      </a:lnTo>
                      <a:lnTo>
                        <a:pt x="1986" y="822"/>
                      </a:lnTo>
                      <a:lnTo>
                        <a:pt x="1980" y="822"/>
                      </a:lnTo>
                      <a:lnTo>
                        <a:pt x="1974" y="816"/>
                      </a:lnTo>
                      <a:lnTo>
                        <a:pt x="1974" y="786"/>
                      </a:lnTo>
                      <a:lnTo>
                        <a:pt x="1968" y="780"/>
                      </a:lnTo>
                      <a:lnTo>
                        <a:pt x="1950" y="780"/>
                      </a:lnTo>
                      <a:lnTo>
                        <a:pt x="1938" y="786"/>
                      </a:lnTo>
                      <a:lnTo>
                        <a:pt x="1920" y="792"/>
                      </a:lnTo>
                      <a:lnTo>
                        <a:pt x="1908" y="804"/>
                      </a:lnTo>
                      <a:lnTo>
                        <a:pt x="1884" y="816"/>
                      </a:lnTo>
                      <a:lnTo>
                        <a:pt x="1866" y="816"/>
                      </a:lnTo>
                      <a:lnTo>
                        <a:pt x="1842" y="804"/>
                      </a:lnTo>
                      <a:lnTo>
                        <a:pt x="1824" y="804"/>
                      </a:lnTo>
                      <a:lnTo>
                        <a:pt x="1800" y="810"/>
                      </a:lnTo>
                      <a:lnTo>
                        <a:pt x="1782" y="816"/>
                      </a:lnTo>
                      <a:lnTo>
                        <a:pt x="1764" y="828"/>
                      </a:lnTo>
                      <a:lnTo>
                        <a:pt x="1752" y="834"/>
                      </a:lnTo>
                      <a:lnTo>
                        <a:pt x="1746" y="840"/>
                      </a:lnTo>
                      <a:lnTo>
                        <a:pt x="1680" y="840"/>
                      </a:lnTo>
                      <a:lnTo>
                        <a:pt x="1692" y="816"/>
                      </a:lnTo>
                      <a:lnTo>
                        <a:pt x="1692" y="780"/>
                      </a:lnTo>
                      <a:lnTo>
                        <a:pt x="1680" y="780"/>
                      </a:lnTo>
                      <a:lnTo>
                        <a:pt x="1668" y="786"/>
                      </a:lnTo>
                      <a:lnTo>
                        <a:pt x="1650" y="792"/>
                      </a:lnTo>
                      <a:lnTo>
                        <a:pt x="1638" y="792"/>
                      </a:lnTo>
                      <a:lnTo>
                        <a:pt x="1626" y="804"/>
                      </a:lnTo>
                      <a:lnTo>
                        <a:pt x="1626" y="816"/>
                      </a:lnTo>
                      <a:lnTo>
                        <a:pt x="1632" y="822"/>
                      </a:lnTo>
                      <a:lnTo>
                        <a:pt x="1632" y="828"/>
                      </a:lnTo>
                      <a:lnTo>
                        <a:pt x="1608" y="834"/>
                      </a:lnTo>
                      <a:lnTo>
                        <a:pt x="1608" y="810"/>
                      </a:lnTo>
                      <a:lnTo>
                        <a:pt x="1584" y="816"/>
                      </a:lnTo>
                      <a:lnTo>
                        <a:pt x="1530" y="822"/>
                      </a:lnTo>
                      <a:lnTo>
                        <a:pt x="1488" y="852"/>
                      </a:lnTo>
                      <a:lnTo>
                        <a:pt x="1440" y="858"/>
                      </a:lnTo>
                      <a:lnTo>
                        <a:pt x="1452" y="876"/>
                      </a:lnTo>
                      <a:lnTo>
                        <a:pt x="1440" y="876"/>
                      </a:lnTo>
                      <a:lnTo>
                        <a:pt x="1428" y="870"/>
                      </a:lnTo>
                      <a:lnTo>
                        <a:pt x="1422" y="870"/>
                      </a:lnTo>
                      <a:lnTo>
                        <a:pt x="1410" y="876"/>
                      </a:lnTo>
                      <a:lnTo>
                        <a:pt x="1404" y="882"/>
                      </a:lnTo>
                      <a:lnTo>
                        <a:pt x="1404" y="924"/>
                      </a:lnTo>
                      <a:lnTo>
                        <a:pt x="1332" y="930"/>
                      </a:lnTo>
                      <a:lnTo>
                        <a:pt x="1326" y="924"/>
                      </a:lnTo>
                      <a:lnTo>
                        <a:pt x="1314" y="918"/>
                      </a:lnTo>
                      <a:lnTo>
                        <a:pt x="1308" y="912"/>
                      </a:lnTo>
                      <a:lnTo>
                        <a:pt x="1266" y="912"/>
                      </a:lnTo>
                      <a:lnTo>
                        <a:pt x="1260" y="906"/>
                      </a:lnTo>
                      <a:lnTo>
                        <a:pt x="1260" y="876"/>
                      </a:lnTo>
                      <a:lnTo>
                        <a:pt x="1266" y="870"/>
                      </a:lnTo>
                      <a:lnTo>
                        <a:pt x="1266" y="864"/>
                      </a:lnTo>
                      <a:lnTo>
                        <a:pt x="1272" y="858"/>
                      </a:lnTo>
                      <a:lnTo>
                        <a:pt x="1284" y="864"/>
                      </a:lnTo>
                      <a:lnTo>
                        <a:pt x="1344" y="864"/>
                      </a:lnTo>
                      <a:lnTo>
                        <a:pt x="1332" y="858"/>
                      </a:lnTo>
                      <a:lnTo>
                        <a:pt x="1326" y="846"/>
                      </a:lnTo>
                      <a:lnTo>
                        <a:pt x="1314" y="840"/>
                      </a:lnTo>
                      <a:lnTo>
                        <a:pt x="1302" y="828"/>
                      </a:lnTo>
                      <a:lnTo>
                        <a:pt x="1290" y="822"/>
                      </a:lnTo>
                      <a:lnTo>
                        <a:pt x="1278" y="810"/>
                      </a:lnTo>
                      <a:lnTo>
                        <a:pt x="1152" y="810"/>
                      </a:lnTo>
                      <a:lnTo>
                        <a:pt x="1164" y="822"/>
                      </a:lnTo>
                      <a:lnTo>
                        <a:pt x="1188" y="822"/>
                      </a:lnTo>
                      <a:lnTo>
                        <a:pt x="1200" y="828"/>
                      </a:lnTo>
                      <a:lnTo>
                        <a:pt x="1200" y="846"/>
                      </a:lnTo>
                      <a:lnTo>
                        <a:pt x="1194" y="864"/>
                      </a:lnTo>
                      <a:lnTo>
                        <a:pt x="1194" y="876"/>
                      </a:lnTo>
                      <a:lnTo>
                        <a:pt x="1188" y="894"/>
                      </a:lnTo>
                      <a:lnTo>
                        <a:pt x="1188" y="918"/>
                      </a:lnTo>
                      <a:lnTo>
                        <a:pt x="1194" y="918"/>
                      </a:lnTo>
                      <a:lnTo>
                        <a:pt x="1206" y="924"/>
                      </a:lnTo>
                      <a:lnTo>
                        <a:pt x="1230" y="924"/>
                      </a:lnTo>
                      <a:lnTo>
                        <a:pt x="1236" y="930"/>
                      </a:lnTo>
                      <a:lnTo>
                        <a:pt x="1242" y="930"/>
                      </a:lnTo>
                      <a:lnTo>
                        <a:pt x="1236" y="966"/>
                      </a:lnTo>
                      <a:lnTo>
                        <a:pt x="1248" y="996"/>
                      </a:lnTo>
                      <a:lnTo>
                        <a:pt x="1212" y="972"/>
                      </a:lnTo>
                      <a:lnTo>
                        <a:pt x="1194" y="996"/>
                      </a:lnTo>
                      <a:lnTo>
                        <a:pt x="1188" y="966"/>
                      </a:lnTo>
                      <a:lnTo>
                        <a:pt x="1116" y="948"/>
                      </a:lnTo>
                      <a:lnTo>
                        <a:pt x="1086" y="984"/>
                      </a:lnTo>
                      <a:lnTo>
                        <a:pt x="1062" y="984"/>
                      </a:lnTo>
                      <a:lnTo>
                        <a:pt x="1056" y="996"/>
                      </a:lnTo>
                      <a:lnTo>
                        <a:pt x="1044" y="1002"/>
                      </a:lnTo>
                      <a:lnTo>
                        <a:pt x="1038" y="1008"/>
                      </a:lnTo>
                      <a:lnTo>
                        <a:pt x="1026" y="1014"/>
                      </a:lnTo>
                      <a:lnTo>
                        <a:pt x="1014" y="1014"/>
                      </a:lnTo>
                      <a:lnTo>
                        <a:pt x="1002" y="1020"/>
                      </a:lnTo>
                      <a:lnTo>
                        <a:pt x="1002" y="1032"/>
                      </a:lnTo>
                      <a:lnTo>
                        <a:pt x="1008" y="1038"/>
                      </a:lnTo>
                      <a:lnTo>
                        <a:pt x="1020" y="1044"/>
                      </a:lnTo>
                      <a:lnTo>
                        <a:pt x="1032" y="1056"/>
                      </a:lnTo>
                      <a:lnTo>
                        <a:pt x="1044" y="1062"/>
                      </a:lnTo>
                      <a:lnTo>
                        <a:pt x="1050" y="1068"/>
                      </a:lnTo>
                      <a:lnTo>
                        <a:pt x="1062" y="1074"/>
                      </a:lnTo>
                      <a:lnTo>
                        <a:pt x="1080" y="1104"/>
                      </a:lnTo>
                      <a:lnTo>
                        <a:pt x="1050" y="1086"/>
                      </a:lnTo>
                      <a:lnTo>
                        <a:pt x="1038" y="1092"/>
                      </a:lnTo>
                      <a:lnTo>
                        <a:pt x="1032" y="1098"/>
                      </a:lnTo>
                      <a:lnTo>
                        <a:pt x="1020" y="1098"/>
                      </a:lnTo>
                      <a:lnTo>
                        <a:pt x="1008" y="1092"/>
                      </a:lnTo>
                      <a:lnTo>
                        <a:pt x="996" y="1092"/>
                      </a:lnTo>
                      <a:lnTo>
                        <a:pt x="978" y="1086"/>
                      </a:lnTo>
                      <a:lnTo>
                        <a:pt x="966" y="1080"/>
                      </a:lnTo>
                      <a:lnTo>
                        <a:pt x="948" y="1080"/>
                      </a:lnTo>
                      <a:lnTo>
                        <a:pt x="936" y="1074"/>
                      </a:lnTo>
                      <a:lnTo>
                        <a:pt x="924" y="1074"/>
                      </a:lnTo>
                      <a:lnTo>
                        <a:pt x="918" y="1068"/>
                      </a:lnTo>
                      <a:lnTo>
                        <a:pt x="918" y="1056"/>
                      </a:lnTo>
                      <a:lnTo>
                        <a:pt x="906" y="1050"/>
                      </a:lnTo>
                      <a:lnTo>
                        <a:pt x="888" y="1050"/>
                      </a:lnTo>
                      <a:lnTo>
                        <a:pt x="864" y="1062"/>
                      </a:lnTo>
                      <a:lnTo>
                        <a:pt x="858" y="1068"/>
                      </a:lnTo>
                      <a:lnTo>
                        <a:pt x="840" y="1068"/>
                      </a:lnTo>
                      <a:lnTo>
                        <a:pt x="882" y="1104"/>
                      </a:lnTo>
                      <a:lnTo>
                        <a:pt x="900" y="1104"/>
                      </a:lnTo>
                      <a:lnTo>
                        <a:pt x="912" y="1110"/>
                      </a:lnTo>
                      <a:lnTo>
                        <a:pt x="924" y="1110"/>
                      </a:lnTo>
                      <a:lnTo>
                        <a:pt x="936" y="1116"/>
                      </a:lnTo>
                      <a:lnTo>
                        <a:pt x="942" y="1116"/>
                      </a:lnTo>
                      <a:lnTo>
                        <a:pt x="942" y="1122"/>
                      </a:lnTo>
                      <a:lnTo>
                        <a:pt x="936" y="1134"/>
                      </a:lnTo>
                      <a:lnTo>
                        <a:pt x="924" y="1140"/>
                      </a:lnTo>
                      <a:lnTo>
                        <a:pt x="918" y="1146"/>
                      </a:lnTo>
                      <a:lnTo>
                        <a:pt x="852" y="1128"/>
                      </a:lnTo>
                      <a:lnTo>
                        <a:pt x="840" y="1122"/>
                      </a:lnTo>
                      <a:lnTo>
                        <a:pt x="834" y="1116"/>
                      </a:lnTo>
                      <a:lnTo>
                        <a:pt x="822" y="1110"/>
                      </a:lnTo>
                      <a:lnTo>
                        <a:pt x="762" y="1110"/>
                      </a:lnTo>
                      <a:lnTo>
                        <a:pt x="756" y="1104"/>
                      </a:lnTo>
                      <a:lnTo>
                        <a:pt x="756" y="1056"/>
                      </a:lnTo>
                      <a:lnTo>
                        <a:pt x="738" y="1044"/>
                      </a:lnTo>
                      <a:lnTo>
                        <a:pt x="750" y="1032"/>
                      </a:lnTo>
                      <a:lnTo>
                        <a:pt x="756" y="1020"/>
                      </a:lnTo>
                      <a:lnTo>
                        <a:pt x="756" y="1002"/>
                      </a:lnTo>
                      <a:lnTo>
                        <a:pt x="738" y="990"/>
                      </a:lnTo>
                      <a:lnTo>
                        <a:pt x="702" y="978"/>
                      </a:lnTo>
                      <a:lnTo>
                        <a:pt x="672" y="972"/>
                      </a:lnTo>
                      <a:lnTo>
                        <a:pt x="660" y="966"/>
                      </a:lnTo>
                      <a:lnTo>
                        <a:pt x="630" y="948"/>
                      </a:lnTo>
                      <a:lnTo>
                        <a:pt x="606" y="930"/>
                      </a:lnTo>
                      <a:lnTo>
                        <a:pt x="594" y="912"/>
                      </a:lnTo>
                      <a:lnTo>
                        <a:pt x="630" y="912"/>
                      </a:lnTo>
                      <a:lnTo>
                        <a:pt x="630" y="924"/>
                      </a:lnTo>
                      <a:lnTo>
                        <a:pt x="642" y="924"/>
                      </a:lnTo>
                      <a:lnTo>
                        <a:pt x="654" y="930"/>
                      </a:lnTo>
                      <a:lnTo>
                        <a:pt x="672" y="930"/>
                      </a:lnTo>
                      <a:lnTo>
                        <a:pt x="690" y="936"/>
                      </a:lnTo>
                      <a:lnTo>
                        <a:pt x="720" y="936"/>
                      </a:lnTo>
                      <a:lnTo>
                        <a:pt x="732" y="942"/>
                      </a:lnTo>
                      <a:lnTo>
                        <a:pt x="738" y="954"/>
                      </a:lnTo>
                      <a:lnTo>
                        <a:pt x="762" y="966"/>
                      </a:lnTo>
                      <a:lnTo>
                        <a:pt x="816" y="966"/>
                      </a:lnTo>
                      <a:lnTo>
                        <a:pt x="846" y="972"/>
                      </a:lnTo>
                      <a:lnTo>
                        <a:pt x="858" y="972"/>
                      </a:lnTo>
                      <a:lnTo>
                        <a:pt x="870" y="978"/>
                      </a:lnTo>
                      <a:lnTo>
                        <a:pt x="894" y="984"/>
                      </a:lnTo>
                      <a:lnTo>
                        <a:pt x="930" y="990"/>
                      </a:lnTo>
                      <a:lnTo>
                        <a:pt x="978" y="984"/>
                      </a:lnTo>
                      <a:lnTo>
                        <a:pt x="1026" y="972"/>
                      </a:lnTo>
                      <a:lnTo>
                        <a:pt x="1062" y="954"/>
                      </a:lnTo>
                      <a:lnTo>
                        <a:pt x="1080" y="936"/>
                      </a:lnTo>
                      <a:lnTo>
                        <a:pt x="1074" y="912"/>
                      </a:lnTo>
                      <a:lnTo>
                        <a:pt x="1032" y="870"/>
                      </a:lnTo>
                      <a:lnTo>
                        <a:pt x="1014" y="858"/>
                      </a:lnTo>
                      <a:lnTo>
                        <a:pt x="996" y="852"/>
                      </a:lnTo>
                      <a:lnTo>
                        <a:pt x="948" y="840"/>
                      </a:lnTo>
                      <a:lnTo>
                        <a:pt x="900" y="822"/>
                      </a:lnTo>
                      <a:lnTo>
                        <a:pt x="828" y="798"/>
                      </a:lnTo>
                      <a:lnTo>
                        <a:pt x="792" y="780"/>
                      </a:lnTo>
                      <a:lnTo>
                        <a:pt x="756" y="774"/>
                      </a:lnTo>
                      <a:lnTo>
                        <a:pt x="624" y="774"/>
                      </a:lnTo>
                      <a:lnTo>
                        <a:pt x="612" y="756"/>
                      </a:lnTo>
                      <a:lnTo>
                        <a:pt x="588" y="762"/>
                      </a:lnTo>
                      <a:lnTo>
                        <a:pt x="552" y="744"/>
                      </a:lnTo>
                      <a:lnTo>
                        <a:pt x="588" y="738"/>
                      </a:lnTo>
                      <a:lnTo>
                        <a:pt x="606" y="726"/>
                      </a:lnTo>
                      <a:lnTo>
                        <a:pt x="600" y="726"/>
                      </a:lnTo>
                      <a:lnTo>
                        <a:pt x="594" y="720"/>
                      </a:lnTo>
                      <a:lnTo>
                        <a:pt x="582" y="720"/>
                      </a:lnTo>
                      <a:lnTo>
                        <a:pt x="564" y="714"/>
                      </a:lnTo>
                      <a:lnTo>
                        <a:pt x="546" y="714"/>
                      </a:lnTo>
                      <a:lnTo>
                        <a:pt x="534" y="708"/>
                      </a:lnTo>
                      <a:lnTo>
                        <a:pt x="522" y="720"/>
                      </a:lnTo>
                      <a:lnTo>
                        <a:pt x="522" y="726"/>
                      </a:lnTo>
                      <a:lnTo>
                        <a:pt x="516" y="732"/>
                      </a:lnTo>
                      <a:lnTo>
                        <a:pt x="498" y="732"/>
                      </a:lnTo>
                      <a:lnTo>
                        <a:pt x="486" y="744"/>
                      </a:lnTo>
                      <a:lnTo>
                        <a:pt x="450" y="744"/>
                      </a:lnTo>
                      <a:lnTo>
                        <a:pt x="444" y="756"/>
                      </a:lnTo>
                      <a:lnTo>
                        <a:pt x="420" y="762"/>
                      </a:lnTo>
                      <a:lnTo>
                        <a:pt x="420" y="768"/>
                      </a:lnTo>
                      <a:lnTo>
                        <a:pt x="414" y="780"/>
                      </a:lnTo>
                      <a:lnTo>
                        <a:pt x="390" y="780"/>
                      </a:lnTo>
                      <a:lnTo>
                        <a:pt x="384" y="792"/>
                      </a:lnTo>
                      <a:lnTo>
                        <a:pt x="396" y="804"/>
                      </a:lnTo>
                      <a:lnTo>
                        <a:pt x="396" y="810"/>
                      </a:lnTo>
                      <a:lnTo>
                        <a:pt x="378" y="810"/>
                      </a:lnTo>
                      <a:lnTo>
                        <a:pt x="378" y="822"/>
                      </a:lnTo>
                      <a:lnTo>
                        <a:pt x="384" y="834"/>
                      </a:lnTo>
                      <a:lnTo>
                        <a:pt x="384" y="840"/>
                      </a:lnTo>
                      <a:lnTo>
                        <a:pt x="390" y="846"/>
                      </a:lnTo>
                      <a:lnTo>
                        <a:pt x="396" y="846"/>
                      </a:lnTo>
                      <a:lnTo>
                        <a:pt x="402" y="840"/>
                      </a:lnTo>
                      <a:lnTo>
                        <a:pt x="420" y="840"/>
                      </a:lnTo>
                      <a:lnTo>
                        <a:pt x="468" y="888"/>
                      </a:lnTo>
                      <a:lnTo>
                        <a:pt x="468" y="900"/>
                      </a:lnTo>
                      <a:lnTo>
                        <a:pt x="462" y="900"/>
                      </a:lnTo>
                      <a:lnTo>
                        <a:pt x="450" y="906"/>
                      </a:lnTo>
                      <a:lnTo>
                        <a:pt x="444" y="906"/>
                      </a:lnTo>
                      <a:lnTo>
                        <a:pt x="444" y="918"/>
                      </a:lnTo>
                      <a:lnTo>
                        <a:pt x="438" y="918"/>
                      </a:lnTo>
                      <a:lnTo>
                        <a:pt x="426" y="924"/>
                      </a:lnTo>
                      <a:lnTo>
                        <a:pt x="420" y="930"/>
                      </a:lnTo>
                      <a:lnTo>
                        <a:pt x="438" y="948"/>
                      </a:lnTo>
                      <a:lnTo>
                        <a:pt x="450" y="954"/>
                      </a:lnTo>
                      <a:lnTo>
                        <a:pt x="456" y="966"/>
                      </a:lnTo>
                      <a:lnTo>
                        <a:pt x="468" y="972"/>
                      </a:lnTo>
                      <a:lnTo>
                        <a:pt x="492" y="996"/>
                      </a:lnTo>
                      <a:lnTo>
                        <a:pt x="504" y="1002"/>
                      </a:lnTo>
                      <a:lnTo>
                        <a:pt x="510" y="1008"/>
                      </a:lnTo>
                      <a:lnTo>
                        <a:pt x="510" y="1014"/>
                      </a:lnTo>
                      <a:lnTo>
                        <a:pt x="504" y="1020"/>
                      </a:lnTo>
                      <a:lnTo>
                        <a:pt x="492" y="1020"/>
                      </a:lnTo>
                      <a:lnTo>
                        <a:pt x="480" y="1014"/>
                      </a:lnTo>
                      <a:lnTo>
                        <a:pt x="474" y="1014"/>
                      </a:lnTo>
                      <a:lnTo>
                        <a:pt x="468" y="1044"/>
                      </a:lnTo>
                      <a:lnTo>
                        <a:pt x="480" y="1056"/>
                      </a:lnTo>
                      <a:lnTo>
                        <a:pt x="480" y="1068"/>
                      </a:lnTo>
                      <a:lnTo>
                        <a:pt x="492" y="1068"/>
                      </a:lnTo>
                      <a:lnTo>
                        <a:pt x="498" y="1074"/>
                      </a:lnTo>
                      <a:lnTo>
                        <a:pt x="504" y="1074"/>
                      </a:lnTo>
                      <a:lnTo>
                        <a:pt x="510" y="1080"/>
                      </a:lnTo>
                      <a:lnTo>
                        <a:pt x="510" y="1086"/>
                      </a:lnTo>
                      <a:lnTo>
                        <a:pt x="504" y="1092"/>
                      </a:lnTo>
                      <a:lnTo>
                        <a:pt x="498" y="1104"/>
                      </a:lnTo>
                      <a:lnTo>
                        <a:pt x="522" y="1110"/>
                      </a:lnTo>
                      <a:lnTo>
                        <a:pt x="534" y="1116"/>
                      </a:lnTo>
                      <a:lnTo>
                        <a:pt x="540" y="1122"/>
                      </a:lnTo>
                      <a:lnTo>
                        <a:pt x="540" y="1128"/>
                      </a:lnTo>
                      <a:lnTo>
                        <a:pt x="516" y="1152"/>
                      </a:lnTo>
                      <a:lnTo>
                        <a:pt x="510" y="1152"/>
                      </a:lnTo>
                      <a:lnTo>
                        <a:pt x="582" y="1188"/>
                      </a:lnTo>
                      <a:lnTo>
                        <a:pt x="588" y="1200"/>
                      </a:lnTo>
                      <a:lnTo>
                        <a:pt x="594" y="1206"/>
                      </a:lnTo>
                      <a:lnTo>
                        <a:pt x="600" y="1218"/>
                      </a:lnTo>
                      <a:lnTo>
                        <a:pt x="600" y="1230"/>
                      </a:lnTo>
                      <a:lnTo>
                        <a:pt x="594" y="1236"/>
                      </a:lnTo>
                      <a:lnTo>
                        <a:pt x="588" y="1248"/>
                      </a:lnTo>
                      <a:lnTo>
                        <a:pt x="552" y="1284"/>
                      </a:lnTo>
                      <a:lnTo>
                        <a:pt x="546" y="1284"/>
                      </a:lnTo>
                      <a:lnTo>
                        <a:pt x="486" y="1344"/>
                      </a:lnTo>
                      <a:lnTo>
                        <a:pt x="426" y="1374"/>
                      </a:lnTo>
                      <a:lnTo>
                        <a:pt x="432" y="1386"/>
                      </a:lnTo>
                      <a:lnTo>
                        <a:pt x="462" y="1368"/>
                      </a:lnTo>
                      <a:lnTo>
                        <a:pt x="468" y="1386"/>
                      </a:lnTo>
                      <a:lnTo>
                        <a:pt x="480" y="1398"/>
                      </a:lnTo>
                      <a:lnTo>
                        <a:pt x="492" y="1404"/>
                      </a:lnTo>
                      <a:lnTo>
                        <a:pt x="498" y="1410"/>
                      </a:lnTo>
                      <a:lnTo>
                        <a:pt x="546" y="1410"/>
                      </a:lnTo>
                      <a:lnTo>
                        <a:pt x="558" y="1428"/>
                      </a:lnTo>
                      <a:lnTo>
                        <a:pt x="546" y="1428"/>
                      </a:lnTo>
                      <a:lnTo>
                        <a:pt x="534" y="1422"/>
                      </a:lnTo>
                      <a:lnTo>
                        <a:pt x="504" y="1422"/>
                      </a:lnTo>
                      <a:lnTo>
                        <a:pt x="492" y="1434"/>
                      </a:lnTo>
                      <a:lnTo>
                        <a:pt x="492" y="1440"/>
                      </a:lnTo>
                      <a:lnTo>
                        <a:pt x="456" y="1440"/>
                      </a:lnTo>
                      <a:lnTo>
                        <a:pt x="450" y="1470"/>
                      </a:lnTo>
                      <a:lnTo>
                        <a:pt x="438" y="1470"/>
                      </a:lnTo>
                      <a:lnTo>
                        <a:pt x="432" y="1482"/>
                      </a:lnTo>
                      <a:lnTo>
                        <a:pt x="438" y="1494"/>
                      </a:lnTo>
                      <a:lnTo>
                        <a:pt x="432" y="1500"/>
                      </a:lnTo>
                      <a:lnTo>
                        <a:pt x="426" y="1500"/>
                      </a:lnTo>
                      <a:lnTo>
                        <a:pt x="414" y="1512"/>
                      </a:lnTo>
                      <a:lnTo>
                        <a:pt x="414" y="1530"/>
                      </a:lnTo>
                      <a:lnTo>
                        <a:pt x="432" y="1536"/>
                      </a:lnTo>
                      <a:lnTo>
                        <a:pt x="420" y="1560"/>
                      </a:lnTo>
                      <a:lnTo>
                        <a:pt x="432" y="1566"/>
                      </a:lnTo>
                      <a:lnTo>
                        <a:pt x="444" y="1584"/>
                      </a:lnTo>
                      <a:lnTo>
                        <a:pt x="426" y="1596"/>
                      </a:lnTo>
                      <a:lnTo>
                        <a:pt x="426" y="1608"/>
                      </a:lnTo>
                      <a:lnTo>
                        <a:pt x="432" y="1608"/>
                      </a:lnTo>
                      <a:lnTo>
                        <a:pt x="444" y="1620"/>
                      </a:lnTo>
                      <a:lnTo>
                        <a:pt x="456" y="1626"/>
                      </a:lnTo>
                      <a:lnTo>
                        <a:pt x="462" y="1632"/>
                      </a:lnTo>
                      <a:lnTo>
                        <a:pt x="462" y="1638"/>
                      </a:lnTo>
                      <a:lnTo>
                        <a:pt x="444" y="1638"/>
                      </a:lnTo>
                      <a:lnTo>
                        <a:pt x="438" y="1656"/>
                      </a:lnTo>
                      <a:lnTo>
                        <a:pt x="462" y="1662"/>
                      </a:lnTo>
                      <a:lnTo>
                        <a:pt x="468" y="1668"/>
                      </a:lnTo>
                      <a:lnTo>
                        <a:pt x="474" y="1680"/>
                      </a:lnTo>
                      <a:lnTo>
                        <a:pt x="486" y="1692"/>
                      </a:lnTo>
                      <a:lnTo>
                        <a:pt x="486" y="1716"/>
                      </a:lnTo>
                      <a:lnTo>
                        <a:pt x="510" y="1716"/>
                      </a:lnTo>
                      <a:lnTo>
                        <a:pt x="516" y="1722"/>
                      </a:lnTo>
                      <a:lnTo>
                        <a:pt x="516" y="1728"/>
                      </a:lnTo>
                      <a:lnTo>
                        <a:pt x="528" y="1722"/>
                      </a:lnTo>
                      <a:lnTo>
                        <a:pt x="564" y="1728"/>
                      </a:lnTo>
                      <a:lnTo>
                        <a:pt x="570" y="1746"/>
                      </a:lnTo>
                      <a:lnTo>
                        <a:pt x="600" y="1728"/>
                      </a:lnTo>
                      <a:lnTo>
                        <a:pt x="606" y="1728"/>
                      </a:lnTo>
                      <a:lnTo>
                        <a:pt x="612" y="1734"/>
                      </a:lnTo>
                      <a:lnTo>
                        <a:pt x="648" y="1752"/>
                      </a:lnTo>
                      <a:lnTo>
                        <a:pt x="654" y="1758"/>
                      </a:lnTo>
                      <a:lnTo>
                        <a:pt x="654" y="1770"/>
                      </a:lnTo>
                      <a:lnTo>
                        <a:pt x="648" y="1776"/>
                      </a:lnTo>
                      <a:lnTo>
                        <a:pt x="660" y="1794"/>
                      </a:lnTo>
                      <a:lnTo>
                        <a:pt x="654" y="1812"/>
                      </a:lnTo>
                      <a:lnTo>
                        <a:pt x="660" y="1818"/>
                      </a:lnTo>
                      <a:lnTo>
                        <a:pt x="672" y="1824"/>
                      </a:lnTo>
                      <a:lnTo>
                        <a:pt x="690" y="1842"/>
                      </a:lnTo>
                      <a:lnTo>
                        <a:pt x="690" y="1854"/>
                      </a:lnTo>
                      <a:lnTo>
                        <a:pt x="720" y="1866"/>
                      </a:lnTo>
                      <a:lnTo>
                        <a:pt x="720" y="1890"/>
                      </a:lnTo>
                      <a:lnTo>
                        <a:pt x="756" y="1890"/>
                      </a:lnTo>
                      <a:lnTo>
                        <a:pt x="762" y="1896"/>
                      </a:lnTo>
                      <a:lnTo>
                        <a:pt x="768" y="1896"/>
                      </a:lnTo>
                      <a:lnTo>
                        <a:pt x="768" y="1902"/>
                      </a:lnTo>
                      <a:lnTo>
                        <a:pt x="762" y="1908"/>
                      </a:lnTo>
                      <a:lnTo>
                        <a:pt x="786" y="1920"/>
                      </a:lnTo>
                      <a:lnTo>
                        <a:pt x="774" y="1926"/>
                      </a:lnTo>
                      <a:lnTo>
                        <a:pt x="768" y="1938"/>
                      </a:lnTo>
                      <a:lnTo>
                        <a:pt x="744" y="1950"/>
                      </a:lnTo>
                      <a:lnTo>
                        <a:pt x="738" y="1950"/>
                      </a:lnTo>
                      <a:lnTo>
                        <a:pt x="732" y="1944"/>
                      </a:lnTo>
                      <a:lnTo>
                        <a:pt x="726" y="1944"/>
                      </a:lnTo>
                      <a:lnTo>
                        <a:pt x="726" y="1938"/>
                      </a:lnTo>
                      <a:lnTo>
                        <a:pt x="702" y="1938"/>
                      </a:lnTo>
                      <a:lnTo>
                        <a:pt x="696" y="1944"/>
                      </a:lnTo>
                      <a:lnTo>
                        <a:pt x="696" y="1950"/>
                      </a:lnTo>
                      <a:lnTo>
                        <a:pt x="720" y="1974"/>
                      </a:lnTo>
                      <a:lnTo>
                        <a:pt x="720" y="1992"/>
                      </a:lnTo>
                      <a:lnTo>
                        <a:pt x="726" y="1998"/>
                      </a:lnTo>
                      <a:lnTo>
                        <a:pt x="732" y="2010"/>
                      </a:lnTo>
                      <a:lnTo>
                        <a:pt x="732" y="2028"/>
                      </a:lnTo>
                      <a:lnTo>
                        <a:pt x="720" y="2028"/>
                      </a:lnTo>
                      <a:lnTo>
                        <a:pt x="714" y="2022"/>
                      </a:lnTo>
                      <a:lnTo>
                        <a:pt x="708" y="2022"/>
                      </a:lnTo>
                      <a:lnTo>
                        <a:pt x="720" y="2028"/>
                      </a:lnTo>
                      <a:lnTo>
                        <a:pt x="768" y="2028"/>
                      </a:lnTo>
                      <a:lnTo>
                        <a:pt x="774" y="2022"/>
                      </a:lnTo>
                      <a:lnTo>
                        <a:pt x="774" y="2010"/>
                      </a:lnTo>
                      <a:lnTo>
                        <a:pt x="804" y="2010"/>
                      </a:lnTo>
                      <a:lnTo>
                        <a:pt x="816" y="2004"/>
                      </a:lnTo>
                      <a:lnTo>
                        <a:pt x="864" y="2004"/>
                      </a:lnTo>
                      <a:lnTo>
                        <a:pt x="870" y="2022"/>
                      </a:lnTo>
                      <a:lnTo>
                        <a:pt x="876" y="2022"/>
                      </a:lnTo>
                      <a:lnTo>
                        <a:pt x="882" y="2028"/>
                      </a:lnTo>
                      <a:lnTo>
                        <a:pt x="894" y="2034"/>
                      </a:lnTo>
                      <a:lnTo>
                        <a:pt x="900" y="2034"/>
                      </a:lnTo>
                      <a:lnTo>
                        <a:pt x="900" y="2046"/>
                      </a:lnTo>
                      <a:lnTo>
                        <a:pt x="894" y="2052"/>
                      </a:lnTo>
                      <a:lnTo>
                        <a:pt x="888" y="2052"/>
                      </a:lnTo>
                      <a:lnTo>
                        <a:pt x="894" y="2070"/>
                      </a:lnTo>
                      <a:lnTo>
                        <a:pt x="894" y="2088"/>
                      </a:lnTo>
                      <a:lnTo>
                        <a:pt x="930" y="2088"/>
                      </a:lnTo>
                      <a:lnTo>
                        <a:pt x="972" y="2106"/>
                      </a:lnTo>
                      <a:lnTo>
                        <a:pt x="984" y="2154"/>
                      </a:lnTo>
                      <a:lnTo>
                        <a:pt x="990" y="2154"/>
                      </a:lnTo>
                      <a:lnTo>
                        <a:pt x="1014" y="2148"/>
                      </a:lnTo>
                      <a:lnTo>
                        <a:pt x="1020" y="2154"/>
                      </a:lnTo>
                      <a:lnTo>
                        <a:pt x="1032" y="2154"/>
                      </a:lnTo>
                      <a:lnTo>
                        <a:pt x="1038" y="2160"/>
                      </a:lnTo>
                      <a:lnTo>
                        <a:pt x="1086" y="2160"/>
                      </a:lnTo>
                      <a:lnTo>
                        <a:pt x="1092" y="2166"/>
                      </a:lnTo>
                      <a:lnTo>
                        <a:pt x="1092" y="2160"/>
                      </a:lnTo>
                      <a:lnTo>
                        <a:pt x="1098" y="2154"/>
                      </a:lnTo>
                      <a:lnTo>
                        <a:pt x="1110" y="2154"/>
                      </a:lnTo>
                      <a:lnTo>
                        <a:pt x="1116" y="2166"/>
                      </a:lnTo>
                      <a:lnTo>
                        <a:pt x="1140" y="2190"/>
                      </a:lnTo>
                      <a:lnTo>
                        <a:pt x="1152" y="2184"/>
                      </a:lnTo>
                      <a:lnTo>
                        <a:pt x="1170" y="2184"/>
                      </a:lnTo>
                      <a:lnTo>
                        <a:pt x="1176" y="2190"/>
                      </a:lnTo>
                      <a:lnTo>
                        <a:pt x="1188" y="2196"/>
                      </a:lnTo>
                      <a:lnTo>
                        <a:pt x="1230" y="2196"/>
                      </a:lnTo>
                      <a:lnTo>
                        <a:pt x="1230" y="2202"/>
                      </a:lnTo>
                      <a:lnTo>
                        <a:pt x="1236" y="2208"/>
                      </a:lnTo>
                      <a:lnTo>
                        <a:pt x="1254" y="2220"/>
                      </a:lnTo>
                      <a:lnTo>
                        <a:pt x="1278" y="2220"/>
                      </a:lnTo>
                      <a:lnTo>
                        <a:pt x="1284" y="2226"/>
                      </a:lnTo>
                      <a:lnTo>
                        <a:pt x="1284" y="2250"/>
                      </a:lnTo>
                      <a:lnTo>
                        <a:pt x="1266" y="2262"/>
                      </a:lnTo>
                      <a:lnTo>
                        <a:pt x="1272" y="2262"/>
                      </a:lnTo>
                      <a:lnTo>
                        <a:pt x="1278" y="2268"/>
                      </a:lnTo>
                      <a:lnTo>
                        <a:pt x="1284" y="2268"/>
                      </a:lnTo>
                      <a:lnTo>
                        <a:pt x="1290" y="2274"/>
                      </a:lnTo>
                      <a:lnTo>
                        <a:pt x="1284" y="2280"/>
                      </a:lnTo>
                      <a:lnTo>
                        <a:pt x="1266" y="2280"/>
                      </a:lnTo>
                      <a:lnTo>
                        <a:pt x="1260" y="2286"/>
                      </a:lnTo>
                      <a:lnTo>
                        <a:pt x="1272" y="2298"/>
                      </a:lnTo>
                      <a:lnTo>
                        <a:pt x="1284" y="2304"/>
                      </a:lnTo>
                      <a:lnTo>
                        <a:pt x="1284" y="2316"/>
                      </a:lnTo>
                      <a:lnTo>
                        <a:pt x="1290" y="2328"/>
                      </a:lnTo>
                      <a:lnTo>
                        <a:pt x="1290" y="2334"/>
                      </a:lnTo>
                      <a:lnTo>
                        <a:pt x="1278" y="2346"/>
                      </a:lnTo>
                      <a:lnTo>
                        <a:pt x="1266" y="2346"/>
                      </a:lnTo>
                      <a:lnTo>
                        <a:pt x="1254" y="2352"/>
                      </a:lnTo>
                      <a:lnTo>
                        <a:pt x="1224" y="2352"/>
                      </a:lnTo>
                      <a:lnTo>
                        <a:pt x="1212" y="2364"/>
                      </a:lnTo>
                      <a:lnTo>
                        <a:pt x="1212" y="2370"/>
                      </a:lnTo>
                      <a:lnTo>
                        <a:pt x="1206" y="2376"/>
                      </a:lnTo>
                      <a:lnTo>
                        <a:pt x="1188" y="2376"/>
                      </a:lnTo>
                      <a:lnTo>
                        <a:pt x="1188" y="2412"/>
                      </a:lnTo>
                      <a:lnTo>
                        <a:pt x="1194" y="2412"/>
                      </a:lnTo>
                      <a:lnTo>
                        <a:pt x="1200" y="2406"/>
                      </a:lnTo>
                      <a:lnTo>
                        <a:pt x="1212" y="2406"/>
                      </a:lnTo>
                      <a:lnTo>
                        <a:pt x="1224" y="2400"/>
                      </a:lnTo>
                      <a:lnTo>
                        <a:pt x="1254" y="2400"/>
                      </a:lnTo>
                      <a:lnTo>
                        <a:pt x="1254" y="2412"/>
                      </a:lnTo>
                      <a:lnTo>
                        <a:pt x="1248" y="2418"/>
                      </a:lnTo>
                      <a:lnTo>
                        <a:pt x="1242" y="2430"/>
                      </a:lnTo>
                      <a:lnTo>
                        <a:pt x="1230" y="2436"/>
                      </a:lnTo>
                      <a:lnTo>
                        <a:pt x="1224" y="2442"/>
                      </a:lnTo>
                      <a:lnTo>
                        <a:pt x="1170" y="2454"/>
                      </a:lnTo>
                      <a:lnTo>
                        <a:pt x="1218" y="2490"/>
                      </a:lnTo>
                      <a:lnTo>
                        <a:pt x="1212" y="2490"/>
                      </a:lnTo>
                      <a:lnTo>
                        <a:pt x="1206" y="2496"/>
                      </a:lnTo>
                      <a:lnTo>
                        <a:pt x="1194" y="2496"/>
                      </a:lnTo>
                      <a:lnTo>
                        <a:pt x="1188" y="2502"/>
                      </a:lnTo>
                      <a:lnTo>
                        <a:pt x="1176" y="2526"/>
                      </a:lnTo>
                      <a:lnTo>
                        <a:pt x="1176" y="2544"/>
                      </a:lnTo>
                      <a:lnTo>
                        <a:pt x="1164" y="2550"/>
                      </a:lnTo>
                      <a:lnTo>
                        <a:pt x="1158" y="2556"/>
                      </a:lnTo>
                      <a:lnTo>
                        <a:pt x="1146" y="2556"/>
                      </a:lnTo>
                      <a:lnTo>
                        <a:pt x="1140" y="2550"/>
                      </a:lnTo>
                      <a:lnTo>
                        <a:pt x="1128" y="2544"/>
                      </a:lnTo>
                      <a:lnTo>
                        <a:pt x="1122" y="2538"/>
                      </a:lnTo>
                      <a:lnTo>
                        <a:pt x="1116" y="2556"/>
                      </a:lnTo>
                      <a:lnTo>
                        <a:pt x="1122" y="2562"/>
                      </a:lnTo>
                      <a:lnTo>
                        <a:pt x="1128" y="2574"/>
                      </a:lnTo>
                      <a:lnTo>
                        <a:pt x="1134" y="2580"/>
                      </a:lnTo>
                      <a:lnTo>
                        <a:pt x="1146" y="2580"/>
                      </a:lnTo>
                      <a:lnTo>
                        <a:pt x="1146" y="2586"/>
                      </a:lnTo>
                      <a:lnTo>
                        <a:pt x="1152" y="2598"/>
                      </a:lnTo>
                      <a:lnTo>
                        <a:pt x="1158" y="2604"/>
                      </a:lnTo>
                      <a:lnTo>
                        <a:pt x="1194" y="2604"/>
                      </a:lnTo>
                      <a:lnTo>
                        <a:pt x="1200" y="2610"/>
                      </a:lnTo>
                      <a:lnTo>
                        <a:pt x="1212" y="2616"/>
                      </a:lnTo>
                      <a:lnTo>
                        <a:pt x="1218" y="2628"/>
                      </a:lnTo>
                      <a:lnTo>
                        <a:pt x="1224" y="2634"/>
                      </a:lnTo>
                      <a:lnTo>
                        <a:pt x="1254" y="2634"/>
                      </a:lnTo>
                      <a:lnTo>
                        <a:pt x="1272" y="2652"/>
                      </a:lnTo>
                      <a:lnTo>
                        <a:pt x="1278" y="2664"/>
                      </a:lnTo>
                      <a:lnTo>
                        <a:pt x="1290" y="2670"/>
                      </a:lnTo>
                      <a:lnTo>
                        <a:pt x="1314" y="2694"/>
                      </a:lnTo>
                      <a:lnTo>
                        <a:pt x="1320" y="2694"/>
                      </a:lnTo>
                      <a:lnTo>
                        <a:pt x="1332" y="2700"/>
                      </a:lnTo>
                      <a:lnTo>
                        <a:pt x="1338" y="2700"/>
                      </a:lnTo>
                      <a:lnTo>
                        <a:pt x="1350" y="2706"/>
                      </a:lnTo>
                      <a:lnTo>
                        <a:pt x="1344" y="2706"/>
                      </a:lnTo>
                      <a:lnTo>
                        <a:pt x="1368" y="2688"/>
                      </a:lnTo>
                      <a:lnTo>
                        <a:pt x="1380" y="2688"/>
                      </a:lnTo>
                      <a:lnTo>
                        <a:pt x="1398" y="2694"/>
                      </a:lnTo>
                      <a:lnTo>
                        <a:pt x="1410" y="2700"/>
                      </a:lnTo>
                      <a:lnTo>
                        <a:pt x="1428" y="2706"/>
                      </a:lnTo>
                      <a:lnTo>
                        <a:pt x="1488" y="2718"/>
                      </a:lnTo>
                      <a:lnTo>
                        <a:pt x="1524" y="2718"/>
                      </a:lnTo>
                      <a:lnTo>
                        <a:pt x="1530" y="2724"/>
                      </a:lnTo>
                      <a:lnTo>
                        <a:pt x="1536" y="2724"/>
                      </a:lnTo>
                      <a:lnTo>
                        <a:pt x="1584" y="2754"/>
                      </a:lnTo>
                      <a:lnTo>
                        <a:pt x="1584" y="2760"/>
                      </a:lnTo>
                      <a:lnTo>
                        <a:pt x="1590" y="2760"/>
                      </a:lnTo>
                      <a:lnTo>
                        <a:pt x="1602" y="2766"/>
                      </a:lnTo>
                      <a:lnTo>
                        <a:pt x="1626" y="2766"/>
                      </a:lnTo>
                      <a:lnTo>
                        <a:pt x="1632" y="2760"/>
                      </a:lnTo>
                      <a:lnTo>
                        <a:pt x="1644" y="2760"/>
                      </a:lnTo>
                      <a:lnTo>
                        <a:pt x="1644" y="2754"/>
                      </a:lnTo>
                      <a:lnTo>
                        <a:pt x="1674" y="2754"/>
                      </a:lnTo>
                      <a:lnTo>
                        <a:pt x="1686" y="2760"/>
                      </a:lnTo>
                      <a:lnTo>
                        <a:pt x="1698" y="2772"/>
                      </a:lnTo>
                      <a:lnTo>
                        <a:pt x="1728" y="2778"/>
                      </a:lnTo>
                      <a:lnTo>
                        <a:pt x="1728" y="2790"/>
                      </a:lnTo>
                      <a:lnTo>
                        <a:pt x="1722" y="2796"/>
                      </a:lnTo>
                      <a:lnTo>
                        <a:pt x="1722" y="2802"/>
                      </a:lnTo>
                      <a:lnTo>
                        <a:pt x="1740" y="2802"/>
                      </a:lnTo>
                      <a:lnTo>
                        <a:pt x="1752" y="2814"/>
                      </a:lnTo>
                      <a:lnTo>
                        <a:pt x="1764" y="2820"/>
                      </a:lnTo>
                      <a:lnTo>
                        <a:pt x="1776" y="2832"/>
                      </a:lnTo>
                      <a:lnTo>
                        <a:pt x="1788" y="2826"/>
                      </a:lnTo>
                      <a:lnTo>
                        <a:pt x="1794" y="2826"/>
                      </a:lnTo>
                      <a:lnTo>
                        <a:pt x="1818" y="2838"/>
                      </a:lnTo>
                      <a:lnTo>
                        <a:pt x="1836" y="2856"/>
                      </a:lnTo>
                      <a:lnTo>
                        <a:pt x="1842" y="2868"/>
                      </a:lnTo>
                      <a:lnTo>
                        <a:pt x="1854" y="2874"/>
                      </a:lnTo>
                      <a:lnTo>
                        <a:pt x="1860" y="2880"/>
                      </a:lnTo>
                      <a:lnTo>
                        <a:pt x="1884" y="2880"/>
                      </a:lnTo>
                      <a:lnTo>
                        <a:pt x="1890" y="2874"/>
                      </a:lnTo>
                      <a:lnTo>
                        <a:pt x="1890" y="2862"/>
                      </a:lnTo>
                      <a:lnTo>
                        <a:pt x="1908" y="2862"/>
                      </a:lnTo>
                      <a:lnTo>
                        <a:pt x="1914" y="2856"/>
                      </a:lnTo>
                      <a:lnTo>
                        <a:pt x="1914" y="2826"/>
                      </a:lnTo>
                      <a:lnTo>
                        <a:pt x="1908" y="2820"/>
                      </a:lnTo>
                      <a:lnTo>
                        <a:pt x="1908" y="2814"/>
                      </a:lnTo>
                      <a:lnTo>
                        <a:pt x="1896" y="2802"/>
                      </a:lnTo>
                      <a:lnTo>
                        <a:pt x="1890" y="2790"/>
                      </a:lnTo>
                      <a:lnTo>
                        <a:pt x="1884" y="2784"/>
                      </a:lnTo>
                      <a:lnTo>
                        <a:pt x="1872" y="2778"/>
                      </a:lnTo>
                      <a:lnTo>
                        <a:pt x="1866" y="2772"/>
                      </a:lnTo>
                      <a:lnTo>
                        <a:pt x="1854" y="2772"/>
                      </a:lnTo>
                      <a:lnTo>
                        <a:pt x="1854" y="2748"/>
                      </a:lnTo>
                      <a:lnTo>
                        <a:pt x="1848" y="2742"/>
                      </a:lnTo>
                      <a:lnTo>
                        <a:pt x="1836" y="2736"/>
                      </a:lnTo>
                      <a:lnTo>
                        <a:pt x="1830" y="2724"/>
                      </a:lnTo>
                      <a:lnTo>
                        <a:pt x="1824" y="2718"/>
                      </a:lnTo>
                      <a:lnTo>
                        <a:pt x="1824" y="2706"/>
                      </a:lnTo>
                      <a:lnTo>
                        <a:pt x="1830" y="2694"/>
                      </a:lnTo>
                      <a:lnTo>
                        <a:pt x="1830" y="2682"/>
                      </a:lnTo>
                      <a:lnTo>
                        <a:pt x="1818" y="2658"/>
                      </a:lnTo>
                      <a:lnTo>
                        <a:pt x="1812" y="2652"/>
                      </a:lnTo>
                      <a:lnTo>
                        <a:pt x="1806" y="2640"/>
                      </a:lnTo>
                      <a:lnTo>
                        <a:pt x="1794" y="2634"/>
                      </a:lnTo>
                      <a:lnTo>
                        <a:pt x="1788" y="2628"/>
                      </a:lnTo>
                      <a:lnTo>
                        <a:pt x="1776" y="2628"/>
                      </a:lnTo>
                      <a:lnTo>
                        <a:pt x="1758" y="2622"/>
                      </a:lnTo>
                      <a:lnTo>
                        <a:pt x="1758" y="2604"/>
                      </a:lnTo>
                      <a:lnTo>
                        <a:pt x="1794" y="2568"/>
                      </a:lnTo>
                      <a:lnTo>
                        <a:pt x="1800" y="2556"/>
                      </a:lnTo>
                      <a:lnTo>
                        <a:pt x="1806" y="2550"/>
                      </a:lnTo>
                      <a:lnTo>
                        <a:pt x="1806" y="2544"/>
                      </a:lnTo>
                      <a:lnTo>
                        <a:pt x="1800" y="2532"/>
                      </a:lnTo>
                      <a:lnTo>
                        <a:pt x="1788" y="2520"/>
                      </a:lnTo>
                      <a:lnTo>
                        <a:pt x="1800" y="2520"/>
                      </a:lnTo>
                      <a:lnTo>
                        <a:pt x="1812" y="2526"/>
                      </a:lnTo>
                      <a:lnTo>
                        <a:pt x="1830" y="2526"/>
                      </a:lnTo>
                      <a:lnTo>
                        <a:pt x="1842" y="2514"/>
                      </a:lnTo>
                      <a:lnTo>
                        <a:pt x="1872" y="2514"/>
                      </a:lnTo>
                      <a:lnTo>
                        <a:pt x="1878" y="2508"/>
                      </a:lnTo>
                      <a:lnTo>
                        <a:pt x="1860" y="2490"/>
                      </a:lnTo>
                      <a:lnTo>
                        <a:pt x="1890" y="2490"/>
                      </a:lnTo>
                      <a:lnTo>
                        <a:pt x="1890" y="2472"/>
                      </a:lnTo>
                      <a:lnTo>
                        <a:pt x="1878" y="2472"/>
                      </a:lnTo>
                      <a:lnTo>
                        <a:pt x="1854" y="2460"/>
                      </a:lnTo>
                      <a:lnTo>
                        <a:pt x="1842" y="2448"/>
                      </a:lnTo>
                      <a:lnTo>
                        <a:pt x="1842" y="2442"/>
                      </a:lnTo>
                      <a:lnTo>
                        <a:pt x="1878" y="2442"/>
                      </a:lnTo>
                      <a:lnTo>
                        <a:pt x="1878" y="2430"/>
                      </a:lnTo>
                      <a:lnTo>
                        <a:pt x="1866" y="2418"/>
                      </a:lnTo>
                      <a:lnTo>
                        <a:pt x="1860" y="2406"/>
                      </a:lnTo>
                      <a:lnTo>
                        <a:pt x="1812" y="2358"/>
                      </a:lnTo>
                      <a:lnTo>
                        <a:pt x="1800" y="2358"/>
                      </a:lnTo>
                      <a:lnTo>
                        <a:pt x="1788" y="2364"/>
                      </a:lnTo>
                      <a:lnTo>
                        <a:pt x="1746" y="2364"/>
                      </a:lnTo>
                      <a:lnTo>
                        <a:pt x="1740" y="2358"/>
                      </a:lnTo>
                      <a:lnTo>
                        <a:pt x="1740" y="2328"/>
                      </a:lnTo>
                      <a:lnTo>
                        <a:pt x="1734" y="2322"/>
                      </a:lnTo>
                      <a:lnTo>
                        <a:pt x="1710" y="2322"/>
                      </a:lnTo>
                      <a:lnTo>
                        <a:pt x="1704" y="2316"/>
                      </a:lnTo>
                      <a:lnTo>
                        <a:pt x="1698" y="2316"/>
                      </a:lnTo>
                      <a:lnTo>
                        <a:pt x="1698" y="2286"/>
                      </a:lnTo>
                      <a:lnTo>
                        <a:pt x="1710" y="2262"/>
                      </a:lnTo>
                      <a:lnTo>
                        <a:pt x="1710" y="2238"/>
                      </a:lnTo>
                      <a:lnTo>
                        <a:pt x="1704" y="2232"/>
                      </a:lnTo>
                      <a:lnTo>
                        <a:pt x="1698" y="2196"/>
                      </a:lnTo>
                      <a:lnTo>
                        <a:pt x="1722" y="2196"/>
                      </a:lnTo>
                      <a:lnTo>
                        <a:pt x="1722" y="2172"/>
                      </a:lnTo>
                      <a:lnTo>
                        <a:pt x="1716" y="2166"/>
                      </a:lnTo>
                      <a:lnTo>
                        <a:pt x="1716" y="2154"/>
                      </a:lnTo>
                      <a:lnTo>
                        <a:pt x="1722" y="2148"/>
                      </a:lnTo>
                      <a:lnTo>
                        <a:pt x="1734" y="2148"/>
                      </a:lnTo>
                      <a:lnTo>
                        <a:pt x="1746" y="2154"/>
                      </a:lnTo>
                      <a:lnTo>
                        <a:pt x="1758" y="2166"/>
                      </a:lnTo>
                      <a:lnTo>
                        <a:pt x="1770" y="2172"/>
                      </a:lnTo>
                      <a:lnTo>
                        <a:pt x="1776" y="2184"/>
                      </a:lnTo>
                      <a:lnTo>
                        <a:pt x="1788" y="2190"/>
                      </a:lnTo>
                      <a:lnTo>
                        <a:pt x="1800" y="2190"/>
                      </a:lnTo>
                      <a:lnTo>
                        <a:pt x="1806" y="2184"/>
                      </a:lnTo>
                      <a:lnTo>
                        <a:pt x="1812" y="2172"/>
                      </a:lnTo>
                      <a:lnTo>
                        <a:pt x="1818" y="2166"/>
                      </a:lnTo>
                      <a:lnTo>
                        <a:pt x="1812" y="2154"/>
                      </a:lnTo>
                      <a:lnTo>
                        <a:pt x="1800" y="2142"/>
                      </a:lnTo>
                      <a:lnTo>
                        <a:pt x="1830" y="2130"/>
                      </a:lnTo>
                      <a:lnTo>
                        <a:pt x="1830" y="2106"/>
                      </a:lnTo>
                      <a:lnTo>
                        <a:pt x="1836" y="2106"/>
                      </a:lnTo>
                      <a:lnTo>
                        <a:pt x="1848" y="2100"/>
                      </a:lnTo>
                      <a:lnTo>
                        <a:pt x="1860" y="2100"/>
                      </a:lnTo>
                      <a:lnTo>
                        <a:pt x="1872" y="2094"/>
                      </a:lnTo>
                      <a:lnTo>
                        <a:pt x="1884" y="2082"/>
                      </a:lnTo>
                      <a:lnTo>
                        <a:pt x="1884" y="2064"/>
                      </a:lnTo>
                      <a:lnTo>
                        <a:pt x="1878" y="2058"/>
                      </a:lnTo>
                      <a:lnTo>
                        <a:pt x="1878" y="2052"/>
                      </a:lnTo>
                      <a:lnTo>
                        <a:pt x="1908" y="2052"/>
                      </a:lnTo>
                      <a:lnTo>
                        <a:pt x="1920" y="2058"/>
                      </a:lnTo>
                      <a:lnTo>
                        <a:pt x="1926" y="2058"/>
                      </a:lnTo>
                      <a:lnTo>
                        <a:pt x="1926" y="2064"/>
                      </a:lnTo>
                      <a:lnTo>
                        <a:pt x="1932" y="2070"/>
                      </a:lnTo>
                      <a:lnTo>
                        <a:pt x="1962" y="2070"/>
                      </a:lnTo>
                      <a:lnTo>
                        <a:pt x="1974" y="2058"/>
                      </a:lnTo>
                      <a:lnTo>
                        <a:pt x="1986" y="2052"/>
                      </a:lnTo>
                      <a:lnTo>
                        <a:pt x="2004" y="2052"/>
                      </a:lnTo>
                      <a:lnTo>
                        <a:pt x="2010" y="2058"/>
                      </a:lnTo>
                      <a:lnTo>
                        <a:pt x="2016" y="2070"/>
                      </a:lnTo>
                      <a:lnTo>
                        <a:pt x="2076" y="2070"/>
                      </a:lnTo>
                      <a:lnTo>
                        <a:pt x="2082" y="2076"/>
                      </a:lnTo>
                      <a:lnTo>
                        <a:pt x="2082" y="2082"/>
                      </a:lnTo>
                      <a:lnTo>
                        <a:pt x="2088" y="2094"/>
                      </a:lnTo>
                      <a:lnTo>
                        <a:pt x="2124" y="2094"/>
                      </a:lnTo>
                      <a:lnTo>
                        <a:pt x="2136" y="2124"/>
                      </a:lnTo>
                      <a:lnTo>
                        <a:pt x="2136" y="2130"/>
                      </a:lnTo>
                      <a:lnTo>
                        <a:pt x="2148" y="2142"/>
                      </a:lnTo>
                      <a:lnTo>
                        <a:pt x="2160" y="2142"/>
                      </a:lnTo>
                      <a:lnTo>
                        <a:pt x="2160" y="2124"/>
                      </a:lnTo>
                      <a:lnTo>
                        <a:pt x="2148" y="2112"/>
                      </a:lnTo>
                      <a:lnTo>
                        <a:pt x="2148" y="2106"/>
                      </a:lnTo>
                      <a:lnTo>
                        <a:pt x="2160" y="2106"/>
                      </a:lnTo>
                      <a:lnTo>
                        <a:pt x="2232" y="2142"/>
                      </a:lnTo>
                      <a:lnTo>
                        <a:pt x="2238" y="2136"/>
                      </a:lnTo>
                      <a:lnTo>
                        <a:pt x="2244" y="2124"/>
                      </a:lnTo>
                      <a:lnTo>
                        <a:pt x="2256" y="2118"/>
                      </a:lnTo>
                      <a:lnTo>
                        <a:pt x="2268" y="2106"/>
                      </a:lnTo>
                      <a:lnTo>
                        <a:pt x="2280" y="2100"/>
                      </a:lnTo>
                      <a:lnTo>
                        <a:pt x="2286" y="2100"/>
                      </a:lnTo>
                      <a:lnTo>
                        <a:pt x="2322" y="2118"/>
                      </a:lnTo>
                      <a:lnTo>
                        <a:pt x="2334" y="2118"/>
                      </a:lnTo>
                      <a:lnTo>
                        <a:pt x="2352" y="2112"/>
                      </a:lnTo>
                      <a:lnTo>
                        <a:pt x="2364" y="2106"/>
                      </a:lnTo>
                      <a:lnTo>
                        <a:pt x="2370" y="2100"/>
                      </a:lnTo>
                      <a:lnTo>
                        <a:pt x="2382" y="2100"/>
                      </a:lnTo>
                      <a:lnTo>
                        <a:pt x="2388" y="2106"/>
                      </a:lnTo>
                      <a:lnTo>
                        <a:pt x="2400" y="2112"/>
                      </a:lnTo>
                      <a:lnTo>
                        <a:pt x="2406" y="2124"/>
                      </a:lnTo>
                      <a:lnTo>
                        <a:pt x="2430" y="2136"/>
                      </a:lnTo>
                      <a:lnTo>
                        <a:pt x="2454" y="2136"/>
                      </a:lnTo>
                      <a:lnTo>
                        <a:pt x="2466" y="2142"/>
                      </a:lnTo>
                      <a:lnTo>
                        <a:pt x="2478" y="2142"/>
                      </a:lnTo>
                      <a:lnTo>
                        <a:pt x="2490" y="2118"/>
                      </a:lnTo>
                      <a:lnTo>
                        <a:pt x="2496" y="2124"/>
                      </a:lnTo>
                      <a:lnTo>
                        <a:pt x="2508" y="2124"/>
                      </a:lnTo>
                      <a:lnTo>
                        <a:pt x="2514" y="2130"/>
                      </a:lnTo>
                      <a:lnTo>
                        <a:pt x="2526" y="2136"/>
                      </a:lnTo>
                      <a:lnTo>
                        <a:pt x="2562" y="2136"/>
                      </a:lnTo>
                      <a:lnTo>
                        <a:pt x="2568" y="2130"/>
                      </a:lnTo>
                      <a:lnTo>
                        <a:pt x="2574" y="2118"/>
                      </a:lnTo>
                      <a:lnTo>
                        <a:pt x="2574" y="2106"/>
                      </a:lnTo>
                      <a:lnTo>
                        <a:pt x="2568" y="2088"/>
                      </a:lnTo>
                      <a:lnTo>
                        <a:pt x="2544" y="2064"/>
                      </a:lnTo>
                      <a:lnTo>
                        <a:pt x="2532" y="2058"/>
                      </a:lnTo>
                      <a:lnTo>
                        <a:pt x="2514" y="2052"/>
                      </a:lnTo>
                      <a:lnTo>
                        <a:pt x="2490" y="2052"/>
                      </a:lnTo>
                      <a:lnTo>
                        <a:pt x="2460" y="2022"/>
                      </a:lnTo>
                      <a:lnTo>
                        <a:pt x="2472" y="2022"/>
                      </a:lnTo>
                      <a:lnTo>
                        <a:pt x="2484" y="2016"/>
                      </a:lnTo>
                      <a:lnTo>
                        <a:pt x="2496" y="2016"/>
                      </a:lnTo>
                      <a:lnTo>
                        <a:pt x="2508" y="2004"/>
                      </a:lnTo>
                      <a:lnTo>
                        <a:pt x="2508" y="1992"/>
                      </a:lnTo>
                      <a:lnTo>
                        <a:pt x="2502" y="1986"/>
                      </a:lnTo>
                      <a:lnTo>
                        <a:pt x="2496" y="1974"/>
                      </a:lnTo>
                      <a:lnTo>
                        <a:pt x="2490" y="1968"/>
                      </a:lnTo>
                      <a:lnTo>
                        <a:pt x="2502" y="1956"/>
                      </a:lnTo>
                      <a:lnTo>
                        <a:pt x="2556" y="1956"/>
                      </a:lnTo>
                      <a:lnTo>
                        <a:pt x="2544" y="1944"/>
                      </a:lnTo>
                      <a:lnTo>
                        <a:pt x="2532" y="1944"/>
                      </a:lnTo>
                      <a:lnTo>
                        <a:pt x="2508" y="1932"/>
                      </a:lnTo>
                      <a:lnTo>
                        <a:pt x="2496" y="1932"/>
                      </a:lnTo>
                      <a:lnTo>
                        <a:pt x="2508" y="1914"/>
                      </a:lnTo>
                      <a:lnTo>
                        <a:pt x="2484" y="1914"/>
                      </a:lnTo>
                      <a:lnTo>
                        <a:pt x="2484" y="1908"/>
                      </a:lnTo>
                      <a:lnTo>
                        <a:pt x="2478" y="1902"/>
                      </a:lnTo>
                      <a:lnTo>
                        <a:pt x="2478" y="1896"/>
                      </a:lnTo>
                      <a:lnTo>
                        <a:pt x="2490" y="1884"/>
                      </a:lnTo>
                      <a:lnTo>
                        <a:pt x="2526" y="1872"/>
                      </a:lnTo>
                      <a:lnTo>
                        <a:pt x="2586" y="1866"/>
                      </a:lnTo>
                      <a:lnTo>
                        <a:pt x="2640" y="1866"/>
                      </a:lnTo>
                      <a:lnTo>
                        <a:pt x="2646" y="1848"/>
                      </a:lnTo>
                      <a:lnTo>
                        <a:pt x="2712" y="1848"/>
                      </a:lnTo>
                      <a:lnTo>
                        <a:pt x="2712" y="1830"/>
                      </a:lnTo>
                      <a:lnTo>
                        <a:pt x="2718" y="1824"/>
                      </a:lnTo>
                      <a:lnTo>
                        <a:pt x="2808" y="1824"/>
                      </a:lnTo>
                      <a:lnTo>
                        <a:pt x="2862" y="1806"/>
                      </a:lnTo>
                      <a:lnTo>
                        <a:pt x="2874" y="1806"/>
                      </a:lnTo>
                      <a:lnTo>
                        <a:pt x="2874" y="1794"/>
                      </a:lnTo>
                      <a:lnTo>
                        <a:pt x="2886" y="1782"/>
                      </a:lnTo>
                      <a:lnTo>
                        <a:pt x="2898" y="1776"/>
                      </a:lnTo>
                      <a:lnTo>
                        <a:pt x="2916" y="1770"/>
                      </a:lnTo>
                      <a:lnTo>
                        <a:pt x="2940" y="1770"/>
                      </a:lnTo>
                      <a:lnTo>
                        <a:pt x="2958" y="1776"/>
                      </a:lnTo>
                      <a:lnTo>
                        <a:pt x="2976" y="1776"/>
                      </a:lnTo>
                      <a:lnTo>
                        <a:pt x="2988" y="1788"/>
                      </a:lnTo>
                      <a:lnTo>
                        <a:pt x="3000" y="1788"/>
                      </a:lnTo>
                      <a:lnTo>
                        <a:pt x="3012" y="1776"/>
                      </a:lnTo>
                      <a:lnTo>
                        <a:pt x="3018" y="1776"/>
                      </a:lnTo>
                      <a:lnTo>
                        <a:pt x="3036" y="1794"/>
                      </a:lnTo>
                      <a:lnTo>
                        <a:pt x="3042" y="1806"/>
                      </a:lnTo>
                      <a:lnTo>
                        <a:pt x="3048" y="1812"/>
                      </a:lnTo>
                      <a:lnTo>
                        <a:pt x="3060" y="1812"/>
                      </a:lnTo>
                      <a:lnTo>
                        <a:pt x="3066" y="1818"/>
                      </a:lnTo>
                      <a:lnTo>
                        <a:pt x="3066" y="1860"/>
                      </a:lnTo>
                      <a:lnTo>
                        <a:pt x="3072" y="1866"/>
                      </a:lnTo>
                      <a:lnTo>
                        <a:pt x="3090" y="1866"/>
                      </a:lnTo>
                      <a:lnTo>
                        <a:pt x="3102" y="1860"/>
                      </a:lnTo>
                      <a:lnTo>
                        <a:pt x="3120" y="1860"/>
                      </a:lnTo>
                      <a:lnTo>
                        <a:pt x="3132" y="1842"/>
                      </a:lnTo>
                      <a:lnTo>
                        <a:pt x="3156" y="1878"/>
                      </a:lnTo>
                      <a:lnTo>
                        <a:pt x="3180" y="1866"/>
                      </a:lnTo>
                      <a:lnTo>
                        <a:pt x="3204" y="1878"/>
                      </a:lnTo>
                      <a:lnTo>
                        <a:pt x="3210" y="1872"/>
                      </a:lnTo>
                      <a:lnTo>
                        <a:pt x="3216" y="1872"/>
                      </a:lnTo>
                      <a:lnTo>
                        <a:pt x="3228" y="1878"/>
                      </a:lnTo>
                      <a:lnTo>
                        <a:pt x="3228" y="1902"/>
                      </a:lnTo>
                      <a:lnTo>
                        <a:pt x="3222" y="1908"/>
                      </a:lnTo>
                      <a:lnTo>
                        <a:pt x="3222" y="1914"/>
                      </a:lnTo>
                      <a:lnTo>
                        <a:pt x="3228" y="1914"/>
                      </a:lnTo>
                      <a:lnTo>
                        <a:pt x="3234" y="1908"/>
                      </a:lnTo>
                      <a:lnTo>
                        <a:pt x="3240" y="1908"/>
                      </a:lnTo>
                      <a:lnTo>
                        <a:pt x="3246" y="1902"/>
                      </a:lnTo>
                      <a:lnTo>
                        <a:pt x="3252" y="1902"/>
                      </a:lnTo>
                      <a:lnTo>
                        <a:pt x="3258" y="1908"/>
                      </a:lnTo>
                      <a:lnTo>
                        <a:pt x="3270" y="1914"/>
                      </a:lnTo>
                      <a:lnTo>
                        <a:pt x="3276" y="1920"/>
                      </a:lnTo>
                      <a:lnTo>
                        <a:pt x="3288" y="1926"/>
                      </a:lnTo>
                      <a:lnTo>
                        <a:pt x="3300" y="1914"/>
                      </a:lnTo>
                      <a:lnTo>
                        <a:pt x="3300" y="1896"/>
                      </a:lnTo>
                      <a:lnTo>
                        <a:pt x="3306" y="1890"/>
                      </a:lnTo>
                      <a:lnTo>
                        <a:pt x="3318" y="1884"/>
                      </a:lnTo>
                      <a:lnTo>
                        <a:pt x="3330" y="1884"/>
                      </a:lnTo>
                      <a:lnTo>
                        <a:pt x="3342" y="1866"/>
                      </a:lnTo>
                      <a:lnTo>
                        <a:pt x="3378" y="1854"/>
                      </a:lnTo>
                      <a:lnTo>
                        <a:pt x="3396" y="1836"/>
                      </a:lnTo>
                      <a:lnTo>
                        <a:pt x="3402" y="1836"/>
                      </a:lnTo>
                      <a:lnTo>
                        <a:pt x="3408" y="1842"/>
                      </a:lnTo>
                      <a:lnTo>
                        <a:pt x="3408" y="1860"/>
                      </a:lnTo>
                      <a:lnTo>
                        <a:pt x="3396" y="1872"/>
                      </a:lnTo>
                      <a:lnTo>
                        <a:pt x="3390" y="1872"/>
                      </a:lnTo>
                      <a:lnTo>
                        <a:pt x="3426" y="1890"/>
                      </a:lnTo>
                      <a:lnTo>
                        <a:pt x="3456" y="1902"/>
                      </a:lnTo>
                      <a:lnTo>
                        <a:pt x="3486" y="1920"/>
                      </a:lnTo>
                      <a:lnTo>
                        <a:pt x="3498" y="1926"/>
                      </a:lnTo>
                      <a:lnTo>
                        <a:pt x="3516" y="1938"/>
                      </a:lnTo>
                      <a:lnTo>
                        <a:pt x="3546" y="1968"/>
                      </a:lnTo>
                      <a:lnTo>
                        <a:pt x="3618" y="2028"/>
                      </a:lnTo>
                      <a:lnTo>
                        <a:pt x="3636" y="2052"/>
                      </a:lnTo>
                      <a:lnTo>
                        <a:pt x="3672" y="2088"/>
                      </a:lnTo>
                      <a:lnTo>
                        <a:pt x="3684" y="2106"/>
                      </a:lnTo>
                      <a:lnTo>
                        <a:pt x="3696" y="2118"/>
                      </a:lnTo>
                      <a:lnTo>
                        <a:pt x="3708" y="2124"/>
                      </a:lnTo>
                      <a:lnTo>
                        <a:pt x="3720" y="2124"/>
                      </a:lnTo>
                      <a:lnTo>
                        <a:pt x="3732" y="2118"/>
                      </a:lnTo>
                      <a:lnTo>
                        <a:pt x="3744" y="2106"/>
                      </a:lnTo>
                      <a:lnTo>
                        <a:pt x="3744" y="2094"/>
                      </a:lnTo>
                      <a:lnTo>
                        <a:pt x="3750" y="2088"/>
                      </a:lnTo>
                      <a:lnTo>
                        <a:pt x="3750" y="2082"/>
                      </a:lnTo>
                      <a:lnTo>
                        <a:pt x="3762" y="2082"/>
                      </a:lnTo>
                      <a:lnTo>
                        <a:pt x="3768" y="2088"/>
                      </a:lnTo>
                      <a:lnTo>
                        <a:pt x="3768" y="2100"/>
                      </a:lnTo>
                      <a:lnTo>
                        <a:pt x="3774" y="2106"/>
                      </a:lnTo>
                      <a:lnTo>
                        <a:pt x="3774" y="2112"/>
                      </a:lnTo>
                      <a:lnTo>
                        <a:pt x="3804" y="2112"/>
                      </a:lnTo>
                      <a:lnTo>
                        <a:pt x="3816" y="2118"/>
                      </a:lnTo>
                      <a:lnTo>
                        <a:pt x="3822" y="2130"/>
                      </a:lnTo>
                      <a:lnTo>
                        <a:pt x="3834" y="2136"/>
                      </a:lnTo>
                      <a:lnTo>
                        <a:pt x="3858" y="2136"/>
                      </a:lnTo>
                      <a:lnTo>
                        <a:pt x="3864" y="2124"/>
                      </a:lnTo>
                      <a:lnTo>
                        <a:pt x="3876" y="2118"/>
                      </a:lnTo>
                      <a:lnTo>
                        <a:pt x="3894" y="2112"/>
                      </a:lnTo>
                      <a:lnTo>
                        <a:pt x="3906" y="2106"/>
                      </a:lnTo>
                      <a:lnTo>
                        <a:pt x="3924" y="2106"/>
                      </a:lnTo>
                      <a:lnTo>
                        <a:pt x="3948" y="2118"/>
                      </a:lnTo>
                      <a:lnTo>
                        <a:pt x="3972" y="2142"/>
                      </a:lnTo>
                      <a:lnTo>
                        <a:pt x="3984" y="2148"/>
                      </a:lnTo>
                      <a:lnTo>
                        <a:pt x="3990" y="2160"/>
                      </a:lnTo>
                      <a:lnTo>
                        <a:pt x="4002" y="2160"/>
                      </a:lnTo>
                      <a:lnTo>
                        <a:pt x="4014" y="2166"/>
                      </a:lnTo>
                      <a:lnTo>
                        <a:pt x="4026" y="2166"/>
                      </a:lnTo>
                      <a:lnTo>
                        <a:pt x="4038" y="2172"/>
                      </a:lnTo>
                      <a:lnTo>
                        <a:pt x="4044" y="2172"/>
                      </a:lnTo>
                      <a:lnTo>
                        <a:pt x="4044" y="2178"/>
                      </a:lnTo>
                      <a:lnTo>
                        <a:pt x="4050" y="2190"/>
                      </a:lnTo>
                      <a:lnTo>
                        <a:pt x="4056" y="2196"/>
                      </a:lnTo>
                      <a:lnTo>
                        <a:pt x="4062" y="2208"/>
                      </a:lnTo>
                      <a:lnTo>
                        <a:pt x="4068" y="2214"/>
                      </a:lnTo>
                      <a:lnTo>
                        <a:pt x="4068" y="2220"/>
                      </a:lnTo>
                      <a:lnTo>
                        <a:pt x="4140" y="2226"/>
                      </a:lnTo>
                      <a:lnTo>
                        <a:pt x="4152" y="2190"/>
                      </a:lnTo>
                      <a:lnTo>
                        <a:pt x="4176" y="2214"/>
                      </a:lnTo>
                      <a:lnTo>
                        <a:pt x="4212" y="2256"/>
                      </a:lnTo>
                      <a:lnTo>
                        <a:pt x="4254" y="2256"/>
                      </a:lnTo>
                      <a:lnTo>
                        <a:pt x="4266" y="2244"/>
                      </a:lnTo>
                      <a:lnTo>
                        <a:pt x="4266" y="2226"/>
                      </a:lnTo>
                      <a:lnTo>
                        <a:pt x="4326" y="2226"/>
                      </a:lnTo>
                      <a:lnTo>
                        <a:pt x="4320" y="2214"/>
                      </a:lnTo>
                      <a:lnTo>
                        <a:pt x="4344" y="2214"/>
                      </a:lnTo>
                      <a:lnTo>
                        <a:pt x="4338" y="2208"/>
                      </a:lnTo>
                      <a:lnTo>
                        <a:pt x="4338" y="2202"/>
                      </a:lnTo>
                      <a:lnTo>
                        <a:pt x="4374" y="2166"/>
                      </a:lnTo>
                      <a:lnTo>
                        <a:pt x="4392" y="2166"/>
                      </a:lnTo>
                      <a:lnTo>
                        <a:pt x="4404" y="2148"/>
                      </a:lnTo>
                      <a:lnTo>
                        <a:pt x="4428" y="2148"/>
                      </a:lnTo>
                      <a:lnTo>
                        <a:pt x="4428" y="2142"/>
                      </a:lnTo>
                      <a:lnTo>
                        <a:pt x="4434" y="2136"/>
                      </a:lnTo>
                      <a:lnTo>
                        <a:pt x="4434" y="2130"/>
                      </a:lnTo>
                      <a:lnTo>
                        <a:pt x="4440" y="2124"/>
                      </a:lnTo>
                      <a:lnTo>
                        <a:pt x="4458" y="2124"/>
                      </a:lnTo>
                      <a:lnTo>
                        <a:pt x="4464" y="2130"/>
                      </a:lnTo>
                      <a:lnTo>
                        <a:pt x="4482" y="2124"/>
                      </a:lnTo>
                      <a:lnTo>
                        <a:pt x="4482" y="2130"/>
                      </a:lnTo>
                      <a:lnTo>
                        <a:pt x="4518" y="2130"/>
                      </a:lnTo>
                      <a:lnTo>
                        <a:pt x="4524" y="2148"/>
                      </a:lnTo>
                      <a:lnTo>
                        <a:pt x="4548" y="2148"/>
                      </a:lnTo>
                      <a:lnTo>
                        <a:pt x="4566" y="2142"/>
                      </a:lnTo>
                      <a:lnTo>
                        <a:pt x="4608" y="2142"/>
                      </a:lnTo>
                      <a:lnTo>
                        <a:pt x="4608" y="2148"/>
                      </a:lnTo>
                      <a:lnTo>
                        <a:pt x="4614" y="2154"/>
                      </a:lnTo>
                      <a:lnTo>
                        <a:pt x="4614" y="2166"/>
                      </a:lnTo>
                      <a:lnTo>
                        <a:pt x="4620" y="2172"/>
                      </a:lnTo>
                      <a:lnTo>
                        <a:pt x="4638" y="2178"/>
                      </a:lnTo>
                      <a:lnTo>
                        <a:pt x="4668" y="2178"/>
                      </a:lnTo>
                      <a:lnTo>
                        <a:pt x="4674" y="2190"/>
                      </a:lnTo>
                      <a:lnTo>
                        <a:pt x="4698" y="2184"/>
                      </a:lnTo>
                      <a:lnTo>
                        <a:pt x="4704" y="2196"/>
                      </a:lnTo>
                      <a:lnTo>
                        <a:pt x="4704" y="2190"/>
                      </a:lnTo>
                      <a:lnTo>
                        <a:pt x="4710" y="2184"/>
                      </a:lnTo>
                      <a:lnTo>
                        <a:pt x="4752" y="2184"/>
                      </a:lnTo>
                      <a:lnTo>
                        <a:pt x="4752" y="2196"/>
                      </a:lnTo>
                      <a:lnTo>
                        <a:pt x="4800" y="2190"/>
                      </a:lnTo>
                      <a:lnTo>
                        <a:pt x="4800" y="2202"/>
                      </a:lnTo>
                      <a:lnTo>
                        <a:pt x="4806" y="2208"/>
                      </a:lnTo>
                      <a:lnTo>
                        <a:pt x="4830" y="2196"/>
                      </a:lnTo>
                      <a:lnTo>
                        <a:pt x="4836" y="2190"/>
                      </a:lnTo>
                      <a:lnTo>
                        <a:pt x="4836" y="2184"/>
                      </a:lnTo>
                      <a:lnTo>
                        <a:pt x="4854" y="2184"/>
                      </a:lnTo>
                      <a:lnTo>
                        <a:pt x="4854" y="2160"/>
                      </a:lnTo>
                      <a:lnTo>
                        <a:pt x="4848" y="2148"/>
                      </a:lnTo>
                      <a:lnTo>
                        <a:pt x="4842" y="2142"/>
                      </a:lnTo>
                      <a:lnTo>
                        <a:pt x="4836" y="2142"/>
                      </a:lnTo>
                      <a:lnTo>
                        <a:pt x="4812" y="2106"/>
                      </a:lnTo>
                      <a:lnTo>
                        <a:pt x="4806" y="2088"/>
                      </a:lnTo>
                      <a:lnTo>
                        <a:pt x="4794" y="2076"/>
                      </a:lnTo>
                      <a:lnTo>
                        <a:pt x="4794" y="2064"/>
                      </a:lnTo>
                      <a:lnTo>
                        <a:pt x="4812" y="2064"/>
                      </a:lnTo>
                      <a:lnTo>
                        <a:pt x="4806" y="2052"/>
                      </a:lnTo>
                      <a:lnTo>
                        <a:pt x="4812" y="2052"/>
                      </a:lnTo>
                      <a:lnTo>
                        <a:pt x="4824" y="2046"/>
                      </a:lnTo>
                      <a:lnTo>
                        <a:pt x="4830" y="2034"/>
                      </a:lnTo>
                      <a:lnTo>
                        <a:pt x="4830" y="2016"/>
                      </a:lnTo>
                      <a:lnTo>
                        <a:pt x="4890" y="2046"/>
                      </a:lnTo>
                      <a:lnTo>
                        <a:pt x="4902" y="2046"/>
                      </a:lnTo>
                      <a:lnTo>
                        <a:pt x="4926" y="2052"/>
                      </a:lnTo>
                      <a:lnTo>
                        <a:pt x="4962" y="2052"/>
                      </a:lnTo>
                      <a:lnTo>
                        <a:pt x="4974" y="2058"/>
                      </a:lnTo>
                      <a:lnTo>
                        <a:pt x="4980" y="2064"/>
                      </a:lnTo>
                      <a:lnTo>
                        <a:pt x="5004" y="2076"/>
                      </a:lnTo>
                      <a:lnTo>
                        <a:pt x="5010" y="2076"/>
                      </a:lnTo>
                      <a:lnTo>
                        <a:pt x="5022" y="2070"/>
                      </a:lnTo>
                      <a:lnTo>
                        <a:pt x="5040" y="2070"/>
                      </a:lnTo>
                      <a:lnTo>
                        <a:pt x="5052" y="2076"/>
                      </a:lnTo>
                      <a:lnTo>
                        <a:pt x="5058" y="2082"/>
                      </a:lnTo>
                      <a:lnTo>
                        <a:pt x="5064" y="2094"/>
                      </a:lnTo>
                      <a:lnTo>
                        <a:pt x="5076" y="2106"/>
                      </a:lnTo>
                      <a:lnTo>
                        <a:pt x="5088" y="2130"/>
                      </a:lnTo>
                      <a:lnTo>
                        <a:pt x="5094" y="2136"/>
                      </a:lnTo>
                      <a:lnTo>
                        <a:pt x="5094" y="2142"/>
                      </a:lnTo>
                      <a:lnTo>
                        <a:pt x="5118" y="2136"/>
                      </a:lnTo>
                      <a:lnTo>
                        <a:pt x="5118" y="2142"/>
                      </a:lnTo>
                      <a:lnTo>
                        <a:pt x="5136" y="2160"/>
                      </a:lnTo>
                      <a:lnTo>
                        <a:pt x="5166" y="2160"/>
                      </a:lnTo>
                      <a:lnTo>
                        <a:pt x="5172" y="2166"/>
                      </a:lnTo>
                      <a:lnTo>
                        <a:pt x="5184" y="2166"/>
                      </a:lnTo>
                      <a:lnTo>
                        <a:pt x="5196" y="2172"/>
                      </a:lnTo>
                      <a:lnTo>
                        <a:pt x="5208" y="2172"/>
                      </a:lnTo>
                      <a:lnTo>
                        <a:pt x="5220" y="2166"/>
                      </a:lnTo>
                      <a:lnTo>
                        <a:pt x="5274" y="2148"/>
                      </a:lnTo>
                      <a:lnTo>
                        <a:pt x="5322" y="2148"/>
                      </a:lnTo>
                      <a:lnTo>
                        <a:pt x="5334" y="2154"/>
                      </a:lnTo>
                      <a:lnTo>
                        <a:pt x="5340" y="2154"/>
                      </a:lnTo>
                      <a:lnTo>
                        <a:pt x="5346" y="2160"/>
                      </a:lnTo>
                      <a:lnTo>
                        <a:pt x="5382" y="2160"/>
                      </a:lnTo>
                      <a:lnTo>
                        <a:pt x="5406" y="2184"/>
                      </a:lnTo>
                      <a:lnTo>
                        <a:pt x="5466" y="2184"/>
                      </a:lnTo>
                      <a:lnTo>
                        <a:pt x="5472" y="2190"/>
                      </a:lnTo>
                      <a:lnTo>
                        <a:pt x="5472" y="2196"/>
                      </a:lnTo>
                      <a:lnTo>
                        <a:pt x="5484" y="2208"/>
                      </a:lnTo>
                      <a:lnTo>
                        <a:pt x="5484" y="2214"/>
                      </a:lnTo>
                      <a:lnTo>
                        <a:pt x="5502" y="2214"/>
                      </a:lnTo>
                      <a:lnTo>
                        <a:pt x="5514" y="2220"/>
                      </a:lnTo>
                      <a:lnTo>
                        <a:pt x="5514" y="2232"/>
                      </a:lnTo>
                      <a:lnTo>
                        <a:pt x="5520" y="2238"/>
                      </a:lnTo>
                      <a:lnTo>
                        <a:pt x="5586" y="2238"/>
                      </a:lnTo>
                      <a:lnTo>
                        <a:pt x="5592" y="2244"/>
                      </a:lnTo>
                      <a:lnTo>
                        <a:pt x="5598" y="2244"/>
                      </a:lnTo>
                      <a:lnTo>
                        <a:pt x="5610" y="2250"/>
                      </a:lnTo>
                      <a:lnTo>
                        <a:pt x="5634" y="2250"/>
                      </a:lnTo>
                      <a:lnTo>
                        <a:pt x="5646" y="2244"/>
                      </a:lnTo>
                      <a:lnTo>
                        <a:pt x="5664" y="2244"/>
                      </a:lnTo>
                      <a:lnTo>
                        <a:pt x="5670" y="2250"/>
                      </a:lnTo>
                      <a:lnTo>
                        <a:pt x="5670" y="2256"/>
                      </a:lnTo>
                      <a:lnTo>
                        <a:pt x="5676" y="2256"/>
                      </a:lnTo>
                      <a:lnTo>
                        <a:pt x="5694" y="2238"/>
                      </a:lnTo>
                      <a:lnTo>
                        <a:pt x="5694" y="2232"/>
                      </a:lnTo>
                      <a:lnTo>
                        <a:pt x="5742" y="2232"/>
                      </a:lnTo>
                      <a:lnTo>
                        <a:pt x="5754" y="2220"/>
                      </a:lnTo>
                      <a:lnTo>
                        <a:pt x="5790" y="2220"/>
                      </a:lnTo>
                      <a:lnTo>
                        <a:pt x="5802" y="2208"/>
                      </a:lnTo>
                      <a:lnTo>
                        <a:pt x="5802" y="2196"/>
                      </a:lnTo>
                      <a:lnTo>
                        <a:pt x="5832" y="2166"/>
                      </a:lnTo>
                      <a:lnTo>
                        <a:pt x="5850" y="2166"/>
                      </a:lnTo>
                      <a:lnTo>
                        <a:pt x="5862" y="2172"/>
                      </a:lnTo>
                      <a:lnTo>
                        <a:pt x="5898" y="2172"/>
                      </a:lnTo>
                      <a:lnTo>
                        <a:pt x="5916" y="2190"/>
                      </a:lnTo>
                      <a:lnTo>
                        <a:pt x="5928" y="2196"/>
                      </a:lnTo>
                      <a:lnTo>
                        <a:pt x="5952" y="2196"/>
                      </a:lnTo>
                      <a:lnTo>
                        <a:pt x="5964" y="2190"/>
                      </a:lnTo>
                      <a:lnTo>
                        <a:pt x="5970" y="2184"/>
                      </a:lnTo>
                      <a:lnTo>
                        <a:pt x="5994" y="2190"/>
                      </a:lnTo>
                      <a:lnTo>
                        <a:pt x="6012" y="2190"/>
                      </a:lnTo>
                      <a:lnTo>
                        <a:pt x="6048" y="2214"/>
                      </a:lnTo>
                      <a:lnTo>
                        <a:pt x="6084" y="2214"/>
                      </a:lnTo>
                      <a:lnTo>
                        <a:pt x="6090" y="2220"/>
                      </a:lnTo>
                      <a:lnTo>
                        <a:pt x="6102" y="2220"/>
                      </a:lnTo>
                      <a:lnTo>
                        <a:pt x="6120" y="2202"/>
                      </a:lnTo>
                      <a:lnTo>
                        <a:pt x="6120" y="2190"/>
                      </a:lnTo>
                      <a:lnTo>
                        <a:pt x="6144" y="2190"/>
                      </a:lnTo>
                      <a:lnTo>
                        <a:pt x="6156" y="2184"/>
                      </a:lnTo>
                      <a:lnTo>
                        <a:pt x="6162" y="2178"/>
                      </a:lnTo>
                      <a:lnTo>
                        <a:pt x="6162" y="2166"/>
                      </a:lnTo>
                      <a:lnTo>
                        <a:pt x="6150" y="2166"/>
                      </a:lnTo>
                      <a:lnTo>
                        <a:pt x="6144" y="2160"/>
                      </a:lnTo>
                      <a:lnTo>
                        <a:pt x="6138" y="2118"/>
                      </a:lnTo>
                      <a:lnTo>
                        <a:pt x="6138" y="2046"/>
                      </a:lnTo>
                      <a:lnTo>
                        <a:pt x="6156" y="2028"/>
                      </a:lnTo>
                      <a:lnTo>
                        <a:pt x="6156" y="2016"/>
                      </a:lnTo>
                      <a:lnTo>
                        <a:pt x="6150" y="2010"/>
                      </a:lnTo>
                      <a:lnTo>
                        <a:pt x="6138" y="2004"/>
                      </a:lnTo>
                      <a:lnTo>
                        <a:pt x="6126" y="1992"/>
                      </a:lnTo>
                      <a:lnTo>
                        <a:pt x="6114" y="1992"/>
                      </a:lnTo>
                      <a:lnTo>
                        <a:pt x="6108" y="1986"/>
                      </a:lnTo>
                      <a:lnTo>
                        <a:pt x="6096" y="1986"/>
                      </a:lnTo>
                      <a:lnTo>
                        <a:pt x="6078" y="1980"/>
                      </a:lnTo>
                      <a:lnTo>
                        <a:pt x="6072" y="1980"/>
                      </a:lnTo>
                      <a:lnTo>
                        <a:pt x="6072" y="1968"/>
                      </a:lnTo>
                      <a:lnTo>
                        <a:pt x="6078" y="1968"/>
                      </a:lnTo>
                      <a:lnTo>
                        <a:pt x="6120" y="1926"/>
                      </a:lnTo>
                      <a:lnTo>
                        <a:pt x="6156" y="1920"/>
                      </a:lnTo>
                      <a:lnTo>
                        <a:pt x="6162" y="1908"/>
                      </a:lnTo>
                      <a:lnTo>
                        <a:pt x="6204" y="1914"/>
                      </a:lnTo>
                      <a:lnTo>
                        <a:pt x="6258" y="1902"/>
                      </a:lnTo>
                      <a:lnTo>
                        <a:pt x="6294" y="1920"/>
                      </a:lnTo>
                      <a:lnTo>
                        <a:pt x="6330" y="1944"/>
                      </a:lnTo>
                      <a:lnTo>
                        <a:pt x="6402" y="1944"/>
                      </a:lnTo>
                      <a:lnTo>
                        <a:pt x="6408" y="1950"/>
                      </a:lnTo>
                      <a:lnTo>
                        <a:pt x="6420" y="1956"/>
                      </a:lnTo>
                      <a:lnTo>
                        <a:pt x="6426" y="1962"/>
                      </a:lnTo>
                      <a:lnTo>
                        <a:pt x="6438" y="1968"/>
                      </a:lnTo>
                      <a:lnTo>
                        <a:pt x="6438" y="1980"/>
                      </a:lnTo>
                      <a:lnTo>
                        <a:pt x="6444" y="1980"/>
                      </a:lnTo>
                      <a:lnTo>
                        <a:pt x="6456" y="1992"/>
                      </a:lnTo>
                      <a:lnTo>
                        <a:pt x="6468" y="1998"/>
                      </a:lnTo>
                      <a:lnTo>
                        <a:pt x="6480" y="2010"/>
                      </a:lnTo>
                      <a:lnTo>
                        <a:pt x="6492" y="2010"/>
                      </a:lnTo>
                      <a:lnTo>
                        <a:pt x="6498" y="2016"/>
                      </a:lnTo>
                      <a:lnTo>
                        <a:pt x="6504" y="2016"/>
                      </a:lnTo>
                      <a:lnTo>
                        <a:pt x="6510" y="2046"/>
                      </a:lnTo>
                      <a:lnTo>
                        <a:pt x="6558" y="2070"/>
                      </a:lnTo>
                      <a:lnTo>
                        <a:pt x="6570" y="2100"/>
                      </a:lnTo>
                      <a:lnTo>
                        <a:pt x="6582" y="2100"/>
                      </a:lnTo>
                      <a:lnTo>
                        <a:pt x="6630" y="2124"/>
                      </a:lnTo>
                      <a:lnTo>
                        <a:pt x="6636" y="2136"/>
                      </a:lnTo>
                      <a:lnTo>
                        <a:pt x="6654" y="2154"/>
                      </a:lnTo>
                      <a:lnTo>
                        <a:pt x="6660" y="2166"/>
                      </a:lnTo>
                      <a:lnTo>
                        <a:pt x="6672" y="2166"/>
                      </a:lnTo>
                      <a:lnTo>
                        <a:pt x="6678" y="2190"/>
                      </a:lnTo>
                      <a:lnTo>
                        <a:pt x="6684" y="2190"/>
                      </a:lnTo>
                      <a:lnTo>
                        <a:pt x="6690" y="2196"/>
                      </a:lnTo>
                      <a:lnTo>
                        <a:pt x="6714" y="2208"/>
                      </a:lnTo>
                      <a:lnTo>
                        <a:pt x="6720" y="2214"/>
                      </a:lnTo>
                      <a:lnTo>
                        <a:pt x="6732" y="2220"/>
                      </a:lnTo>
                      <a:lnTo>
                        <a:pt x="6780" y="2220"/>
                      </a:lnTo>
                      <a:lnTo>
                        <a:pt x="6792" y="2226"/>
                      </a:lnTo>
                      <a:lnTo>
                        <a:pt x="6798" y="2232"/>
                      </a:lnTo>
                      <a:lnTo>
                        <a:pt x="6810" y="2238"/>
                      </a:lnTo>
                      <a:lnTo>
                        <a:pt x="6822" y="2226"/>
                      </a:lnTo>
                      <a:lnTo>
                        <a:pt x="6834" y="2226"/>
                      </a:lnTo>
                      <a:lnTo>
                        <a:pt x="6852" y="2244"/>
                      </a:lnTo>
                      <a:lnTo>
                        <a:pt x="6864" y="2250"/>
                      </a:lnTo>
                      <a:lnTo>
                        <a:pt x="6882" y="2268"/>
                      </a:lnTo>
                      <a:lnTo>
                        <a:pt x="6924" y="2268"/>
                      </a:lnTo>
                      <a:lnTo>
                        <a:pt x="6942" y="2298"/>
                      </a:lnTo>
                      <a:lnTo>
                        <a:pt x="6960" y="2298"/>
                      </a:lnTo>
                      <a:lnTo>
                        <a:pt x="6966" y="2304"/>
                      </a:lnTo>
                      <a:lnTo>
                        <a:pt x="6966" y="2310"/>
                      </a:lnTo>
                      <a:lnTo>
                        <a:pt x="6972" y="2322"/>
                      </a:lnTo>
                      <a:lnTo>
                        <a:pt x="6972" y="2334"/>
                      </a:lnTo>
                      <a:lnTo>
                        <a:pt x="7014" y="2364"/>
                      </a:lnTo>
                      <a:lnTo>
                        <a:pt x="7038" y="2358"/>
                      </a:lnTo>
                      <a:lnTo>
                        <a:pt x="7050" y="2370"/>
                      </a:lnTo>
                      <a:lnTo>
                        <a:pt x="7068" y="2370"/>
                      </a:lnTo>
                      <a:lnTo>
                        <a:pt x="7068" y="2358"/>
                      </a:lnTo>
                      <a:lnTo>
                        <a:pt x="7098" y="2364"/>
                      </a:lnTo>
                      <a:lnTo>
                        <a:pt x="7098" y="2346"/>
                      </a:lnTo>
                      <a:lnTo>
                        <a:pt x="7104" y="2340"/>
                      </a:lnTo>
                      <a:lnTo>
                        <a:pt x="7110" y="2340"/>
                      </a:lnTo>
                      <a:lnTo>
                        <a:pt x="7122" y="2334"/>
                      </a:lnTo>
                      <a:lnTo>
                        <a:pt x="7152" y="2334"/>
                      </a:lnTo>
                      <a:lnTo>
                        <a:pt x="7158" y="2310"/>
                      </a:lnTo>
                      <a:lnTo>
                        <a:pt x="7200" y="2310"/>
                      </a:lnTo>
                      <a:lnTo>
                        <a:pt x="7212" y="2316"/>
                      </a:lnTo>
                      <a:lnTo>
                        <a:pt x="7218" y="2328"/>
                      </a:lnTo>
                      <a:lnTo>
                        <a:pt x="7218" y="2346"/>
                      </a:lnTo>
                      <a:lnTo>
                        <a:pt x="7242" y="2358"/>
                      </a:lnTo>
                      <a:lnTo>
                        <a:pt x="7242" y="2388"/>
                      </a:lnTo>
                      <a:lnTo>
                        <a:pt x="7224" y="2394"/>
                      </a:lnTo>
                      <a:lnTo>
                        <a:pt x="7236" y="2412"/>
                      </a:lnTo>
                      <a:lnTo>
                        <a:pt x="7236" y="2430"/>
                      </a:lnTo>
                      <a:lnTo>
                        <a:pt x="7248" y="2442"/>
                      </a:lnTo>
                      <a:lnTo>
                        <a:pt x="7248" y="2466"/>
                      </a:lnTo>
                      <a:lnTo>
                        <a:pt x="7266" y="2472"/>
                      </a:lnTo>
                      <a:lnTo>
                        <a:pt x="7260" y="2502"/>
                      </a:lnTo>
                      <a:lnTo>
                        <a:pt x="7266" y="2526"/>
                      </a:lnTo>
                      <a:lnTo>
                        <a:pt x="7260" y="2532"/>
                      </a:lnTo>
                      <a:lnTo>
                        <a:pt x="7254" y="2532"/>
                      </a:lnTo>
                      <a:lnTo>
                        <a:pt x="7254" y="2550"/>
                      </a:lnTo>
                      <a:lnTo>
                        <a:pt x="7260" y="2562"/>
                      </a:lnTo>
                      <a:lnTo>
                        <a:pt x="7260" y="2574"/>
                      </a:lnTo>
                      <a:lnTo>
                        <a:pt x="7254" y="2580"/>
                      </a:lnTo>
                      <a:lnTo>
                        <a:pt x="7248" y="2580"/>
                      </a:lnTo>
                      <a:lnTo>
                        <a:pt x="7236" y="2574"/>
                      </a:lnTo>
                      <a:lnTo>
                        <a:pt x="7224" y="2574"/>
                      </a:lnTo>
                      <a:lnTo>
                        <a:pt x="7206" y="2568"/>
                      </a:lnTo>
                      <a:lnTo>
                        <a:pt x="7194" y="2562"/>
                      </a:lnTo>
                      <a:lnTo>
                        <a:pt x="7170" y="2562"/>
                      </a:lnTo>
                      <a:lnTo>
                        <a:pt x="7164" y="2568"/>
                      </a:lnTo>
                      <a:lnTo>
                        <a:pt x="7170" y="2574"/>
                      </a:lnTo>
                      <a:lnTo>
                        <a:pt x="7170" y="2586"/>
                      </a:lnTo>
                      <a:lnTo>
                        <a:pt x="7146" y="2586"/>
                      </a:lnTo>
                      <a:lnTo>
                        <a:pt x="7146" y="2598"/>
                      </a:lnTo>
                      <a:lnTo>
                        <a:pt x="7152" y="2610"/>
                      </a:lnTo>
                      <a:lnTo>
                        <a:pt x="7158" y="2610"/>
                      </a:lnTo>
                      <a:lnTo>
                        <a:pt x="7170" y="2622"/>
                      </a:lnTo>
                      <a:lnTo>
                        <a:pt x="7182" y="2628"/>
                      </a:lnTo>
                      <a:lnTo>
                        <a:pt x="7194" y="2646"/>
                      </a:lnTo>
                      <a:lnTo>
                        <a:pt x="7206" y="2658"/>
                      </a:lnTo>
                      <a:lnTo>
                        <a:pt x="7212" y="2676"/>
                      </a:lnTo>
                      <a:lnTo>
                        <a:pt x="7212" y="2688"/>
                      </a:lnTo>
                      <a:lnTo>
                        <a:pt x="7224" y="2700"/>
                      </a:lnTo>
                      <a:lnTo>
                        <a:pt x="7230" y="2712"/>
                      </a:lnTo>
                      <a:lnTo>
                        <a:pt x="7236" y="2748"/>
                      </a:lnTo>
                      <a:lnTo>
                        <a:pt x="7206" y="2742"/>
                      </a:lnTo>
                      <a:lnTo>
                        <a:pt x="7200" y="2766"/>
                      </a:lnTo>
                      <a:lnTo>
                        <a:pt x="7224" y="2778"/>
                      </a:lnTo>
                      <a:lnTo>
                        <a:pt x="7260" y="2778"/>
                      </a:lnTo>
                      <a:lnTo>
                        <a:pt x="7260" y="2718"/>
                      </a:lnTo>
                      <a:lnTo>
                        <a:pt x="7266" y="2712"/>
                      </a:lnTo>
                      <a:lnTo>
                        <a:pt x="7272" y="2712"/>
                      </a:lnTo>
                      <a:lnTo>
                        <a:pt x="7284" y="2718"/>
                      </a:lnTo>
                      <a:lnTo>
                        <a:pt x="7290" y="2724"/>
                      </a:lnTo>
                      <a:lnTo>
                        <a:pt x="7302" y="2712"/>
                      </a:lnTo>
                      <a:lnTo>
                        <a:pt x="7308" y="2724"/>
                      </a:lnTo>
                      <a:lnTo>
                        <a:pt x="7314" y="2730"/>
                      </a:lnTo>
                      <a:lnTo>
                        <a:pt x="7320" y="2742"/>
                      </a:lnTo>
                      <a:lnTo>
                        <a:pt x="7332" y="2754"/>
                      </a:lnTo>
                      <a:lnTo>
                        <a:pt x="7344" y="2754"/>
                      </a:lnTo>
                      <a:lnTo>
                        <a:pt x="7356" y="2748"/>
                      </a:lnTo>
                      <a:lnTo>
                        <a:pt x="7368" y="2748"/>
                      </a:lnTo>
                      <a:lnTo>
                        <a:pt x="7374" y="2742"/>
                      </a:lnTo>
                      <a:lnTo>
                        <a:pt x="7380" y="2742"/>
                      </a:lnTo>
                      <a:lnTo>
                        <a:pt x="7380" y="2760"/>
                      </a:lnTo>
                      <a:lnTo>
                        <a:pt x="7386" y="2760"/>
                      </a:lnTo>
                      <a:lnTo>
                        <a:pt x="7392" y="2754"/>
                      </a:lnTo>
                      <a:lnTo>
                        <a:pt x="7404" y="2748"/>
                      </a:lnTo>
                      <a:lnTo>
                        <a:pt x="7422" y="2742"/>
                      </a:lnTo>
                      <a:lnTo>
                        <a:pt x="7440" y="2730"/>
                      </a:lnTo>
                      <a:lnTo>
                        <a:pt x="7452" y="2724"/>
                      </a:lnTo>
                      <a:lnTo>
                        <a:pt x="7464" y="2700"/>
                      </a:lnTo>
                      <a:lnTo>
                        <a:pt x="7464" y="2682"/>
                      </a:lnTo>
                      <a:lnTo>
                        <a:pt x="7470" y="2664"/>
                      </a:lnTo>
                      <a:lnTo>
                        <a:pt x="7470" y="2628"/>
                      </a:lnTo>
                      <a:lnTo>
                        <a:pt x="7494" y="2622"/>
                      </a:lnTo>
                      <a:lnTo>
                        <a:pt x="7494" y="2562"/>
                      </a:lnTo>
                      <a:lnTo>
                        <a:pt x="7500" y="2550"/>
                      </a:lnTo>
                      <a:lnTo>
                        <a:pt x="7506" y="2544"/>
                      </a:lnTo>
                      <a:lnTo>
                        <a:pt x="7518" y="2520"/>
                      </a:lnTo>
                      <a:lnTo>
                        <a:pt x="7518" y="2490"/>
                      </a:lnTo>
                      <a:lnTo>
                        <a:pt x="7524" y="2472"/>
                      </a:lnTo>
                      <a:lnTo>
                        <a:pt x="7524" y="2454"/>
                      </a:lnTo>
                      <a:lnTo>
                        <a:pt x="7518" y="2442"/>
                      </a:lnTo>
                      <a:lnTo>
                        <a:pt x="7518" y="2424"/>
                      </a:lnTo>
                      <a:lnTo>
                        <a:pt x="7512" y="2418"/>
                      </a:lnTo>
                      <a:lnTo>
                        <a:pt x="7512" y="2412"/>
                      </a:lnTo>
                      <a:lnTo>
                        <a:pt x="7518" y="2400"/>
                      </a:lnTo>
                      <a:lnTo>
                        <a:pt x="7524" y="2394"/>
                      </a:lnTo>
                      <a:lnTo>
                        <a:pt x="7524" y="2382"/>
                      </a:lnTo>
                      <a:lnTo>
                        <a:pt x="7530" y="2376"/>
                      </a:lnTo>
                      <a:lnTo>
                        <a:pt x="7530" y="2364"/>
                      </a:lnTo>
                      <a:lnTo>
                        <a:pt x="7524" y="2358"/>
                      </a:lnTo>
                      <a:lnTo>
                        <a:pt x="7518" y="2346"/>
                      </a:lnTo>
                      <a:lnTo>
                        <a:pt x="7524" y="2334"/>
                      </a:lnTo>
                      <a:lnTo>
                        <a:pt x="7530" y="2328"/>
                      </a:lnTo>
                      <a:lnTo>
                        <a:pt x="7536" y="2316"/>
                      </a:lnTo>
                      <a:lnTo>
                        <a:pt x="7536" y="2298"/>
                      </a:lnTo>
                      <a:lnTo>
                        <a:pt x="7530" y="2292"/>
                      </a:lnTo>
                      <a:lnTo>
                        <a:pt x="7530" y="2280"/>
                      </a:lnTo>
                      <a:lnTo>
                        <a:pt x="7518" y="2256"/>
                      </a:lnTo>
                      <a:lnTo>
                        <a:pt x="7512" y="2250"/>
                      </a:lnTo>
                      <a:lnTo>
                        <a:pt x="7512" y="2238"/>
                      </a:lnTo>
                      <a:lnTo>
                        <a:pt x="7506" y="2232"/>
                      </a:lnTo>
                      <a:lnTo>
                        <a:pt x="7506" y="2220"/>
                      </a:lnTo>
                      <a:lnTo>
                        <a:pt x="7500" y="2214"/>
                      </a:lnTo>
                      <a:lnTo>
                        <a:pt x="7500" y="2202"/>
                      </a:lnTo>
                      <a:lnTo>
                        <a:pt x="7494" y="2196"/>
                      </a:lnTo>
                      <a:lnTo>
                        <a:pt x="7482" y="2190"/>
                      </a:lnTo>
                      <a:lnTo>
                        <a:pt x="7476" y="2184"/>
                      </a:lnTo>
                      <a:lnTo>
                        <a:pt x="7482" y="2178"/>
                      </a:lnTo>
                      <a:lnTo>
                        <a:pt x="7476" y="2178"/>
                      </a:lnTo>
                      <a:lnTo>
                        <a:pt x="7470" y="2172"/>
                      </a:lnTo>
                      <a:lnTo>
                        <a:pt x="7458" y="2166"/>
                      </a:lnTo>
                      <a:lnTo>
                        <a:pt x="7446" y="2154"/>
                      </a:lnTo>
                      <a:lnTo>
                        <a:pt x="7440" y="2142"/>
                      </a:lnTo>
                      <a:lnTo>
                        <a:pt x="7434" y="2124"/>
                      </a:lnTo>
                      <a:lnTo>
                        <a:pt x="7434" y="2112"/>
                      </a:lnTo>
                      <a:lnTo>
                        <a:pt x="7428" y="2106"/>
                      </a:lnTo>
                      <a:lnTo>
                        <a:pt x="7428" y="2100"/>
                      </a:lnTo>
                      <a:lnTo>
                        <a:pt x="7416" y="2094"/>
                      </a:lnTo>
                      <a:lnTo>
                        <a:pt x="7416" y="2082"/>
                      </a:lnTo>
                      <a:lnTo>
                        <a:pt x="7422" y="2070"/>
                      </a:lnTo>
                      <a:lnTo>
                        <a:pt x="7422" y="2040"/>
                      </a:lnTo>
                      <a:lnTo>
                        <a:pt x="7410" y="2028"/>
                      </a:lnTo>
                      <a:lnTo>
                        <a:pt x="7404" y="2016"/>
                      </a:lnTo>
                      <a:lnTo>
                        <a:pt x="7398" y="2010"/>
                      </a:lnTo>
                      <a:lnTo>
                        <a:pt x="7380" y="2004"/>
                      </a:lnTo>
                      <a:lnTo>
                        <a:pt x="7380" y="1998"/>
                      </a:lnTo>
                      <a:lnTo>
                        <a:pt x="7374" y="1992"/>
                      </a:lnTo>
                      <a:lnTo>
                        <a:pt x="7368" y="1980"/>
                      </a:lnTo>
                      <a:lnTo>
                        <a:pt x="7356" y="1968"/>
                      </a:lnTo>
                      <a:lnTo>
                        <a:pt x="7344" y="1968"/>
                      </a:lnTo>
                      <a:lnTo>
                        <a:pt x="7332" y="1956"/>
                      </a:lnTo>
                      <a:lnTo>
                        <a:pt x="7326" y="1956"/>
                      </a:lnTo>
                      <a:lnTo>
                        <a:pt x="7308" y="1950"/>
                      </a:lnTo>
                      <a:lnTo>
                        <a:pt x="7302" y="1938"/>
                      </a:lnTo>
                      <a:lnTo>
                        <a:pt x="7308" y="1938"/>
                      </a:lnTo>
                      <a:lnTo>
                        <a:pt x="7314" y="1944"/>
                      </a:lnTo>
                      <a:lnTo>
                        <a:pt x="7326" y="1944"/>
                      </a:lnTo>
                      <a:lnTo>
                        <a:pt x="7332" y="1950"/>
                      </a:lnTo>
                      <a:lnTo>
                        <a:pt x="7344" y="1950"/>
                      </a:lnTo>
                      <a:lnTo>
                        <a:pt x="7350" y="1944"/>
                      </a:lnTo>
                      <a:lnTo>
                        <a:pt x="7350" y="1938"/>
                      </a:lnTo>
                      <a:lnTo>
                        <a:pt x="7344" y="1938"/>
                      </a:lnTo>
                      <a:lnTo>
                        <a:pt x="7332" y="1932"/>
                      </a:lnTo>
                      <a:lnTo>
                        <a:pt x="7326" y="1926"/>
                      </a:lnTo>
                      <a:lnTo>
                        <a:pt x="7320" y="1926"/>
                      </a:lnTo>
                      <a:lnTo>
                        <a:pt x="7242" y="1890"/>
                      </a:lnTo>
                      <a:lnTo>
                        <a:pt x="7236" y="1890"/>
                      </a:lnTo>
                      <a:lnTo>
                        <a:pt x="7230" y="1884"/>
                      </a:lnTo>
                      <a:lnTo>
                        <a:pt x="7218" y="1878"/>
                      </a:lnTo>
                      <a:lnTo>
                        <a:pt x="7206" y="1866"/>
                      </a:lnTo>
                      <a:lnTo>
                        <a:pt x="7194" y="1860"/>
                      </a:lnTo>
                      <a:lnTo>
                        <a:pt x="7188" y="1854"/>
                      </a:lnTo>
                      <a:lnTo>
                        <a:pt x="7170" y="1854"/>
                      </a:lnTo>
                      <a:lnTo>
                        <a:pt x="7164" y="1860"/>
                      </a:lnTo>
                      <a:lnTo>
                        <a:pt x="7152" y="1866"/>
                      </a:lnTo>
                      <a:lnTo>
                        <a:pt x="7116" y="1854"/>
                      </a:lnTo>
                      <a:lnTo>
                        <a:pt x="7152" y="1896"/>
                      </a:lnTo>
                      <a:lnTo>
                        <a:pt x="7146" y="1920"/>
                      </a:lnTo>
                      <a:lnTo>
                        <a:pt x="7134" y="1920"/>
                      </a:lnTo>
                      <a:lnTo>
                        <a:pt x="7134" y="1890"/>
                      </a:lnTo>
                      <a:lnTo>
                        <a:pt x="7116" y="1878"/>
                      </a:lnTo>
                      <a:lnTo>
                        <a:pt x="7116" y="1908"/>
                      </a:lnTo>
                      <a:lnTo>
                        <a:pt x="7068" y="1908"/>
                      </a:lnTo>
                      <a:lnTo>
                        <a:pt x="7074" y="1902"/>
                      </a:lnTo>
                      <a:lnTo>
                        <a:pt x="7074" y="1884"/>
                      </a:lnTo>
                      <a:lnTo>
                        <a:pt x="7068" y="1878"/>
                      </a:lnTo>
                      <a:lnTo>
                        <a:pt x="7044" y="1878"/>
                      </a:lnTo>
                      <a:lnTo>
                        <a:pt x="7038" y="1890"/>
                      </a:lnTo>
                      <a:lnTo>
                        <a:pt x="7014" y="1890"/>
                      </a:lnTo>
                      <a:lnTo>
                        <a:pt x="7002" y="1854"/>
                      </a:lnTo>
                      <a:lnTo>
                        <a:pt x="6996" y="1854"/>
                      </a:lnTo>
                      <a:lnTo>
                        <a:pt x="6984" y="1830"/>
                      </a:lnTo>
                      <a:lnTo>
                        <a:pt x="6912" y="1836"/>
                      </a:lnTo>
                      <a:lnTo>
                        <a:pt x="6906" y="1824"/>
                      </a:lnTo>
                      <a:lnTo>
                        <a:pt x="6882" y="1824"/>
                      </a:lnTo>
                      <a:lnTo>
                        <a:pt x="6870" y="1818"/>
                      </a:lnTo>
                      <a:lnTo>
                        <a:pt x="6864" y="1812"/>
                      </a:lnTo>
                      <a:lnTo>
                        <a:pt x="6864" y="1794"/>
                      </a:lnTo>
                      <a:lnTo>
                        <a:pt x="6876" y="1788"/>
                      </a:lnTo>
                      <a:lnTo>
                        <a:pt x="6888" y="1776"/>
                      </a:lnTo>
                      <a:lnTo>
                        <a:pt x="6900" y="1776"/>
                      </a:lnTo>
                      <a:lnTo>
                        <a:pt x="6900" y="1752"/>
                      </a:lnTo>
                      <a:lnTo>
                        <a:pt x="6906" y="1752"/>
                      </a:lnTo>
                      <a:lnTo>
                        <a:pt x="6918" y="1746"/>
                      </a:lnTo>
                      <a:lnTo>
                        <a:pt x="6930" y="1734"/>
                      </a:lnTo>
                      <a:lnTo>
                        <a:pt x="6930" y="1728"/>
                      </a:lnTo>
                      <a:lnTo>
                        <a:pt x="6936" y="1716"/>
                      </a:lnTo>
                      <a:lnTo>
                        <a:pt x="6936" y="1710"/>
                      </a:lnTo>
                      <a:lnTo>
                        <a:pt x="6942" y="1698"/>
                      </a:lnTo>
                      <a:lnTo>
                        <a:pt x="6930" y="1686"/>
                      </a:lnTo>
                      <a:lnTo>
                        <a:pt x="6942" y="1662"/>
                      </a:lnTo>
                      <a:lnTo>
                        <a:pt x="6930" y="1650"/>
                      </a:lnTo>
                      <a:lnTo>
                        <a:pt x="6948" y="1632"/>
                      </a:lnTo>
                      <a:lnTo>
                        <a:pt x="6972" y="1626"/>
                      </a:lnTo>
                      <a:lnTo>
                        <a:pt x="6960" y="1596"/>
                      </a:lnTo>
                      <a:lnTo>
                        <a:pt x="6984" y="1590"/>
                      </a:lnTo>
                      <a:lnTo>
                        <a:pt x="6960" y="1554"/>
                      </a:lnTo>
                      <a:lnTo>
                        <a:pt x="6990" y="1542"/>
                      </a:lnTo>
                      <a:lnTo>
                        <a:pt x="6990" y="1500"/>
                      </a:lnTo>
                      <a:lnTo>
                        <a:pt x="6996" y="1488"/>
                      </a:lnTo>
                      <a:lnTo>
                        <a:pt x="7002" y="1482"/>
                      </a:lnTo>
                      <a:lnTo>
                        <a:pt x="7020" y="1470"/>
                      </a:lnTo>
                      <a:lnTo>
                        <a:pt x="7032" y="1464"/>
                      </a:lnTo>
                      <a:lnTo>
                        <a:pt x="7050" y="1464"/>
                      </a:lnTo>
                      <a:lnTo>
                        <a:pt x="7068" y="1470"/>
                      </a:lnTo>
                      <a:lnTo>
                        <a:pt x="7188" y="1470"/>
                      </a:lnTo>
                      <a:lnTo>
                        <a:pt x="7206" y="1488"/>
                      </a:lnTo>
                      <a:lnTo>
                        <a:pt x="7224" y="1482"/>
                      </a:lnTo>
                      <a:lnTo>
                        <a:pt x="7218" y="1464"/>
                      </a:lnTo>
                      <a:lnTo>
                        <a:pt x="7290" y="1482"/>
                      </a:lnTo>
                      <a:lnTo>
                        <a:pt x="7320" y="1464"/>
                      </a:lnTo>
                      <a:lnTo>
                        <a:pt x="7350" y="1488"/>
                      </a:lnTo>
                      <a:lnTo>
                        <a:pt x="7356" y="1452"/>
                      </a:lnTo>
                      <a:lnTo>
                        <a:pt x="7434" y="1452"/>
                      </a:lnTo>
                      <a:lnTo>
                        <a:pt x="7446" y="1458"/>
                      </a:lnTo>
                      <a:lnTo>
                        <a:pt x="7452" y="1470"/>
                      </a:lnTo>
                      <a:lnTo>
                        <a:pt x="7458" y="1470"/>
                      </a:lnTo>
                      <a:lnTo>
                        <a:pt x="7464" y="1464"/>
                      </a:lnTo>
                      <a:lnTo>
                        <a:pt x="7476" y="1464"/>
                      </a:lnTo>
                      <a:lnTo>
                        <a:pt x="7482" y="1458"/>
                      </a:lnTo>
                      <a:lnTo>
                        <a:pt x="7494" y="1452"/>
                      </a:lnTo>
                      <a:lnTo>
                        <a:pt x="7518" y="1470"/>
                      </a:lnTo>
                      <a:lnTo>
                        <a:pt x="7560" y="1476"/>
                      </a:lnTo>
                      <a:lnTo>
                        <a:pt x="7506" y="1488"/>
                      </a:lnTo>
                      <a:lnTo>
                        <a:pt x="7506" y="1494"/>
                      </a:lnTo>
                      <a:lnTo>
                        <a:pt x="7512" y="1500"/>
                      </a:lnTo>
                      <a:lnTo>
                        <a:pt x="7524" y="1506"/>
                      </a:lnTo>
                      <a:lnTo>
                        <a:pt x="7530" y="1512"/>
                      </a:lnTo>
                      <a:lnTo>
                        <a:pt x="7542" y="1512"/>
                      </a:lnTo>
                      <a:lnTo>
                        <a:pt x="7548" y="1506"/>
                      </a:lnTo>
                      <a:lnTo>
                        <a:pt x="7560" y="1506"/>
                      </a:lnTo>
                      <a:lnTo>
                        <a:pt x="7572" y="1500"/>
                      </a:lnTo>
                      <a:lnTo>
                        <a:pt x="7578" y="1494"/>
                      </a:lnTo>
                      <a:lnTo>
                        <a:pt x="7584" y="1494"/>
                      </a:lnTo>
                      <a:lnTo>
                        <a:pt x="7614" y="1506"/>
                      </a:lnTo>
                      <a:lnTo>
                        <a:pt x="7638" y="1488"/>
                      </a:lnTo>
                      <a:lnTo>
                        <a:pt x="7644" y="1488"/>
                      </a:lnTo>
                      <a:lnTo>
                        <a:pt x="7650" y="1494"/>
                      </a:lnTo>
                      <a:lnTo>
                        <a:pt x="7686" y="1494"/>
                      </a:lnTo>
                      <a:lnTo>
                        <a:pt x="7692" y="1488"/>
                      </a:lnTo>
                      <a:lnTo>
                        <a:pt x="7692" y="1476"/>
                      </a:lnTo>
                      <a:lnTo>
                        <a:pt x="7728" y="1482"/>
                      </a:lnTo>
                      <a:lnTo>
                        <a:pt x="7680" y="1452"/>
                      </a:lnTo>
                      <a:lnTo>
                        <a:pt x="7650" y="1464"/>
                      </a:lnTo>
                      <a:lnTo>
                        <a:pt x="7644" y="1446"/>
                      </a:lnTo>
                      <a:lnTo>
                        <a:pt x="7638" y="1434"/>
                      </a:lnTo>
                      <a:lnTo>
                        <a:pt x="7632" y="1428"/>
                      </a:lnTo>
                      <a:lnTo>
                        <a:pt x="7626" y="1416"/>
                      </a:lnTo>
                      <a:lnTo>
                        <a:pt x="7626" y="1398"/>
                      </a:lnTo>
                      <a:lnTo>
                        <a:pt x="7650" y="1374"/>
                      </a:lnTo>
                      <a:lnTo>
                        <a:pt x="7644" y="1344"/>
                      </a:lnTo>
                      <a:lnTo>
                        <a:pt x="7662" y="1332"/>
                      </a:lnTo>
                      <a:lnTo>
                        <a:pt x="7650" y="1326"/>
                      </a:lnTo>
                      <a:lnTo>
                        <a:pt x="7638" y="1314"/>
                      </a:lnTo>
                      <a:lnTo>
                        <a:pt x="7638" y="1302"/>
                      </a:lnTo>
                      <a:lnTo>
                        <a:pt x="7644" y="1296"/>
                      </a:lnTo>
                      <a:lnTo>
                        <a:pt x="7662" y="1290"/>
                      </a:lnTo>
                      <a:lnTo>
                        <a:pt x="7698" y="1290"/>
                      </a:lnTo>
                      <a:lnTo>
                        <a:pt x="7710" y="1296"/>
                      </a:lnTo>
                      <a:lnTo>
                        <a:pt x="7728" y="1296"/>
                      </a:lnTo>
                      <a:lnTo>
                        <a:pt x="7746" y="1278"/>
                      </a:lnTo>
                      <a:lnTo>
                        <a:pt x="7782" y="1308"/>
                      </a:lnTo>
                      <a:lnTo>
                        <a:pt x="7806" y="1290"/>
                      </a:lnTo>
                      <a:lnTo>
                        <a:pt x="7812" y="1302"/>
                      </a:lnTo>
                      <a:lnTo>
                        <a:pt x="7818" y="1308"/>
                      </a:lnTo>
                      <a:lnTo>
                        <a:pt x="7830" y="1332"/>
                      </a:lnTo>
                      <a:lnTo>
                        <a:pt x="7830" y="1338"/>
                      </a:lnTo>
                      <a:lnTo>
                        <a:pt x="7836" y="1344"/>
                      </a:lnTo>
                      <a:lnTo>
                        <a:pt x="7878" y="1344"/>
                      </a:lnTo>
                      <a:lnTo>
                        <a:pt x="7878" y="1362"/>
                      </a:lnTo>
                      <a:lnTo>
                        <a:pt x="7884" y="1374"/>
                      </a:lnTo>
                      <a:lnTo>
                        <a:pt x="7890" y="1380"/>
                      </a:lnTo>
                      <a:lnTo>
                        <a:pt x="7896" y="1380"/>
                      </a:lnTo>
                      <a:lnTo>
                        <a:pt x="7914" y="1362"/>
                      </a:lnTo>
                      <a:lnTo>
                        <a:pt x="7932" y="1326"/>
                      </a:lnTo>
                      <a:lnTo>
                        <a:pt x="7938" y="1320"/>
                      </a:lnTo>
                      <a:lnTo>
                        <a:pt x="7938" y="1314"/>
                      </a:lnTo>
                      <a:lnTo>
                        <a:pt x="7962" y="1302"/>
                      </a:lnTo>
                      <a:lnTo>
                        <a:pt x="7992" y="1314"/>
                      </a:lnTo>
                      <a:lnTo>
                        <a:pt x="7986" y="1302"/>
                      </a:lnTo>
                      <a:lnTo>
                        <a:pt x="7962" y="1284"/>
                      </a:lnTo>
                      <a:lnTo>
                        <a:pt x="7956" y="1278"/>
                      </a:lnTo>
                      <a:lnTo>
                        <a:pt x="7932" y="1266"/>
                      </a:lnTo>
                      <a:lnTo>
                        <a:pt x="7926" y="1254"/>
                      </a:lnTo>
                      <a:lnTo>
                        <a:pt x="7914" y="1248"/>
                      </a:lnTo>
                      <a:lnTo>
                        <a:pt x="7908" y="1242"/>
                      </a:lnTo>
                      <a:lnTo>
                        <a:pt x="7908" y="1230"/>
                      </a:lnTo>
                      <a:lnTo>
                        <a:pt x="7962" y="1230"/>
                      </a:lnTo>
                      <a:lnTo>
                        <a:pt x="7992" y="1236"/>
                      </a:lnTo>
                      <a:lnTo>
                        <a:pt x="8052" y="1236"/>
                      </a:lnTo>
                      <a:lnTo>
                        <a:pt x="8052" y="1254"/>
                      </a:lnTo>
                      <a:lnTo>
                        <a:pt x="8040" y="1254"/>
                      </a:lnTo>
                      <a:lnTo>
                        <a:pt x="8028" y="1248"/>
                      </a:lnTo>
                      <a:lnTo>
                        <a:pt x="7992" y="1248"/>
                      </a:lnTo>
                      <a:lnTo>
                        <a:pt x="7992" y="1266"/>
                      </a:lnTo>
                      <a:lnTo>
                        <a:pt x="8016" y="1290"/>
                      </a:lnTo>
                      <a:lnTo>
                        <a:pt x="8028" y="1296"/>
                      </a:lnTo>
                      <a:lnTo>
                        <a:pt x="8034" y="1320"/>
                      </a:lnTo>
                      <a:lnTo>
                        <a:pt x="8064" y="1326"/>
                      </a:lnTo>
                      <a:lnTo>
                        <a:pt x="8058" y="1344"/>
                      </a:lnTo>
                      <a:lnTo>
                        <a:pt x="8076" y="1362"/>
                      </a:lnTo>
                      <a:lnTo>
                        <a:pt x="8046" y="1368"/>
                      </a:lnTo>
                      <a:lnTo>
                        <a:pt x="8040" y="1380"/>
                      </a:lnTo>
                      <a:lnTo>
                        <a:pt x="8022" y="1386"/>
                      </a:lnTo>
                      <a:lnTo>
                        <a:pt x="8028" y="1398"/>
                      </a:lnTo>
                      <a:lnTo>
                        <a:pt x="8028" y="1404"/>
                      </a:lnTo>
                      <a:lnTo>
                        <a:pt x="8034" y="1416"/>
                      </a:lnTo>
                      <a:lnTo>
                        <a:pt x="8034" y="1440"/>
                      </a:lnTo>
                      <a:lnTo>
                        <a:pt x="8028" y="1452"/>
                      </a:lnTo>
                      <a:lnTo>
                        <a:pt x="8016" y="1464"/>
                      </a:lnTo>
                      <a:lnTo>
                        <a:pt x="8004" y="1488"/>
                      </a:lnTo>
                      <a:lnTo>
                        <a:pt x="8004" y="1506"/>
                      </a:lnTo>
                      <a:lnTo>
                        <a:pt x="8010" y="1506"/>
                      </a:lnTo>
                      <a:lnTo>
                        <a:pt x="8016" y="1512"/>
                      </a:lnTo>
                      <a:lnTo>
                        <a:pt x="8022" y="1524"/>
                      </a:lnTo>
                      <a:lnTo>
                        <a:pt x="8016" y="1530"/>
                      </a:lnTo>
                      <a:lnTo>
                        <a:pt x="8010" y="1542"/>
                      </a:lnTo>
                      <a:lnTo>
                        <a:pt x="7986" y="1566"/>
                      </a:lnTo>
                      <a:lnTo>
                        <a:pt x="7974" y="1572"/>
                      </a:lnTo>
                      <a:lnTo>
                        <a:pt x="7968" y="1578"/>
                      </a:lnTo>
                      <a:lnTo>
                        <a:pt x="7962" y="1578"/>
                      </a:lnTo>
                      <a:lnTo>
                        <a:pt x="7962" y="1596"/>
                      </a:lnTo>
                      <a:lnTo>
                        <a:pt x="7944" y="1596"/>
                      </a:lnTo>
                      <a:lnTo>
                        <a:pt x="7950" y="1596"/>
                      </a:lnTo>
                      <a:lnTo>
                        <a:pt x="7956" y="1602"/>
                      </a:lnTo>
                      <a:lnTo>
                        <a:pt x="7968" y="1608"/>
                      </a:lnTo>
                      <a:lnTo>
                        <a:pt x="7980" y="1632"/>
                      </a:lnTo>
                      <a:lnTo>
                        <a:pt x="7974" y="1650"/>
                      </a:lnTo>
                      <a:lnTo>
                        <a:pt x="7974" y="1662"/>
                      </a:lnTo>
                      <a:lnTo>
                        <a:pt x="7968" y="1674"/>
                      </a:lnTo>
                      <a:lnTo>
                        <a:pt x="7968" y="1686"/>
                      </a:lnTo>
                      <a:lnTo>
                        <a:pt x="7974" y="1704"/>
                      </a:lnTo>
                      <a:lnTo>
                        <a:pt x="7992" y="1722"/>
                      </a:lnTo>
                      <a:lnTo>
                        <a:pt x="8016" y="1752"/>
                      </a:lnTo>
                      <a:lnTo>
                        <a:pt x="8046" y="1776"/>
                      </a:lnTo>
                      <a:lnTo>
                        <a:pt x="8070" y="1800"/>
                      </a:lnTo>
                      <a:lnTo>
                        <a:pt x="8082" y="1806"/>
                      </a:lnTo>
                      <a:lnTo>
                        <a:pt x="8142" y="1872"/>
                      </a:lnTo>
                      <a:lnTo>
                        <a:pt x="8154" y="1866"/>
                      </a:lnTo>
                      <a:lnTo>
                        <a:pt x="8238" y="1962"/>
                      </a:lnTo>
                      <a:lnTo>
                        <a:pt x="8286" y="1980"/>
                      </a:lnTo>
                      <a:lnTo>
                        <a:pt x="8310" y="2004"/>
                      </a:lnTo>
                      <a:lnTo>
                        <a:pt x="8316" y="2016"/>
                      </a:lnTo>
                      <a:lnTo>
                        <a:pt x="8328" y="2022"/>
                      </a:lnTo>
                      <a:lnTo>
                        <a:pt x="8334" y="2034"/>
                      </a:lnTo>
                      <a:lnTo>
                        <a:pt x="8388" y="2088"/>
                      </a:lnTo>
                      <a:lnTo>
                        <a:pt x="8406" y="2088"/>
                      </a:lnTo>
                      <a:lnTo>
                        <a:pt x="8406" y="2106"/>
                      </a:lnTo>
                      <a:lnTo>
                        <a:pt x="8418" y="2106"/>
                      </a:lnTo>
                      <a:lnTo>
                        <a:pt x="8430" y="2100"/>
                      </a:lnTo>
                      <a:lnTo>
                        <a:pt x="8436" y="2094"/>
                      </a:lnTo>
                      <a:lnTo>
                        <a:pt x="8442" y="2082"/>
                      </a:lnTo>
                      <a:lnTo>
                        <a:pt x="8442" y="2076"/>
                      </a:lnTo>
                      <a:lnTo>
                        <a:pt x="8430" y="2064"/>
                      </a:lnTo>
                      <a:lnTo>
                        <a:pt x="8436" y="2058"/>
                      </a:lnTo>
                      <a:lnTo>
                        <a:pt x="8442" y="2046"/>
                      </a:lnTo>
                      <a:lnTo>
                        <a:pt x="8448" y="2040"/>
                      </a:lnTo>
                      <a:lnTo>
                        <a:pt x="8448" y="2022"/>
                      </a:lnTo>
                      <a:lnTo>
                        <a:pt x="8430" y="2004"/>
                      </a:lnTo>
                      <a:lnTo>
                        <a:pt x="8418" y="1998"/>
                      </a:lnTo>
                      <a:lnTo>
                        <a:pt x="8406" y="1974"/>
                      </a:lnTo>
                      <a:lnTo>
                        <a:pt x="8406" y="1962"/>
                      </a:lnTo>
                      <a:lnTo>
                        <a:pt x="8412" y="1950"/>
                      </a:lnTo>
                      <a:lnTo>
                        <a:pt x="8430" y="1932"/>
                      </a:lnTo>
                      <a:lnTo>
                        <a:pt x="8442" y="1932"/>
                      </a:lnTo>
                      <a:lnTo>
                        <a:pt x="8454" y="1938"/>
                      </a:lnTo>
                      <a:lnTo>
                        <a:pt x="8460" y="1938"/>
                      </a:lnTo>
                      <a:lnTo>
                        <a:pt x="8466" y="1944"/>
                      </a:lnTo>
                      <a:lnTo>
                        <a:pt x="8472" y="1944"/>
                      </a:lnTo>
                      <a:lnTo>
                        <a:pt x="8466" y="1938"/>
                      </a:lnTo>
                      <a:lnTo>
                        <a:pt x="8460" y="1926"/>
                      </a:lnTo>
                      <a:lnTo>
                        <a:pt x="8448" y="1920"/>
                      </a:lnTo>
                      <a:lnTo>
                        <a:pt x="8442" y="1908"/>
                      </a:lnTo>
                      <a:lnTo>
                        <a:pt x="8424" y="1890"/>
                      </a:lnTo>
                      <a:lnTo>
                        <a:pt x="8412" y="1890"/>
                      </a:lnTo>
                      <a:lnTo>
                        <a:pt x="8406" y="1884"/>
                      </a:lnTo>
                      <a:lnTo>
                        <a:pt x="8400" y="1872"/>
                      </a:lnTo>
                      <a:lnTo>
                        <a:pt x="8400" y="1860"/>
                      </a:lnTo>
                      <a:lnTo>
                        <a:pt x="8406" y="1848"/>
                      </a:lnTo>
                      <a:lnTo>
                        <a:pt x="8412" y="1842"/>
                      </a:lnTo>
                      <a:lnTo>
                        <a:pt x="8424" y="1836"/>
                      </a:lnTo>
                      <a:lnTo>
                        <a:pt x="8430" y="1830"/>
                      </a:lnTo>
                      <a:lnTo>
                        <a:pt x="8442" y="1836"/>
                      </a:lnTo>
                      <a:lnTo>
                        <a:pt x="8466" y="1836"/>
                      </a:lnTo>
                      <a:lnTo>
                        <a:pt x="8472" y="1830"/>
                      </a:lnTo>
                      <a:lnTo>
                        <a:pt x="8472" y="1812"/>
                      </a:lnTo>
                      <a:lnTo>
                        <a:pt x="8454" y="1794"/>
                      </a:lnTo>
                      <a:lnTo>
                        <a:pt x="8436" y="1788"/>
                      </a:lnTo>
                      <a:lnTo>
                        <a:pt x="8424" y="1782"/>
                      </a:lnTo>
                      <a:lnTo>
                        <a:pt x="8406" y="1770"/>
                      </a:lnTo>
                      <a:lnTo>
                        <a:pt x="8394" y="1758"/>
                      </a:lnTo>
                      <a:lnTo>
                        <a:pt x="8388" y="1740"/>
                      </a:lnTo>
                      <a:lnTo>
                        <a:pt x="8376" y="1716"/>
                      </a:lnTo>
                      <a:lnTo>
                        <a:pt x="8376" y="1704"/>
                      </a:lnTo>
                      <a:lnTo>
                        <a:pt x="8370" y="1698"/>
                      </a:lnTo>
                      <a:lnTo>
                        <a:pt x="8370" y="1692"/>
                      </a:lnTo>
                      <a:lnTo>
                        <a:pt x="8382" y="1686"/>
                      </a:lnTo>
                      <a:lnTo>
                        <a:pt x="8406" y="1710"/>
                      </a:lnTo>
                      <a:lnTo>
                        <a:pt x="8418" y="1716"/>
                      </a:lnTo>
                      <a:lnTo>
                        <a:pt x="8430" y="1716"/>
                      </a:lnTo>
                      <a:lnTo>
                        <a:pt x="8430" y="1710"/>
                      </a:lnTo>
                      <a:lnTo>
                        <a:pt x="8424" y="1704"/>
                      </a:lnTo>
                      <a:lnTo>
                        <a:pt x="8418" y="1692"/>
                      </a:lnTo>
                      <a:lnTo>
                        <a:pt x="8412" y="1686"/>
                      </a:lnTo>
                      <a:lnTo>
                        <a:pt x="8406" y="1674"/>
                      </a:lnTo>
                      <a:lnTo>
                        <a:pt x="8400" y="1668"/>
                      </a:lnTo>
                      <a:lnTo>
                        <a:pt x="8364" y="1668"/>
                      </a:lnTo>
                      <a:lnTo>
                        <a:pt x="8316" y="1626"/>
                      </a:lnTo>
                      <a:lnTo>
                        <a:pt x="8316" y="1596"/>
                      </a:lnTo>
                      <a:lnTo>
                        <a:pt x="8310" y="1590"/>
                      </a:lnTo>
                      <a:lnTo>
                        <a:pt x="8298" y="1584"/>
                      </a:lnTo>
                      <a:lnTo>
                        <a:pt x="8280" y="1578"/>
                      </a:lnTo>
                      <a:lnTo>
                        <a:pt x="8268" y="1572"/>
                      </a:lnTo>
                      <a:lnTo>
                        <a:pt x="8256" y="1572"/>
                      </a:lnTo>
                      <a:lnTo>
                        <a:pt x="8256" y="1590"/>
                      </a:lnTo>
                      <a:lnTo>
                        <a:pt x="8250" y="1590"/>
                      </a:lnTo>
                      <a:lnTo>
                        <a:pt x="8244" y="1584"/>
                      </a:lnTo>
                      <a:lnTo>
                        <a:pt x="8232" y="1584"/>
                      </a:lnTo>
                      <a:lnTo>
                        <a:pt x="8214" y="1572"/>
                      </a:lnTo>
                      <a:lnTo>
                        <a:pt x="8202" y="1566"/>
                      </a:lnTo>
                      <a:lnTo>
                        <a:pt x="8196" y="1560"/>
                      </a:lnTo>
                      <a:lnTo>
                        <a:pt x="8190" y="1548"/>
                      </a:lnTo>
                      <a:lnTo>
                        <a:pt x="8190" y="1536"/>
                      </a:lnTo>
                      <a:lnTo>
                        <a:pt x="8196" y="1524"/>
                      </a:lnTo>
                      <a:lnTo>
                        <a:pt x="8196" y="1500"/>
                      </a:lnTo>
                      <a:lnTo>
                        <a:pt x="8184" y="1476"/>
                      </a:lnTo>
                      <a:lnTo>
                        <a:pt x="8166" y="1458"/>
                      </a:lnTo>
                      <a:lnTo>
                        <a:pt x="8154" y="1452"/>
                      </a:lnTo>
                      <a:lnTo>
                        <a:pt x="8154" y="1434"/>
                      </a:lnTo>
                      <a:lnTo>
                        <a:pt x="8160" y="1428"/>
                      </a:lnTo>
                      <a:lnTo>
                        <a:pt x="8172" y="1428"/>
                      </a:lnTo>
                      <a:lnTo>
                        <a:pt x="8184" y="1434"/>
                      </a:lnTo>
                      <a:lnTo>
                        <a:pt x="8196" y="1416"/>
                      </a:lnTo>
                      <a:lnTo>
                        <a:pt x="8232" y="1446"/>
                      </a:lnTo>
                      <a:lnTo>
                        <a:pt x="8238" y="1440"/>
                      </a:lnTo>
                      <a:lnTo>
                        <a:pt x="8226" y="1428"/>
                      </a:lnTo>
                      <a:lnTo>
                        <a:pt x="8226" y="1422"/>
                      </a:lnTo>
                      <a:lnTo>
                        <a:pt x="8232" y="1416"/>
                      </a:lnTo>
                      <a:lnTo>
                        <a:pt x="8232" y="1404"/>
                      </a:lnTo>
                      <a:lnTo>
                        <a:pt x="8238" y="1392"/>
                      </a:lnTo>
                      <a:lnTo>
                        <a:pt x="8250" y="1386"/>
                      </a:lnTo>
                      <a:lnTo>
                        <a:pt x="8256" y="1386"/>
                      </a:lnTo>
                      <a:lnTo>
                        <a:pt x="8274" y="1404"/>
                      </a:lnTo>
                      <a:lnTo>
                        <a:pt x="8280" y="1416"/>
                      </a:lnTo>
                      <a:lnTo>
                        <a:pt x="8292" y="1428"/>
                      </a:lnTo>
                      <a:lnTo>
                        <a:pt x="8304" y="1434"/>
                      </a:lnTo>
                      <a:lnTo>
                        <a:pt x="8310" y="1446"/>
                      </a:lnTo>
                      <a:lnTo>
                        <a:pt x="8322" y="1398"/>
                      </a:lnTo>
                      <a:lnTo>
                        <a:pt x="8334" y="1398"/>
                      </a:lnTo>
                      <a:lnTo>
                        <a:pt x="8364" y="1392"/>
                      </a:lnTo>
                      <a:lnTo>
                        <a:pt x="8400" y="1386"/>
                      </a:lnTo>
                      <a:lnTo>
                        <a:pt x="8430" y="1386"/>
                      </a:lnTo>
                      <a:lnTo>
                        <a:pt x="8478" y="1410"/>
                      </a:lnTo>
                      <a:lnTo>
                        <a:pt x="8484" y="1416"/>
                      </a:lnTo>
                      <a:lnTo>
                        <a:pt x="8490" y="1416"/>
                      </a:lnTo>
                      <a:lnTo>
                        <a:pt x="8532" y="1434"/>
                      </a:lnTo>
                      <a:lnTo>
                        <a:pt x="8502" y="1374"/>
                      </a:lnTo>
                      <a:lnTo>
                        <a:pt x="8526" y="1374"/>
                      </a:lnTo>
                      <a:lnTo>
                        <a:pt x="8538" y="1368"/>
                      </a:lnTo>
                      <a:lnTo>
                        <a:pt x="8550" y="1356"/>
                      </a:lnTo>
                      <a:lnTo>
                        <a:pt x="8550" y="1332"/>
                      </a:lnTo>
                      <a:lnTo>
                        <a:pt x="8544" y="1326"/>
                      </a:lnTo>
                      <a:lnTo>
                        <a:pt x="8538" y="1314"/>
                      </a:lnTo>
                      <a:lnTo>
                        <a:pt x="8562" y="1314"/>
                      </a:lnTo>
                      <a:lnTo>
                        <a:pt x="8562" y="1290"/>
                      </a:lnTo>
                      <a:lnTo>
                        <a:pt x="8574" y="1290"/>
                      </a:lnTo>
                      <a:lnTo>
                        <a:pt x="8586" y="1296"/>
                      </a:lnTo>
                      <a:lnTo>
                        <a:pt x="8616" y="1296"/>
                      </a:lnTo>
                      <a:lnTo>
                        <a:pt x="8628" y="1290"/>
                      </a:lnTo>
                      <a:lnTo>
                        <a:pt x="8634" y="1284"/>
                      </a:lnTo>
                      <a:lnTo>
                        <a:pt x="8640" y="1272"/>
                      </a:lnTo>
                      <a:lnTo>
                        <a:pt x="8652" y="1260"/>
                      </a:lnTo>
                      <a:lnTo>
                        <a:pt x="8658" y="1248"/>
                      </a:lnTo>
                      <a:lnTo>
                        <a:pt x="8664" y="1242"/>
                      </a:lnTo>
                      <a:lnTo>
                        <a:pt x="8670" y="1242"/>
                      </a:lnTo>
                      <a:lnTo>
                        <a:pt x="8652" y="1218"/>
                      </a:lnTo>
                      <a:lnTo>
                        <a:pt x="8682" y="1218"/>
                      </a:lnTo>
                      <a:lnTo>
                        <a:pt x="8688" y="1236"/>
                      </a:lnTo>
                      <a:lnTo>
                        <a:pt x="8748" y="1242"/>
                      </a:lnTo>
                      <a:lnTo>
                        <a:pt x="8760" y="1242"/>
                      </a:lnTo>
                      <a:lnTo>
                        <a:pt x="8772" y="1248"/>
                      </a:lnTo>
                      <a:lnTo>
                        <a:pt x="8808" y="1248"/>
                      </a:lnTo>
                      <a:lnTo>
                        <a:pt x="8808" y="1230"/>
                      </a:lnTo>
                      <a:lnTo>
                        <a:pt x="8802" y="1218"/>
                      </a:lnTo>
                      <a:lnTo>
                        <a:pt x="8766" y="1218"/>
                      </a:lnTo>
                      <a:lnTo>
                        <a:pt x="8760" y="1194"/>
                      </a:lnTo>
                      <a:lnTo>
                        <a:pt x="8754" y="1194"/>
                      </a:lnTo>
                      <a:lnTo>
                        <a:pt x="8748" y="1188"/>
                      </a:lnTo>
                      <a:lnTo>
                        <a:pt x="8736" y="1188"/>
                      </a:lnTo>
                      <a:lnTo>
                        <a:pt x="8712" y="1176"/>
                      </a:lnTo>
                      <a:lnTo>
                        <a:pt x="8700" y="1176"/>
                      </a:lnTo>
                      <a:lnTo>
                        <a:pt x="8688" y="1170"/>
                      </a:lnTo>
                      <a:lnTo>
                        <a:pt x="8658" y="1170"/>
                      </a:lnTo>
                      <a:lnTo>
                        <a:pt x="8664" y="1152"/>
                      </a:lnTo>
                      <a:lnTo>
                        <a:pt x="8592" y="1104"/>
                      </a:lnTo>
                      <a:lnTo>
                        <a:pt x="8574" y="1122"/>
                      </a:lnTo>
                      <a:lnTo>
                        <a:pt x="8568" y="1122"/>
                      </a:lnTo>
                      <a:lnTo>
                        <a:pt x="8562" y="1116"/>
                      </a:lnTo>
                      <a:lnTo>
                        <a:pt x="8550" y="1116"/>
                      </a:lnTo>
                      <a:lnTo>
                        <a:pt x="8538" y="1110"/>
                      </a:lnTo>
                      <a:lnTo>
                        <a:pt x="8532" y="1110"/>
                      </a:lnTo>
                      <a:lnTo>
                        <a:pt x="8520" y="1104"/>
                      </a:lnTo>
                      <a:lnTo>
                        <a:pt x="8508" y="1092"/>
                      </a:lnTo>
                      <a:lnTo>
                        <a:pt x="8502" y="1092"/>
                      </a:lnTo>
                      <a:lnTo>
                        <a:pt x="8466" y="1098"/>
                      </a:lnTo>
                      <a:lnTo>
                        <a:pt x="8442" y="1092"/>
                      </a:lnTo>
                      <a:lnTo>
                        <a:pt x="8430" y="1086"/>
                      </a:lnTo>
                      <a:lnTo>
                        <a:pt x="8412" y="1068"/>
                      </a:lnTo>
                      <a:lnTo>
                        <a:pt x="8406" y="1068"/>
                      </a:lnTo>
                      <a:lnTo>
                        <a:pt x="8412" y="1062"/>
                      </a:lnTo>
                      <a:lnTo>
                        <a:pt x="8436" y="1062"/>
                      </a:lnTo>
                      <a:lnTo>
                        <a:pt x="8460" y="1074"/>
                      </a:lnTo>
                      <a:lnTo>
                        <a:pt x="8478" y="1074"/>
                      </a:lnTo>
                      <a:lnTo>
                        <a:pt x="8496" y="1080"/>
                      </a:lnTo>
                      <a:lnTo>
                        <a:pt x="8514" y="1080"/>
                      </a:lnTo>
                      <a:lnTo>
                        <a:pt x="8526" y="1086"/>
                      </a:lnTo>
                      <a:lnTo>
                        <a:pt x="8544" y="1086"/>
                      </a:lnTo>
                      <a:lnTo>
                        <a:pt x="8550" y="1080"/>
                      </a:lnTo>
                      <a:lnTo>
                        <a:pt x="8562" y="1080"/>
                      </a:lnTo>
                      <a:lnTo>
                        <a:pt x="8580" y="1074"/>
                      </a:lnTo>
                      <a:lnTo>
                        <a:pt x="8604" y="1062"/>
                      </a:lnTo>
                      <a:lnTo>
                        <a:pt x="8616" y="1050"/>
                      </a:lnTo>
                      <a:lnTo>
                        <a:pt x="8604" y="1038"/>
                      </a:lnTo>
                      <a:lnTo>
                        <a:pt x="8592" y="1032"/>
                      </a:lnTo>
                      <a:lnTo>
                        <a:pt x="8586" y="1026"/>
                      </a:lnTo>
                      <a:lnTo>
                        <a:pt x="8574" y="1020"/>
                      </a:lnTo>
                      <a:lnTo>
                        <a:pt x="8568" y="1014"/>
                      </a:lnTo>
                      <a:lnTo>
                        <a:pt x="8562" y="1014"/>
                      </a:lnTo>
                      <a:lnTo>
                        <a:pt x="8556" y="1008"/>
                      </a:lnTo>
                      <a:lnTo>
                        <a:pt x="8520" y="990"/>
                      </a:lnTo>
                      <a:lnTo>
                        <a:pt x="8508" y="978"/>
                      </a:lnTo>
                      <a:lnTo>
                        <a:pt x="8514" y="972"/>
                      </a:lnTo>
                      <a:lnTo>
                        <a:pt x="8538" y="972"/>
                      </a:lnTo>
                      <a:lnTo>
                        <a:pt x="8556" y="978"/>
                      </a:lnTo>
                      <a:lnTo>
                        <a:pt x="8562" y="984"/>
                      </a:lnTo>
                      <a:lnTo>
                        <a:pt x="8574" y="990"/>
                      </a:lnTo>
                      <a:lnTo>
                        <a:pt x="8580" y="990"/>
                      </a:lnTo>
                      <a:lnTo>
                        <a:pt x="8586" y="996"/>
                      </a:lnTo>
                      <a:lnTo>
                        <a:pt x="8610" y="1008"/>
                      </a:lnTo>
                      <a:lnTo>
                        <a:pt x="8628" y="1020"/>
                      </a:lnTo>
                      <a:lnTo>
                        <a:pt x="8652" y="1032"/>
                      </a:lnTo>
                      <a:lnTo>
                        <a:pt x="8664" y="1032"/>
                      </a:lnTo>
                      <a:lnTo>
                        <a:pt x="8676" y="1026"/>
                      </a:lnTo>
                      <a:lnTo>
                        <a:pt x="8682" y="1026"/>
                      </a:lnTo>
                      <a:lnTo>
                        <a:pt x="8688" y="1020"/>
                      </a:lnTo>
                      <a:lnTo>
                        <a:pt x="8730" y="1020"/>
                      </a:lnTo>
                      <a:lnTo>
                        <a:pt x="8754" y="1026"/>
                      </a:lnTo>
                      <a:lnTo>
                        <a:pt x="8808" y="1044"/>
                      </a:lnTo>
                      <a:lnTo>
                        <a:pt x="8850" y="1062"/>
                      </a:lnTo>
                      <a:lnTo>
                        <a:pt x="8880" y="1068"/>
                      </a:lnTo>
                      <a:lnTo>
                        <a:pt x="8886" y="1074"/>
                      </a:lnTo>
                      <a:lnTo>
                        <a:pt x="8898" y="1074"/>
                      </a:lnTo>
                      <a:lnTo>
                        <a:pt x="8934" y="1086"/>
                      </a:lnTo>
                      <a:lnTo>
                        <a:pt x="8946" y="1086"/>
                      </a:lnTo>
                      <a:lnTo>
                        <a:pt x="8952" y="1092"/>
                      </a:lnTo>
                      <a:lnTo>
                        <a:pt x="8958" y="1092"/>
                      </a:lnTo>
                      <a:lnTo>
                        <a:pt x="8970" y="1098"/>
                      </a:lnTo>
                      <a:lnTo>
                        <a:pt x="8976" y="1104"/>
                      </a:lnTo>
                      <a:lnTo>
                        <a:pt x="8988" y="1110"/>
                      </a:lnTo>
                      <a:lnTo>
                        <a:pt x="9000" y="1110"/>
                      </a:lnTo>
                      <a:lnTo>
                        <a:pt x="9018" y="1116"/>
                      </a:lnTo>
                      <a:lnTo>
                        <a:pt x="9024" y="1122"/>
                      </a:lnTo>
                      <a:lnTo>
                        <a:pt x="9042" y="1122"/>
                      </a:lnTo>
                      <a:lnTo>
                        <a:pt x="9042" y="1116"/>
                      </a:lnTo>
                      <a:lnTo>
                        <a:pt x="9036" y="1098"/>
                      </a:lnTo>
                      <a:lnTo>
                        <a:pt x="9012" y="1074"/>
                      </a:lnTo>
                      <a:lnTo>
                        <a:pt x="9006" y="1074"/>
                      </a:lnTo>
                      <a:lnTo>
                        <a:pt x="9024" y="1056"/>
                      </a:lnTo>
                      <a:lnTo>
                        <a:pt x="8976" y="1038"/>
                      </a:lnTo>
                      <a:lnTo>
                        <a:pt x="8988" y="1032"/>
                      </a:lnTo>
                      <a:lnTo>
                        <a:pt x="8940" y="1008"/>
                      </a:lnTo>
                      <a:lnTo>
                        <a:pt x="8994" y="1020"/>
                      </a:lnTo>
                      <a:lnTo>
                        <a:pt x="8988" y="996"/>
                      </a:lnTo>
                      <a:lnTo>
                        <a:pt x="9000" y="996"/>
                      </a:lnTo>
                      <a:lnTo>
                        <a:pt x="9012" y="1002"/>
                      </a:lnTo>
                      <a:lnTo>
                        <a:pt x="9048" y="1002"/>
                      </a:lnTo>
                      <a:lnTo>
                        <a:pt x="9048" y="996"/>
                      </a:lnTo>
                      <a:close/>
                    </a:path>
                  </a:pathLst>
                </a:custGeom>
                <a:solidFill>
                  <a:schemeClr val="accent1"/>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562" name="Romania"/>
                <p:cNvSpPr>
                  <a:spLocks/>
                </p:cNvSpPr>
                <p:nvPr/>
              </p:nvSpPr>
              <p:spPr bwMode="gray">
                <a:xfrm>
                  <a:off x="3000" y="1318"/>
                  <a:ext cx="157" cy="94"/>
                </a:xfrm>
                <a:custGeom>
                  <a:avLst/>
                  <a:gdLst>
                    <a:gd name="T0" fmla="*/ 2147483647 w 612"/>
                    <a:gd name="T1" fmla="*/ 2147483647 h 366"/>
                    <a:gd name="T2" fmla="*/ 2147483647 w 612"/>
                    <a:gd name="T3" fmla="*/ 2147483647 h 366"/>
                    <a:gd name="T4" fmla="*/ 2147483647 w 612"/>
                    <a:gd name="T5" fmla="*/ 2147483647 h 366"/>
                    <a:gd name="T6" fmla="*/ 2147483647 w 612"/>
                    <a:gd name="T7" fmla="*/ 2147483647 h 366"/>
                    <a:gd name="T8" fmla="*/ 2147483647 w 612"/>
                    <a:gd name="T9" fmla="*/ 2147483647 h 366"/>
                    <a:gd name="T10" fmla="*/ 2147483647 w 612"/>
                    <a:gd name="T11" fmla="*/ 2147483647 h 366"/>
                    <a:gd name="T12" fmla="*/ 2147483647 w 612"/>
                    <a:gd name="T13" fmla="*/ 2147483647 h 366"/>
                    <a:gd name="T14" fmla="*/ 2147483647 w 612"/>
                    <a:gd name="T15" fmla="*/ 2147483647 h 366"/>
                    <a:gd name="T16" fmla="*/ 2147483647 w 612"/>
                    <a:gd name="T17" fmla="*/ 2147483647 h 366"/>
                    <a:gd name="T18" fmla="*/ 2147483647 w 612"/>
                    <a:gd name="T19" fmla="*/ 2147483647 h 366"/>
                    <a:gd name="T20" fmla="*/ 2147483647 w 612"/>
                    <a:gd name="T21" fmla="*/ 2147483647 h 366"/>
                    <a:gd name="T22" fmla="*/ 2147483647 w 612"/>
                    <a:gd name="T23" fmla="*/ 2147483647 h 366"/>
                    <a:gd name="T24" fmla="*/ 2147483647 w 612"/>
                    <a:gd name="T25" fmla="*/ 2147483647 h 366"/>
                    <a:gd name="T26" fmla="*/ 2147483647 w 612"/>
                    <a:gd name="T27" fmla="*/ 0 h 366"/>
                    <a:gd name="T28" fmla="*/ 2147483647 w 612"/>
                    <a:gd name="T29" fmla="*/ 2147483647 h 366"/>
                    <a:gd name="T30" fmla="*/ 2147483647 w 612"/>
                    <a:gd name="T31" fmla="*/ 2147483647 h 366"/>
                    <a:gd name="T32" fmla="*/ 2147483647 w 612"/>
                    <a:gd name="T33" fmla="*/ 2147483647 h 366"/>
                    <a:gd name="T34" fmla="*/ 2147483647 w 612"/>
                    <a:gd name="T35" fmla="*/ 2147483647 h 366"/>
                    <a:gd name="T36" fmla="*/ 2147483647 w 612"/>
                    <a:gd name="T37" fmla="*/ 2147483647 h 366"/>
                    <a:gd name="T38" fmla="*/ 2147483647 w 612"/>
                    <a:gd name="T39" fmla="*/ 2147483647 h 366"/>
                    <a:gd name="T40" fmla="*/ 2147483647 w 612"/>
                    <a:gd name="T41" fmla="*/ 2147483647 h 366"/>
                    <a:gd name="T42" fmla="*/ 2147483647 w 612"/>
                    <a:gd name="T43" fmla="*/ 2147483647 h 366"/>
                    <a:gd name="T44" fmla="*/ 2147483647 w 612"/>
                    <a:gd name="T45" fmla="*/ 2147483647 h 366"/>
                    <a:gd name="T46" fmla="*/ 2147483647 w 612"/>
                    <a:gd name="T47" fmla="*/ 2147483647 h 366"/>
                    <a:gd name="T48" fmla="*/ 0 w 612"/>
                    <a:gd name="T49" fmla="*/ 2147483647 h 366"/>
                    <a:gd name="T50" fmla="*/ 2147483647 w 612"/>
                    <a:gd name="T51" fmla="*/ 2147483647 h 366"/>
                    <a:gd name="T52" fmla="*/ 2147483647 w 612"/>
                    <a:gd name="T53" fmla="*/ 2147483647 h 366"/>
                    <a:gd name="T54" fmla="*/ 2147483647 w 612"/>
                    <a:gd name="T55" fmla="*/ 2147483647 h 366"/>
                    <a:gd name="T56" fmla="*/ 2147483647 w 612"/>
                    <a:gd name="T57" fmla="*/ 2147483647 h 366"/>
                    <a:gd name="T58" fmla="*/ 2147483647 w 612"/>
                    <a:gd name="T59" fmla="*/ 2147483647 h 366"/>
                    <a:gd name="T60" fmla="*/ 2147483647 w 612"/>
                    <a:gd name="T61" fmla="*/ 2147483647 h 366"/>
                    <a:gd name="T62" fmla="*/ 2147483647 w 612"/>
                    <a:gd name="T63" fmla="*/ 2147483647 h 366"/>
                    <a:gd name="T64" fmla="*/ 2147483647 w 612"/>
                    <a:gd name="T65" fmla="*/ 2147483647 h 366"/>
                    <a:gd name="T66" fmla="*/ 2147483647 w 612"/>
                    <a:gd name="T67" fmla="*/ 2147483647 h 366"/>
                    <a:gd name="T68" fmla="*/ 2147483647 w 612"/>
                    <a:gd name="T69" fmla="*/ 2147483647 h 366"/>
                    <a:gd name="T70" fmla="*/ 2147483647 w 612"/>
                    <a:gd name="T71" fmla="*/ 2147483647 h 366"/>
                    <a:gd name="T72" fmla="*/ 2147483647 w 612"/>
                    <a:gd name="T73" fmla="*/ 2147483647 h 366"/>
                    <a:gd name="T74" fmla="*/ 2147483647 w 612"/>
                    <a:gd name="T75" fmla="*/ 2147483647 h 366"/>
                    <a:gd name="T76" fmla="*/ 2147483647 w 612"/>
                    <a:gd name="T77" fmla="*/ 2147483647 h 366"/>
                    <a:gd name="T78" fmla="*/ 2147483647 w 612"/>
                    <a:gd name="T79" fmla="*/ 2147483647 h 366"/>
                    <a:gd name="T80" fmla="*/ 2147483647 w 612"/>
                    <a:gd name="T81" fmla="*/ 2147483647 h 366"/>
                    <a:gd name="T82" fmla="*/ 2147483647 w 612"/>
                    <a:gd name="T83" fmla="*/ 2147483647 h 366"/>
                    <a:gd name="T84" fmla="*/ 2147483647 w 612"/>
                    <a:gd name="T85" fmla="*/ 2147483647 h 36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612"/>
                    <a:gd name="T130" fmla="*/ 0 h 366"/>
                    <a:gd name="T131" fmla="*/ 612 w 612"/>
                    <a:gd name="T132" fmla="*/ 366 h 36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612" h="366">
                      <a:moveTo>
                        <a:pt x="516" y="354"/>
                      </a:moveTo>
                      <a:lnTo>
                        <a:pt x="522" y="360"/>
                      </a:lnTo>
                      <a:lnTo>
                        <a:pt x="540" y="360"/>
                      </a:lnTo>
                      <a:lnTo>
                        <a:pt x="540" y="318"/>
                      </a:lnTo>
                      <a:lnTo>
                        <a:pt x="546" y="312"/>
                      </a:lnTo>
                      <a:lnTo>
                        <a:pt x="558" y="294"/>
                      </a:lnTo>
                      <a:lnTo>
                        <a:pt x="564" y="282"/>
                      </a:lnTo>
                      <a:lnTo>
                        <a:pt x="570" y="276"/>
                      </a:lnTo>
                      <a:lnTo>
                        <a:pt x="606" y="276"/>
                      </a:lnTo>
                      <a:lnTo>
                        <a:pt x="612" y="270"/>
                      </a:lnTo>
                      <a:lnTo>
                        <a:pt x="612" y="258"/>
                      </a:lnTo>
                      <a:lnTo>
                        <a:pt x="600" y="222"/>
                      </a:lnTo>
                      <a:lnTo>
                        <a:pt x="600" y="216"/>
                      </a:lnTo>
                      <a:lnTo>
                        <a:pt x="594" y="216"/>
                      </a:lnTo>
                      <a:lnTo>
                        <a:pt x="588" y="222"/>
                      </a:lnTo>
                      <a:lnTo>
                        <a:pt x="570" y="222"/>
                      </a:lnTo>
                      <a:lnTo>
                        <a:pt x="564" y="228"/>
                      </a:lnTo>
                      <a:lnTo>
                        <a:pt x="558" y="228"/>
                      </a:lnTo>
                      <a:lnTo>
                        <a:pt x="552" y="234"/>
                      </a:lnTo>
                      <a:lnTo>
                        <a:pt x="522" y="234"/>
                      </a:lnTo>
                      <a:lnTo>
                        <a:pt x="510" y="222"/>
                      </a:lnTo>
                      <a:lnTo>
                        <a:pt x="510" y="198"/>
                      </a:lnTo>
                      <a:lnTo>
                        <a:pt x="504" y="192"/>
                      </a:lnTo>
                      <a:lnTo>
                        <a:pt x="498" y="180"/>
                      </a:lnTo>
                      <a:lnTo>
                        <a:pt x="498" y="168"/>
                      </a:lnTo>
                      <a:lnTo>
                        <a:pt x="504" y="162"/>
                      </a:lnTo>
                      <a:lnTo>
                        <a:pt x="504" y="150"/>
                      </a:lnTo>
                      <a:lnTo>
                        <a:pt x="510" y="144"/>
                      </a:lnTo>
                      <a:lnTo>
                        <a:pt x="504" y="144"/>
                      </a:lnTo>
                      <a:lnTo>
                        <a:pt x="504" y="102"/>
                      </a:lnTo>
                      <a:lnTo>
                        <a:pt x="498" y="96"/>
                      </a:lnTo>
                      <a:lnTo>
                        <a:pt x="480" y="96"/>
                      </a:lnTo>
                      <a:lnTo>
                        <a:pt x="474" y="78"/>
                      </a:lnTo>
                      <a:lnTo>
                        <a:pt x="462" y="78"/>
                      </a:lnTo>
                      <a:lnTo>
                        <a:pt x="456" y="54"/>
                      </a:lnTo>
                      <a:lnTo>
                        <a:pt x="432" y="42"/>
                      </a:lnTo>
                      <a:lnTo>
                        <a:pt x="432" y="30"/>
                      </a:lnTo>
                      <a:lnTo>
                        <a:pt x="426" y="24"/>
                      </a:lnTo>
                      <a:lnTo>
                        <a:pt x="420" y="12"/>
                      </a:lnTo>
                      <a:lnTo>
                        <a:pt x="414" y="6"/>
                      </a:lnTo>
                      <a:lnTo>
                        <a:pt x="396" y="0"/>
                      </a:lnTo>
                      <a:lnTo>
                        <a:pt x="384" y="0"/>
                      </a:lnTo>
                      <a:lnTo>
                        <a:pt x="378" y="6"/>
                      </a:lnTo>
                      <a:lnTo>
                        <a:pt x="378" y="12"/>
                      </a:lnTo>
                      <a:lnTo>
                        <a:pt x="366" y="24"/>
                      </a:lnTo>
                      <a:lnTo>
                        <a:pt x="348" y="24"/>
                      </a:lnTo>
                      <a:lnTo>
                        <a:pt x="342" y="18"/>
                      </a:lnTo>
                      <a:lnTo>
                        <a:pt x="336" y="30"/>
                      </a:lnTo>
                      <a:lnTo>
                        <a:pt x="312" y="24"/>
                      </a:lnTo>
                      <a:lnTo>
                        <a:pt x="312" y="30"/>
                      </a:lnTo>
                      <a:lnTo>
                        <a:pt x="300" y="42"/>
                      </a:lnTo>
                      <a:lnTo>
                        <a:pt x="288" y="42"/>
                      </a:lnTo>
                      <a:lnTo>
                        <a:pt x="264" y="18"/>
                      </a:lnTo>
                      <a:lnTo>
                        <a:pt x="258" y="18"/>
                      </a:lnTo>
                      <a:lnTo>
                        <a:pt x="246" y="24"/>
                      </a:lnTo>
                      <a:lnTo>
                        <a:pt x="240" y="24"/>
                      </a:lnTo>
                      <a:lnTo>
                        <a:pt x="228" y="30"/>
                      </a:lnTo>
                      <a:lnTo>
                        <a:pt x="222" y="24"/>
                      </a:lnTo>
                      <a:lnTo>
                        <a:pt x="198" y="24"/>
                      </a:lnTo>
                      <a:lnTo>
                        <a:pt x="192" y="18"/>
                      </a:lnTo>
                      <a:lnTo>
                        <a:pt x="168" y="18"/>
                      </a:lnTo>
                      <a:lnTo>
                        <a:pt x="150" y="36"/>
                      </a:lnTo>
                      <a:lnTo>
                        <a:pt x="120" y="36"/>
                      </a:lnTo>
                      <a:lnTo>
                        <a:pt x="108" y="48"/>
                      </a:lnTo>
                      <a:lnTo>
                        <a:pt x="108" y="90"/>
                      </a:lnTo>
                      <a:lnTo>
                        <a:pt x="90" y="108"/>
                      </a:lnTo>
                      <a:lnTo>
                        <a:pt x="78" y="114"/>
                      </a:lnTo>
                      <a:lnTo>
                        <a:pt x="72" y="120"/>
                      </a:lnTo>
                      <a:lnTo>
                        <a:pt x="72" y="138"/>
                      </a:lnTo>
                      <a:lnTo>
                        <a:pt x="66" y="144"/>
                      </a:lnTo>
                      <a:lnTo>
                        <a:pt x="54" y="150"/>
                      </a:lnTo>
                      <a:lnTo>
                        <a:pt x="48" y="156"/>
                      </a:lnTo>
                      <a:lnTo>
                        <a:pt x="30" y="150"/>
                      </a:lnTo>
                      <a:lnTo>
                        <a:pt x="30" y="168"/>
                      </a:lnTo>
                      <a:lnTo>
                        <a:pt x="0" y="174"/>
                      </a:lnTo>
                      <a:lnTo>
                        <a:pt x="6" y="174"/>
                      </a:lnTo>
                      <a:lnTo>
                        <a:pt x="30" y="192"/>
                      </a:lnTo>
                      <a:lnTo>
                        <a:pt x="36" y="192"/>
                      </a:lnTo>
                      <a:lnTo>
                        <a:pt x="48" y="228"/>
                      </a:lnTo>
                      <a:lnTo>
                        <a:pt x="54" y="234"/>
                      </a:lnTo>
                      <a:lnTo>
                        <a:pt x="60" y="234"/>
                      </a:lnTo>
                      <a:lnTo>
                        <a:pt x="66" y="228"/>
                      </a:lnTo>
                      <a:lnTo>
                        <a:pt x="72" y="228"/>
                      </a:lnTo>
                      <a:lnTo>
                        <a:pt x="84" y="234"/>
                      </a:lnTo>
                      <a:lnTo>
                        <a:pt x="84" y="252"/>
                      </a:lnTo>
                      <a:lnTo>
                        <a:pt x="78" y="258"/>
                      </a:lnTo>
                      <a:lnTo>
                        <a:pt x="90" y="276"/>
                      </a:lnTo>
                      <a:lnTo>
                        <a:pt x="114" y="282"/>
                      </a:lnTo>
                      <a:lnTo>
                        <a:pt x="120" y="288"/>
                      </a:lnTo>
                      <a:lnTo>
                        <a:pt x="144" y="282"/>
                      </a:lnTo>
                      <a:lnTo>
                        <a:pt x="168" y="288"/>
                      </a:lnTo>
                      <a:lnTo>
                        <a:pt x="162" y="294"/>
                      </a:lnTo>
                      <a:lnTo>
                        <a:pt x="156" y="306"/>
                      </a:lnTo>
                      <a:lnTo>
                        <a:pt x="162" y="312"/>
                      </a:lnTo>
                      <a:lnTo>
                        <a:pt x="162" y="324"/>
                      </a:lnTo>
                      <a:lnTo>
                        <a:pt x="186" y="324"/>
                      </a:lnTo>
                      <a:lnTo>
                        <a:pt x="192" y="330"/>
                      </a:lnTo>
                      <a:lnTo>
                        <a:pt x="186" y="336"/>
                      </a:lnTo>
                      <a:lnTo>
                        <a:pt x="186" y="342"/>
                      </a:lnTo>
                      <a:lnTo>
                        <a:pt x="180" y="348"/>
                      </a:lnTo>
                      <a:lnTo>
                        <a:pt x="186" y="354"/>
                      </a:lnTo>
                      <a:lnTo>
                        <a:pt x="204" y="354"/>
                      </a:lnTo>
                      <a:lnTo>
                        <a:pt x="216" y="342"/>
                      </a:lnTo>
                      <a:lnTo>
                        <a:pt x="240" y="354"/>
                      </a:lnTo>
                      <a:lnTo>
                        <a:pt x="252" y="354"/>
                      </a:lnTo>
                      <a:lnTo>
                        <a:pt x="258" y="360"/>
                      </a:lnTo>
                      <a:lnTo>
                        <a:pt x="282" y="360"/>
                      </a:lnTo>
                      <a:lnTo>
                        <a:pt x="288" y="354"/>
                      </a:lnTo>
                      <a:lnTo>
                        <a:pt x="288" y="348"/>
                      </a:lnTo>
                      <a:lnTo>
                        <a:pt x="306" y="354"/>
                      </a:lnTo>
                      <a:lnTo>
                        <a:pt x="330" y="354"/>
                      </a:lnTo>
                      <a:lnTo>
                        <a:pt x="336" y="360"/>
                      </a:lnTo>
                      <a:lnTo>
                        <a:pt x="348" y="366"/>
                      </a:lnTo>
                      <a:lnTo>
                        <a:pt x="366" y="366"/>
                      </a:lnTo>
                      <a:lnTo>
                        <a:pt x="372" y="360"/>
                      </a:lnTo>
                      <a:lnTo>
                        <a:pt x="372" y="348"/>
                      </a:lnTo>
                      <a:lnTo>
                        <a:pt x="378" y="342"/>
                      </a:lnTo>
                      <a:lnTo>
                        <a:pt x="384" y="342"/>
                      </a:lnTo>
                      <a:lnTo>
                        <a:pt x="396" y="336"/>
                      </a:lnTo>
                      <a:lnTo>
                        <a:pt x="402" y="336"/>
                      </a:lnTo>
                      <a:lnTo>
                        <a:pt x="402" y="330"/>
                      </a:lnTo>
                      <a:lnTo>
                        <a:pt x="432" y="336"/>
                      </a:lnTo>
                      <a:lnTo>
                        <a:pt x="432" y="324"/>
                      </a:lnTo>
                      <a:lnTo>
                        <a:pt x="438" y="324"/>
                      </a:lnTo>
                      <a:lnTo>
                        <a:pt x="450" y="330"/>
                      </a:lnTo>
                      <a:lnTo>
                        <a:pt x="462" y="330"/>
                      </a:lnTo>
                      <a:lnTo>
                        <a:pt x="474" y="336"/>
                      </a:lnTo>
                      <a:lnTo>
                        <a:pt x="498" y="336"/>
                      </a:lnTo>
                      <a:lnTo>
                        <a:pt x="516" y="354"/>
                      </a:lnTo>
                      <a:close/>
                    </a:path>
                  </a:pathLst>
                </a:custGeom>
                <a:solidFill>
                  <a:schemeClr val="accent1"/>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563" name="Qatar"/>
                <p:cNvSpPr>
                  <a:spLocks/>
                </p:cNvSpPr>
                <p:nvPr/>
              </p:nvSpPr>
              <p:spPr bwMode="gray">
                <a:xfrm>
                  <a:off x="3560" y="1769"/>
                  <a:ext cx="17" cy="37"/>
                </a:xfrm>
                <a:custGeom>
                  <a:avLst/>
                  <a:gdLst>
                    <a:gd name="T0" fmla="*/ 2147483647 w 66"/>
                    <a:gd name="T1" fmla="*/ 2147483647 h 144"/>
                    <a:gd name="T2" fmla="*/ 2147483647 w 66"/>
                    <a:gd name="T3" fmla="*/ 2147483647 h 144"/>
                    <a:gd name="T4" fmla="*/ 2147483647 w 66"/>
                    <a:gd name="T5" fmla="*/ 2147483647 h 144"/>
                    <a:gd name="T6" fmla="*/ 2147483647 w 66"/>
                    <a:gd name="T7" fmla="*/ 2147483647 h 144"/>
                    <a:gd name="T8" fmla="*/ 2147483647 w 66"/>
                    <a:gd name="T9" fmla="*/ 2147483647 h 144"/>
                    <a:gd name="T10" fmla="*/ 2147483647 w 66"/>
                    <a:gd name="T11" fmla="*/ 2147483647 h 144"/>
                    <a:gd name="T12" fmla="*/ 2147483647 w 66"/>
                    <a:gd name="T13" fmla="*/ 2147483647 h 144"/>
                    <a:gd name="T14" fmla="*/ 2147483647 w 66"/>
                    <a:gd name="T15" fmla="*/ 2147483647 h 144"/>
                    <a:gd name="T16" fmla="*/ 2147483647 w 66"/>
                    <a:gd name="T17" fmla="*/ 2147483647 h 144"/>
                    <a:gd name="T18" fmla="*/ 2147483647 w 66"/>
                    <a:gd name="T19" fmla="*/ 0 h 144"/>
                    <a:gd name="T20" fmla="*/ 2147483647 w 66"/>
                    <a:gd name="T21" fmla="*/ 0 h 144"/>
                    <a:gd name="T22" fmla="*/ 2147483647 w 66"/>
                    <a:gd name="T23" fmla="*/ 2147483647 h 144"/>
                    <a:gd name="T24" fmla="*/ 2147483647 w 66"/>
                    <a:gd name="T25" fmla="*/ 2147483647 h 144"/>
                    <a:gd name="T26" fmla="*/ 2147483647 w 66"/>
                    <a:gd name="T27" fmla="*/ 2147483647 h 144"/>
                    <a:gd name="T28" fmla="*/ 2147483647 w 66"/>
                    <a:gd name="T29" fmla="*/ 2147483647 h 144"/>
                    <a:gd name="T30" fmla="*/ 0 w 66"/>
                    <a:gd name="T31" fmla="*/ 2147483647 h 144"/>
                    <a:gd name="T32" fmla="*/ 2147483647 w 66"/>
                    <a:gd name="T33" fmla="*/ 2147483647 h 144"/>
                    <a:gd name="T34" fmla="*/ 2147483647 w 66"/>
                    <a:gd name="T35" fmla="*/ 2147483647 h 14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66"/>
                    <a:gd name="T55" fmla="*/ 0 h 144"/>
                    <a:gd name="T56" fmla="*/ 66 w 66"/>
                    <a:gd name="T57" fmla="*/ 144 h 14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66" h="144">
                      <a:moveTo>
                        <a:pt x="24" y="132"/>
                      </a:moveTo>
                      <a:lnTo>
                        <a:pt x="36" y="144"/>
                      </a:lnTo>
                      <a:lnTo>
                        <a:pt x="48" y="132"/>
                      </a:lnTo>
                      <a:lnTo>
                        <a:pt x="54" y="114"/>
                      </a:lnTo>
                      <a:lnTo>
                        <a:pt x="60" y="102"/>
                      </a:lnTo>
                      <a:lnTo>
                        <a:pt x="66" y="84"/>
                      </a:lnTo>
                      <a:lnTo>
                        <a:pt x="66" y="30"/>
                      </a:lnTo>
                      <a:lnTo>
                        <a:pt x="54" y="18"/>
                      </a:lnTo>
                      <a:lnTo>
                        <a:pt x="48" y="6"/>
                      </a:lnTo>
                      <a:lnTo>
                        <a:pt x="36" y="0"/>
                      </a:lnTo>
                      <a:lnTo>
                        <a:pt x="30" y="0"/>
                      </a:lnTo>
                      <a:lnTo>
                        <a:pt x="24" y="6"/>
                      </a:lnTo>
                      <a:lnTo>
                        <a:pt x="18" y="18"/>
                      </a:lnTo>
                      <a:lnTo>
                        <a:pt x="12" y="36"/>
                      </a:lnTo>
                      <a:lnTo>
                        <a:pt x="12" y="108"/>
                      </a:lnTo>
                      <a:lnTo>
                        <a:pt x="0" y="120"/>
                      </a:lnTo>
                      <a:lnTo>
                        <a:pt x="6" y="132"/>
                      </a:lnTo>
                      <a:lnTo>
                        <a:pt x="24" y="132"/>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564" name="Puerto Rico"/>
                <p:cNvSpPr>
                  <a:spLocks/>
                </p:cNvSpPr>
                <p:nvPr/>
              </p:nvSpPr>
              <p:spPr bwMode="gray">
                <a:xfrm>
                  <a:off x="1451" y="1931"/>
                  <a:ext cx="35" cy="15"/>
                </a:xfrm>
                <a:custGeom>
                  <a:avLst/>
                  <a:gdLst>
                    <a:gd name="T0" fmla="*/ 2147483647 w 138"/>
                    <a:gd name="T1" fmla="*/ 2147483647 h 60"/>
                    <a:gd name="T2" fmla="*/ 2147483647 w 138"/>
                    <a:gd name="T3" fmla="*/ 2147483647 h 60"/>
                    <a:gd name="T4" fmla="*/ 2147483647 w 138"/>
                    <a:gd name="T5" fmla="*/ 0 h 60"/>
                    <a:gd name="T6" fmla="*/ 2147483647 w 138"/>
                    <a:gd name="T7" fmla="*/ 0 h 60"/>
                    <a:gd name="T8" fmla="*/ 2147483647 w 138"/>
                    <a:gd name="T9" fmla="*/ 2147483647 h 60"/>
                    <a:gd name="T10" fmla="*/ 0 w 138"/>
                    <a:gd name="T11" fmla="*/ 2147483647 h 60"/>
                    <a:gd name="T12" fmla="*/ 0 w 138"/>
                    <a:gd name="T13" fmla="*/ 2147483647 h 60"/>
                    <a:gd name="T14" fmla="*/ 2147483647 w 138"/>
                    <a:gd name="T15" fmla="*/ 2147483647 h 60"/>
                    <a:gd name="T16" fmla="*/ 2147483647 w 138"/>
                    <a:gd name="T17" fmla="*/ 2147483647 h 60"/>
                    <a:gd name="T18" fmla="*/ 2147483647 w 138"/>
                    <a:gd name="T19" fmla="*/ 2147483647 h 60"/>
                    <a:gd name="T20" fmla="*/ 2147483647 w 138"/>
                    <a:gd name="T21" fmla="*/ 2147483647 h 60"/>
                    <a:gd name="T22" fmla="*/ 2147483647 w 138"/>
                    <a:gd name="T23" fmla="*/ 2147483647 h 60"/>
                    <a:gd name="T24" fmla="*/ 2147483647 w 138"/>
                    <a:gd name="T25" fmla="*/ 2147483647 h 60"/>
                    <a:gd name="T26" fmla="*/ 2147483647 w 138"/>
                    <a:gd name="T27" fmla="*/ 2147483647 h 60"/>
                    <a:gd name="T28" fmla="*/ 2147483647 w 138"/>
                    <a:gd name="T29" fmla="*/ 2147483647 h 60"/>
                    <a:gd name="T30" fmla="*/ 2147483647 w 138"/>
                    <a:gd name="T31" fmla="*/ 2147483647 h 60"/>
                    <a:gd name="T32" fmla="*/ 2147483647 w 138"/>
                    <a:gd name="T33" fmla="*/ 2147483647 h 60"/>
                    <a:gd name="T34" fmla="*/ 2147483647 w 138"/>
                    <a:gd name="T35" fmla="*/ 2147483647 h 6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38"/>
                    <a:gd name="T55" fmla="*/ 0 h 60"/>
                    <a:gd name="T56" fmla="*/ 138 w 138"/>
                    <a:gd name="T57" fmla="*/ 60 h 6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38" h="60">
                      <a:moveTo>
                        <a:pt x="84" y="12"/>
                      </a:moveTo>
                      <a:lnTo>
                        <a:pt x="72" y="12"/>
                      </a:lnTo>
                      <a:lnTo>
                        <a:pt x="36" y="0"/>
                      </a:lnTo>
                      <a:lnTo>
                        <a:pt x="12" y="0"/>
                      </a:lnTo>
                      <a:lnTo>
                        <a:pt x="6" y="12"/>
                      </a:lnTo>
                      <a:lnTo>
                        <a:pt x="0" y="18"/>
                      </a:lnTo>
                      <a:lnTo>
                        <a:pt x="0" y="48"/>
                      </a:lnTo>
                      <a:lnTo>
                        <a:pt x="36" y="60"/>
                      </a:lnTo>
                      <a:lnTo>
                        <a:pt x="48" y="48"/>
                      </a:lnTo>
                      <a:lnTo>
                        <a:pt x="102" y="48"/>
                      </a:lnTo>
                      <a:lnTo>
                        <a:pt x="120" y="36"/>
                      </a:lnTo>
                      <a:lnTo>
                        <a:pt x="132" y="30"/>
                      </a:lnTo>
                      <a:lnTo>
                        <a:pt x="138" y="18"/>
                      </a:lnTo>
                      <a:lnTo>
                        <a:pt x="138" y="12"/>
                      </a:lnTo>
                      <a:lnTo>
                        <a:pt x="132" y="6"/>
                      </a:lnTo>
                      <a:lnTo>
                        <a:pt x="114" y="6"/>
                      </a:lnTo>
                      <a:lnTo>
                        <a:pt x="102" y="12"/>
                      </a:lnTo>
                      <a:lnTo>
                        <a:pt x="84" y="12"/>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565" name="Portugal"/>
                <p:cNvSpPr>
                  <a:spLocks/>
                </p:cNvSpPr>
                <p:nvPr/>
              </p:nvSpPr>
              <p:spPr bwMode="gray">
                <a:xfrm>
                  <a:off x="2506" y="1443"/>
                  <a:ext cx="58" cy="105"/>
                </a:xfrm>
                <a:custGeom>
                  <a:avLst/>
                  <a:gdLst>
                    <a:gd name="T0" fmla="*/ 2147483647 w 228"/>
                    <a:gd name="T1" fmla="*/ 2147483647 h 414"/>
                    <a:gd name="T2" fmla="*/ 2147483647 w 228"/>
                    <a:gd name="T3" fmla="*/ 2147483647 h 414"/>
                    <a:gd name="T4" fmla="*/ 2147483647 w 228"/>
                    <a:gd name="T5" fmla="*/ 2147483647 h 414"/>
                    <a:gd name="T6" fmla="*/ 2147483647 w 228"/>
                    <a:gd name="T7" fmla="*/ 2147483647 h 414"/>
                    <a:gd name="T8" fmla="*/ 2147483647 w 228"/>
                    <a:gd name="T9" fmla="*/ 2147483647 h 414"/>
                    <a:gd name="T10" fmla="*/ 2147483647 w 228"/>
                    <a:gd name="T11" fmla="*/ 2147483647 h 414"/>
                    <a:gd name="T12" fmla="*/ 2147483647 w 228"/>
                    <a:gd name="T13" fmla="*/ 0 h 414"/>
                    <a:gd name="T14" fmla="*/ 2147483647 w 228"/>
                    <a:gd name="T15" fmla="*/ 2147483647 h 414"/>
                    <a:gd name="T16" fmla="*/ 2147483647 w 228"/>
                    <a:gd name="T17" fmla="*/ 2147483647 h 414"/>
                    <a:gd name="T18" fmla="*/ 2147483647 w 228"/>
                    <a:gd name="T19" fmla="*/ 2147483647 h 414"/>
                    <a:gd name="T20" fmla="*/ 2147483647 w 228"/>
                    <a:gd name="T21" fmla="*/ 2147483647 h 414"/>
                    <a:gd name="T22" fmla="*/ 2147483647 w 228"/>
                    <a:gd name="T23" fmla="*/ 2147483647 h 414"/>
                    <a:gd name="T24" fmla="*/ 2147483647 w 228"/>
                    <a:gd name="T25" fmla="*/ 2147483647 h 414"/>
                    <a:gd name="T26" fmla="*/ 0 w 228"/>
                    <a:gd name="T27" fmla="*/ 2147483647 h 414"/>
                    <a:gd name="T28" fmla="*/ 2147483647 w 228"/>
                    <a:gd name="T29" fmla="*/ 2147483647 h 414"/>
                    <a:gd name="T30" fmla="*/ 2147483647 w 228"/>
                    <a:gd name="T31" fmla="*/ 2147483647 h 414"/>
                    <a:gd name="T32" fmla="*/ 2147483647 w 228"/>
                    <a:gd name="T33" fmla="*/ 2147483647 h 414"/>
                    <a:gd name="T34" fmla="*/ 2147483647 w 228"/>
                    <a:gd name="T35" fmla="*/ 2147483647 h 414"/>
                    <a:gd name="T36" fmla="*/ 2147483647 w 228"/>
                    <a:gd name="T37" fmla="*/ 2147483647 h 414"/>
                    <a:gd name="T38" fmla="*/ 2147483647 w 228"/>
                    <a:gd name="T39" fmla="*/ 2147483647 h 414"/>
                    <a:gd name="T40" fmla="*/ 2147483647 w 228"/>
                    <a:gd name="T41" fmla="*/ 2147483647 h 414"/>
                    <a:gd name="T42" fmla="*/ 2147483647 w 228"/>
                    <a:gd name="T43" fmla="*/ 2147483647 h 414"/>
                    <a:gd name="T44" fmla="*/ 2147483647 w 228"/>
                    <a:gd name="T45" fmla="*/ 2147483647 h 414"/>
                    <a:gd name="T46" fmla="*/ 2147483647 w 228"/>
                    <a:gd name="T47" fmla="*/ 2147483647 h 414"/>
                    <a:gd name="T48" fmla="*/ 2147483647 w 228"/>
                    <a:gd name="T49" fmla="*/ 2147483647 h 414"/>
                    <a:gd name="T50" fmla="*/ 2147483647 w 228"/>
                    <a:gd name="T51" fmla="*/ 2147483647 h 414"/>
                    <a:gd name="T52" fmla="*/ 2147483647 w 228"/>
                    <a:gd name="T53" fmla="*/ 2147483647 h 414"/>
                    <a:gd name="T54" fmla="*/ 2147483647 w 228"/>
                    <a:gd name="T55" fmla="*/ 2147483647 h 414"/>
                    <a:gd name="T56" fmla="*/ 2147483647 w 228"/>
                    <a:gd name="T57" fmla="*/ 2147483647 h 414"/>
                    <a:gd name="T58" fmla="*/ 2147483647 w 228"/>
                    <a:gd name="T59" fmla="*/ 2147483647 h 414"/>
                    <a:gd name="T60" fmla="*/ 2147483647 w 228"/>
                    <a:gd name="T61" fmla="*/ 2147483647 h 414"/>
                    <a:gd name="T62" fmla="*/ 2147483647 w 228"/>
                    <a:gd name="T63" fmla="*/ 2147483647 h 414"/>
                    <a:gd name="T64" fmla="*/ 2147483647 w 228"/>
                    <a:gd name="T65" fmla="*/ 2147483647 h 414"/>
                    <a:gd name="T66" fmla="*/ 2147483647 w 228"/>
                    <a:gd name="T67" fmla="*/ 2147483647 h 414"/>
                    <a:gd name="T68" fmla="*/ 2147483647 w 228"/>
                    <a:gd name="T69" fmla="*/ 2147483647 h 414"/>
                    <a:gd name="T70" fmla="*/ 2147483647 w 228"/>
                    <a:gd name="T71" fmla="*/ 2147483647 h 414"/>
                    <a:gd name="T72" fmla="*/ 2147483647 w 228"/>
                    <a:gd name="T73" fmla="*/ 2147483647 h 414"/>
                    <a:gd name="T74" fmla="*/ 2147483647 w 228"/>
                    <a:gd name="T75" fmla="*/ 2147483647 h 414"/>
                    <a:gd name="T76" fmla="*/ 2147483647 w 228"/>
                    <a:gd name="T77" fmla="*/ 2147483647 h 414"/>
                    <a:gd name="T78" fmla="*/ 2147483647 w 228"/>
                    <a:gd name="T79" fmla="*/ 2147483647 h 414"/>
                    <a:gd name="T80" fmla="*/ 2147483647 w 228"/>
                    <a:gd name="T81" fmla="*/ 2147483647 h 414"/>
                    <a:gd name="T82" fmla="*/ 2147483647 w 228"/>
                    <a:gd name="T83" fmla="*/ 2147483647 h 41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28"/>
                    <a:gd name="T127" fmla="*/ 0 h 414"/>
                    <a:gd name="T128" fmla="*/ 228 w 228"/>
                    <a:gd name="T129" fmla="*/ 414 h 41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28" h="414">
                      <a:moveTo>
                        <a:pt x="210" y="30"/>
                      </a:moveTo>
                      <a:lnTo>
                        <a:pt x="210" y="12"/>
                      </a:lnTo>
                      <a:lnTo>
                        <a:pt x="156" y="12"/>
                      </a:lnTo>
                      <a:lnTo>
                        <a:pt x="156" y="18"/>
                      </a:lnTo>
                      <a:lnTo>
                        <a:pt x="150" y="24"/>
                      </a:lnTo>
                      <a:lnTo>
                        <a:pt x="138" y="24"/>
                      </a:lnTo>
                      <a:lnTo>
                        <a:pt x="132" y="18"/>
                      </a:lnTo>
                      <a:lnTo>
                        <a:pt x="114" y="18"/>
                      </a:lnTo>
                      <a:lnTo>
                        <a:pt x="108" y="24"/>
                      </a:lnTo>
                      <a:lnTo>
                        <a:pt x="96" y="24"/>
                      </a:lnTo>
                      <a:lnTo>
                        <a:pt x="96" y="18"/>
                      </a:lnTo>
                      <a:lnTo>
                        <a:pt x="102" y="18"/>
                      </a:lnTo>
                      <a:lnTo>
                        <a:pt x="114" y="6"/>
                      </a:lnTo>
                      <a:lnTo>
                        <a:pt x="114" y="0"/>
                      </a:lnTo>
                      <a:lnTo>
                        <a:pt x="90" y="0"/>
                      </a:lnTo>
                      <a:lnTo>
                        <a:pt x="66" y="12"/>
                      </a:lnTo>
                      <a:lnTo>
                        <a:pt x="60" y="18"/>
                      </a:lnTo>
                      <a:lnTo>
                        <a:pt x="60" y="36"/>
                      </a:lnTo>
                      <a:lnTo>
                        <a:pt x="66" y="60"/>
                      </a:lnTo>
                      <a:lnTo>
                        <a:pt x="66" y="78"/>
                      </a:lnTo>
                      <a:lnTo>
                        <a:pt x="60" y="108"/>
                      </a:lnTo>
                      <a:lnTo>
                        <a:pt x="48" y="138"/>
                      </a:lnTo>
                      <a:lnTo>
                        <a:pt x="30" y="174"/>
                      </a:lnTo>
                      <a:lnTo>
                        <a:pt x="12" y="222"/>
                      </a:lnTo>
                      <a:lnTo>
                        <a:pt x="6" y="234"/>
                      </a:lnTo>
                      <a:lnTo>
                        <a:pt x="6" y="240"/>
                      </a:lnTo>
                      <a:lnTo>
                        <a:pt x="0" y="252"/>
                      </a:lnTo>
                      <a:lnTo>
                        <a:pt x="0" y="264"/>
                      </a:lnTo>
                      <a:lnTo>
                        <a:pt x="18" y="282"/>
                      </a:lnTo>
                      <a:lnTo>
                        <a:pt x="30" y="288"/>
                      </a:lnTo>
                      <a:lnTo>
                        <a:pt x="42" y="342"/>
                      </a:lnTo>
                      <a:lnTo>
                        <a:pt x="42" y="348"/>
                      </a:lnTo>
                      <a:lnTo>
                        <a:pt x="36" y="354"/>
                      </a:lnTo>
                      <a:lnTo>
                        <a:pt x="36" y="366"/>
                      </a:lnTo>
                      <a:lnTo>
                        <a:pt x="30" y="384"/>
                      </a:lnTo>
                      <a:lnTo>
                        <a:pt x="24" y="396"/>
                      </a:lnTo>
                      <a:lnTo>
                        <a:pt x="24" y="408"/>
                      </a:lnTo>
                      <a:lnTo>
                        <a:pt x="48" y="408"/>
                      </a:lnTo>
                      <a:lnTo>
                        <a:pt x="60" y="402"/>
                      </a:lnTo>
                      <a:lnTo>
                        <a:pt x="72" y="402"/>
                      </a:lnTo>
                      <a:lnTo>
                        <a:pt x="84" y="414"/>
                      </a:lnTo>
                      <a:lnTo>
                        <a:pt x="96" y="414"/>
                      </a:lnTo>
                      <a:lnTo>
                        <a:pt x="108" y="408"/>
                      </a:lnTo>
                      <a:lnTo>
                        <a:pt x="114" y="402"/>
                      </a:lnTo>
                      <a:lnTo>
                        <a:pt x="120" y="402"/>
                      </a:lnTo>
                      <a:lnTo>
                        <a:pt x="126" y="396"/>
                      </a:lnTo>
                      <a:lnTo>
                        <a:pt x="126" y="348"/>
                      </a:lnTo>
                      <a:lnTo>
                        <a:pt x="132" y="342"/>
                      </a:lnTo>
                      <a:lnTo>
                        <a:pt x="138" y="330"/>
                      </a:lnTo>
                      <a:lnTo>
                        <a:pt x="150" y="330"/>
                      </a:lnTo>
                      <a:lnTo>
                        <a:pt x="162" y="318"/>
                      </a:lnTo>
                      <a:lnTo>
                        <a:pt x="162" y="312"/>
                      </a:lnTo>
                      <a:lnTo>
                        <a:pt x="150" y="312"/>
                      </a:lnTo>
                      <a:lnTo>
                        <a:pt x="144" y="306"/>
                      </a:lnTo>
                      <a:lnTo>
                        <a:pt x="138" y="294"/>
                      </a:lnTo>
                      <a:lnTo>
                        <a:pt x="138" y="288"/>
                      </a:lnTo>
                      <a:lnTo>
                        <a:pt x="132" y="282"/>
                      </a:lnTo>
                      <a:lnTo>
                        <a:pt x="132" y="276"/>
                      </a:lnTo>
                      <a:lnTo>
                        <a:pt x="144" y="264"/>
                      </a:lnTo>
                      <a:lnTo>
                        <a:pt x="156" y="258"/>
                      </a:lnTo>
                      <a:lnTo>
                        <a:pt x="168" y="246"/>
                      </a:lnTo>
                      <a:lnTo>
                        <a:pt x="168" y="240"/>
                      </a:lnTo>
                      <a:lnTo>
                        <a:pt x="156" y="234"/>
                      </a:lnTo>
                      <a:lnTo>
                        <a:pt x="150" y="228"/>
                      </a:lnTo>
                      <a:lnTo>
                        <a:pt x="150" y="216"/>
                      </a:lnTo>
                      <a:lnTo>
                        <a:pt x="126" y="192"/>
                      </a:lnTo>
                      <a:lnTo>
                        <a:pt x="162" y="192"/>
                      </a:lnTo>
                      <a:lnTo>
                        <a:pt x="174" y="180"/>
                      </a:lnTo>
                      <a:lnTo>
                        <a:pt x="174" y="168"/>
                      </a:lnTo>
                      <a:lnTo>
                        <a:pt x="168" y="162"/>
                      </a:lnTo>
                      <a:lnTo>
                        <a:pt x="168" y="150"/>
                      </a:lnTo>
                      <a:lnTo>
                        <a:pt x="174" y="144"/>
                      </a:lnTo>
                      <a:lnTo>
                        <a:pt x="180" y="144"/>
                      </a:lnTo>
                      <a:lnTo>
                        <a:pt x="180" y="126"/>
                      </a:lnTo>
                      <a:lnTo>
                        <a:pt x="186" y="108"/>
                      </a:lnTo>
                      <a:lnTo>
                        <a:pt x="186" y="96"/>
                      </a:lnTo>
                      <a:lnTo>
                        <a:pt x="180" y="90"/>
                      </a:lnTo>
                      <a:lnTo>
                        <a:pt x="174" y="90"/>
                      </a:lnTo>
                      <a:lnTo>
                        <a:pt x="174" y="84"/>
                      </a:lnTo>
                      <a:lnTo>
                        <a:pt x="180" y="78"/>
                      </a:lnTo>
                      <a:lnTo>
                        <a:pt x="204" y="66"/>
                      </a:lnTo>
                      <a:lnTo>
                        <a:pt x="228" y="42"/>
                      </a:lnTo>
                      <a:lnTo>
                        <a:pt x="228" y="36"/>
                      </a:lnTo>
                      <a:lnTo>
                        <a:pt x="216" y="30"/>
                      </a:lnTo>
                      <a:lnTo>
                        <a:pt x="210" y="30"/>
                      </a:lnTo>
                      <a:close/>
                    </a:path>
                  </a:pathLst>
                </a:custGeom>
                <a:solidFill>
                  <a:schemeClr val="accent1"/>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566" name="Poland"/>
                <p:cNvSpPr>
                  <a:spLocks/>
                </p:cNvSpPr>
                <p:nvPr/>
              </p:nvSpPr>
              <p:spPr bwMode="gray">
                <a:xfrm>
                  <a:off x="2899" y="1188"/>
                  <a:ext cx="160" cy="115"/>
                </a:xfrm>
                <a:custGeom>
                  <a:avLst/>
                  <a:gdLst>
                    <a:gd name="T0" fmla="*/ 2147483647 w 624"/>
                    <a:gd name="T1" fmla="*/ 2147483647 h 450"/>
                    <a:gd name="T2" fmla="*/ 2147483647 w 624"/>
                    <a:gd name="T3" fmla="*/ 2147483647 h 450"/>
                    <a:gd name="T4" fmla="*/ 2147483647 w 624"/>
                    <a:gd name="T5" fmla="*/ 2147483647 h 450"/>
                    <a:gd name="T6" fmla="*/ 2147483647 w 624"/>
                    <a:gd name="T7" fmla="*/ 2147483647 h 450"/>
                    <a:gd name="T8" fmla="*/ 2147483647 w 624"/>
                    <a:gd name="T9" fmla="*/ 2147483647 h 450"/>
                    <a:gd name="T10" fmla="*/ 2147483647 w 624"/>
                    <a:gd name="T11" fmla="*/ 2147483647 h 450"/>
                    <a:gd name="T12" fmla="*/ 2147483647 w 624"/>
                    <a:gd name="T13" fmla="*/ 2147483647 h 450"/>
                    <a:gd name="T14" fmla="*/ 2147483647 w 624"/>
                    <a:gd name="T15" fmla="*/ 2147483647 h 450"/>
                    <a:gd name="T16" fmla="*/ 2147483647 w 624"/>
                    <a:gd name="T17" fmla="*/ 2147483647 h 450"/>
                    <a:gd name="T18" fmla="*/ 2147483647 w 624"/>
                    <a:gd name="T19" fmla="*/ 2147483647 h 450"/>
                    <a:gd name="T20" fmla="*/ 2147483647 w 624"/>
                    <a:gd name="T21" fmla="*/ 2147483647 h 450"/>
                    <a:gd name="T22" fmla="*/ 2147483647 w 624"/>
                    <a:gd name="T23" fmla="*/ 2147483647 h 450"/>
                    <a:gd name="T24" fmla="*/ 2147483647 w 624"/>
                    <a:gd name="T25" fmla="*/ 2147483647 h 450"/>
                    <a:gd name="T26" fmla="*/ 2147483647 w 624"/>
                    <a:gd name="T27" fmla="*/ 2147483647 h 450"/>
                    <a:gd name="T28" fmla="*/ 2147483647 w 624"/>
                    <a:gd name="T29" fmla="*/ 2147483647 h 450"/>
                    <a:gd name="T30" fmla="*/ 2147483647 w 624"/>
                    <a:gd name="T31" fmla="*/ 2147483647 h 450"/>
                    <a:gd name="T32" fmla="*/ 2147483647 w 624"/>
                    <a:gd name="T33" fmla="*/ 2147483647 h 450"/>
                    <a:gd name="T34" fmla="*/ 2147483647 w 624"/>
                    <a:gd name="T35" fmla="*/ 2147483647 h 450"/>
                    <a:gd name="T36" fmla="*/ 2147483647 w 624"/>
                    <a:gd name="T37" fmla="*/ 2147483647 h 450"/>
                    <a:gd name="T38" fmla="*/ 2147483647 w 624"/>
                    <a:gd name="T39" fmla="*/ 2147483647 h 450"/>
                    <a:gd name="T40" fmla="*/ 2147483647 w 624"/>
                    <a:gd name="T41" fmla="*/ 2147483647 h 450"/>
                    <a:gd name="T42" fmla="*/ 2147483647 w 624"/>
                    <a:gd name="T43" fmla="*/ 2147483647 h 450"/>
                    <a:gd name="T44" fmla="*/ 2147483647 w 624"/>
                    <a:gd name="T45" fmla="*/ 2147483647 h 450"/>
                    <a:gd name="T46" fmla="*/ 2147483647 w 624"/>
                    <a:gd name="T47" fmla="*/ 2147483647 h 450"/>
                    <a:gd name="T48" fmla="*/ 2147483647 w 624"/>
                    <a:gd name="T49" fmla="*/ 2147483647 h 450"/>
                    <a:gd name="T50" fmla="*/ 2147483647 w 624"/>
                    <a:gd name="T51" fmla="*/ 2147483647 h 450"/>
                    <a:gd name="T52" fmla="*/ 2147483647 w 624"/>
                    <a:gd name="T53" fmla="*/ 2147483647 h 450"/>
                    <a:gd name="T54" fmla="*/ 2147483647 w 624"/>
                    <a:gd name="T55" fmla="*/ 2147483647 h 450"/>
                    <a:gd name="T56" fmla="*/ 2147483647 w 624"/>
                    <a:gd name="T57" fmla="*/ 2147483647 h 450"/>
                    <a:gd name="T58" fmla="*/ 0 w 624"/>
                    <a:gd name="T59" fmla="*/ 2147483647 h 450"/>
                    <a:gd name="T60" fmla="*/ 2147483647 w 624"/>
                    <a:gd name="T61" fmla="*/ 2147483647 h 450"/>
                    <a:gd name="T62" fmla="*/ 2147483647 w 624"/>
                    <a:gd name="T63" fmla="*/ 2147483647 h 450"/>
                    <a:gd name="T64" fmla="*/ 2147483647 w 624"/>
                    <a:gd name="T65" fmla="*/ 2147483647 h 450"/>
                    <a:gd name="T66" fmla="*/ 2147483647 w 624"/>
                    <a:gd name="T67" fmla="*/ 2147483647 h 450"/>
                    <a:gd name="T68" fmla="*/ 2147483647 w 624"/>
                    <a:gd name="T69" fmla="*/ 2147483647 h 450"/>
                    <a:gd name="T70" fmla="*/ 2147483647 w 624"/>
                    <a:gd name="T71" fmla="*/ 2147483647 h 450"/>
                    <a:gd name="T72" fmla="*/ 2147483647 w 624"/>
                    <a:gd name="T73" fmla="*/ 2147483647 h 450"/>
                    <a:gd name="T74" fmla="*/ 2147483647 w 624"/>
                    <a:gd name="T75" fmla="*/ 2147483647 h 450"/>
                    <a:gd name="T76" fmla="*/ 2147483647 w 624"/>
                    <a:gd name="T77" fmla="*/ 2147483647 h 450"/>
                    <a:gd name="T78" fmla="*/ 2147483647 w 624"/>
                    <a:gd name="T79" fmla="*/ 2147483647 h 450"/>
                    <a:gd name="T80" fmla="*/ 2147483647 w 624"/>
                    <a:gd name="T81" fmla="*/ 2147483647 h 450"/>
                    <a:gd name="T82" fmla="*/ 2147483647 w 624"/>
                    <a:gd name="T83" fmla="*/ 2147483647 h 450"/>
                    <a:gd name="T84" fmla="*/ 2147483647 w 624"/>
                    <a:gd name="T85" fmla="*/ 2147483647 h 450"/>
                    <a:gd name="T86" fmla="*/ 2147483647 w 624"/>
                    <a:gd name="T87" fmla="*/ 2147483647 h 450"/>
                    <a:gd name="T88" fmla="*/ 2147483647 w 624"/>
                    <a:gd name="T89" fmla="*/ 2147483647 h 450"/>
                    <a:gd name="T90" fmla="*/ 2147483647 w 624"/>
                    <a:gd name="T91" fmla="*/ 2147483647 h 450"/>
                    <a:gd name="T92" fmla="*/ 2147483647 w 624"/>
                    <a:gd name="T93" fmla="*/ 2147483647 h 450"/>
                    <a:gd name="T94" fmla="*/ 2147483647 w 624"/>
                    <a:gd name="T95" fmla="*/ 2147483647 h 450"/>
                    <a:gd name="T96" fmla="*/ 2147483647 w 624"/>
                    <a:gd name="T97" fmla="*/ 2147483647 h 450"/>
                    <a:gd name="T98" fmla="*/ 2147483647 w 624"/>
                    <a:gd name="T99" fmla="*/ 2147483647 h 450"/>
                    <a:gd name="T100" fmla="*/ 2147483647 w 624"/>
                    <a:gd name="T101" fmla="*/ 2147483647 h 450"/>
                    <a:gd name="T102" fmla="*/ 2147483647 w 624"/>
                    <a:gd name="T103" fmla="*/ 2147483647 h 450"/>
                    <a:gd name="T104" fmla="*/ 2147483647 w 624"/>
                    <a:gd name="T105" fmla="*/ 2147483647 h 450"/>
                    <a:gd name="T106" fmla="*/ 2147483647 w 624"/>
                    <a:gd name="T107" fmla="*/ 2147483647 h 45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624"/>
                    <a:gd name="T163" fmla="*/ 0 h 450"/>
                    <a:gd name="T164" fmla="*/ 624 w 624"/>
                    <a:gd name="T165" fmla="*/ 450 h 45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624" h="450">
                      <a:moveTo>
                        <a:pt x="426" y="426"/>
                      </a:moveTo>
                      <a:lnTo>
                        <a:pt x="432" y="426"/>
                      </a:lnTo>
                      <a:lnTo>
                        <a:pt x="444" y="420"/>
                      </a:lnTo>
                      <a:lnTo>
                        <a:pt x="450" y="414"/>
                      </a:lnTo>
                      <a:lnTo>
                        <a:pt x="474" y="414"/>
                      </a:lnTo>
                      <a:lnTo>
                        <a:pt x="498" y="438"/>
                      </a:lnTo>
                      <a:lnTo>
                        <a:pt x="528" y="438"/>
                      </a:lnTo>
                      <a:lnTo>
                        <a:pt x="528" y="450"/>
                      </a:lnTo>
                      <a:lnTo>
                        <a:pt x="552" y="450"/>
                      </a:lnTo>
                      <a:lnTo>
                        <a:pt x="540" y="438"/>
                      </a:lnTo>
                      <a:lnTo>
                        <a:pt x="540" y="396"/>
                      </a:lnTo>
                      <a:lnTo>
                        <a:pt x="594" y="348"/>
                      </a:lnTo>
                      <a:lnTo>
                        <a:pt x="606" y="348"/>
                      </a:lnTo>
                      <a:lnTo>
                        <a:pt x="612" y="342"/>
                      </a:lnTo>
                      <a:lnTo>
                        <a:pt x="618" y="342"/>
                      </a:lnTo>
                      <a:lnTo>
                        <a:pt x="624" y="336"/>
                      </a:lnTo>
                      <a:lnTo>
                        <a:pt x="618" y="330"/>
                      </a:lnTo>
                      <a:lnTo>
                        <a:pt x="618" y="324"/>
                      </a:lnTo>
                      <a:lnTo>
                        <a:pt x="612" y="318"/>
                      </a:lnTo>
                      <a:lnTo>
                        <a:pt x="618" y="306"/>
                      </a:lnTo>
                      <a:lnTo>
                        <a:pt x="612" y="300"/>
                      </a:lnTo>
                      <a:lnTo>
                        <a:pt x="600" y="294"/>
                      </a:lnTo>
                      <a:lnTo>
                        <a:pt x="600" y="288"/>
                      </a:lnTo>
                      <a:lnTo>
                        <a:pt x="582" y="270"/>
                      </a:lnTo>
                      <a:lnTo>
                        <a:pt x="576" y="252"/>
                      </a:lnTo>
                      <a:lnTo>
                        <a:pt x="582" y="252"/>
                      </a:lnTo>
                      <a:lnTo>
                        <a:pt x="576" y="240"/>
                      </a:lnTo>
                      <a:lnTo>
                        <a:pt x="576" y="210"/>
                      </a:lnTo>
                      <a:lnTo>
                        <a:pt x="564" y="198"/>
                      </a:lnTo>
                      <a:lnTo>
                        <a:pt x="558" y="198"/>
                      </a:lnTo>
                      <a:lnTo>
                        <a:pt x="552" y="192"/>
                      </a:lnTo>
                      <a:lnTo>
                        <a:pt x="552" y="186"/>
                      </a:lnTo>
                      <a:lnTo>
                        <a:pt x="564" y="186"/>
                      </a:lnTo>
                      <a:lnTo>
                        <a:pt x="564" y="168"/>
                      </a:lnTo>
                      <a:lnTo>
                        <a:pt x="588" y="162"/>
                      </a:lnTo>
                      <a:lnTo>
                        <a:pt x="588" y="150"/>
                      </a:lnTo>
                      <a:lnTo>
                        <a:pt x="594" y="144"/>
                      </a:lnTo>
                      <a:lnTo>
                        <a:pt x="594" y="138"/>
                      </a:lnTo>
                      <a:lnTo>
                        <a:pt x="588" y="132"/>
                      </a:lnTo>
                      <a:lnTo>
                        <a:pt x="576" y="108"/>
                      </a:lnTo>
                      <a:lnTo>
                        <a:pt x="570" y="102"/>
                      </a:lnTo>
                      <a:lnTo>
                        <a:pt x="570" y="90"/>
                      </a:lnTo>
                      <a:lnTo>
                        <a:pt x="564" y="84"/>
                      </a:lnTo>
                      <a:lnTo>
                        <a:pt x="558" y="72"/>
                      </a:lnTo>
                      <a:lnTo>
                        <a:pt x="558" y="48"/>
                      </a:lnTo>
                      <a:lnTo>
                        <a:pt x="546" y="42"/>
                      </a:lnTo>
                      <a:lnTo>
                        <a:pt x="540" y="42"/>
                      </a:lnTo>
                      <a:lnTo>
                        <a:pt x="522" y="36"/>
                      </a:lnTo>
                      <a:lnTo>
                        <a:pt x="498" y="36"/>
                      </a:lnTo>
                      <a:lnTo>
                        <a:pt x="498" y="42"/>
                      </a:lnTo>
                      <a:lnTo>
                        <a:pt x="408" y="42"/>
                      </a:lnTo>
                      <a:lnTo>
                        <a:pt x="402" y="36"/>
                      </a:lnTo>
                      <a:lnTo>
                        <a:pt x="390" y="36"/>
                      </a:lnTo>
                      <a:lnTo>
                        <a:pt x="384" y="30"/>
                      </a:lnTo>
                      <a:lnTo>
                        <a:pt x="360" y="30"/>
                      </a:lnTo>
                      <a:lnTo>
                        <a:pt x="354" y="36"/>
                      </a:lnTo>
                      <a:lnTo>
                        <a:pt x="348" y="36"/>
                      </a:lnTo>
                      <a:lnTo>
                        <a:pt x="342" y="30"/>
                      </a:lnTo>
                      <a:lnTo>
                        <a:pt x="312" y="30"/>
                      </a:lnTo>
                      <a:lnTo>
                        <a:pt x="300" y="36"/>
                      </a:lnTo>
                      <a:lnTo>
                        <a:pt x="282" y="36"/>
                      </a:lnTo>
                      <a:lnTo>
                        <a:pt x="276" y="30"/>
                      </a:lnTo>
                      <a:lnTo>
                        <a:pt x="270" y="18"/>
                      </a:lnTo>
                      <a:lnTo>
                        <a:pt x="264" y="12"/>
                      </a:lnTo>
                      <a:lnTo>
                        <a:pt x="264" y="6"/>
                      </a:lnTo>
                      <a:lnTo>
                        <a:pt x="258" y="6"/>
                      </a:lnTo>
                      <a:lnTo>
                        <a:pt x="252" y="0"/>
                      </a:lnTo>
                      <a:lnTo>
                        <a:pt x="210" y="0"/>
                      </a:lnTo>
                      <a:lnTo>
                        <a:pt x="192" y="6"/>
                      </a:lnTo>
                      <a:lnTo>
                        <a:pt x="180" y="12"/>
                      </a:lnTo>
                      <a:lnTo>
                        <a:pt x="162" y="12"/>
                      </a:lnTo>
                      <a:lnTo>
                        <a:pt x="150" y="18"/>
                      </a:lnTo>
                      <a:lnTo>
                        <a:pt x="144" y="24"/>
                      </a:lnTo>
                      <a:lnTo>
                        <a:pt x="138" y="24"/>
                      </a:lnTo>
                      <a:lnTo>
                        <a:pt x="120" y="42"/>
                      </a:lnTo>
                      <a:lnTo>
                        <a:pt x="60" y="48"/>
                      </a:lnTo>
                      <a:lnTo>
                        <a:pt x="54" y="48"/>
                      </a:lnTo>
                      <a:lnTo>
                        <a:pt x="48" y="54"/>
                      </a:lnTo>
                      <a:lnTo>
                        <a:pt x="24" y="66"/>
                      </a:lnTo>
                      <a:lnTo>
                        <a:pt x="18" y="66"/>
                      </a:lnTo>
                      <a:lnTo>
                        <a:pt x="12" y="72"/>
                      </a:lnTo>
                      <a:lnTo>
                        <a:pt x="18" y="78"/>
                      </a:lnTo>
                      <a:lnTo>
                        <a:pt x="18" y="96"/>
                      </a:lnTo>
                      <a:lnTo>
                        <a:pt x="6" y="90"/>
                      </a:lnTo>
                      <a:lnTo>
                        <a:pt x="6" y="108"/>
                      </a:lnTo>
                      <a:lnTo>
                        <a:pt x="12" y="108"/>
                      </a:lnTo>
                      <a:lnTo>
                        <a:pt x="18" y="114"/>
                      </a:lnTo>
                      <a:lnTo>
                        <a:pt x="18" y="132"/>
                      </a:lnTo>
                      <a:lnTo>
                        <a:pt x="6" y="144"/>
                      </a:lnTo>
                      <a:lnTo>
                        <a:pt x="0" y="144"/>
                      </a:lnTo>
                      <a:lnTo>
                        <a:pt x="0" y="156"/>
                      </a:lnTo>
                      <a:lnTo>
                        <a:pt x="6" y="162"/>
                      </a:lnTo>
                      <a:lnTo>
                        <a:pt x="12" y="162"/>
                      </a:lnTo>
                      <a:lnTo>
                        <a:pt x="18" y="168"/>
                      </a:lnTo>
                      <a:lnTo>
                        <a:pt x="30" y="168"/>
                      </a:lnTo>
                      <a:lnTo>
                        <a:pt x="30" y="186"/>
                      </a:lnTo>
                      <a:lnTo>
                        <a:pt x="24" y="186"/>
                      </a:lnTo>
                      <a:lnTo>
                        <a:pt x="24" y="198"/>
                      </a:lnTo>
                      <a:lnTo>
                        <a:pt x="36" y="198"/>
                      </a:lnTo>
                      <a:lnTo>
                        <a:pt x="36" y="204"/>
                      </a:lnTo>
                      <a:lnTo>
                        <a:pt x="30" y="210"/>
                      </a:lnTo>
                      <a:lnTo>
                        <a:pt x="36" y="210"/>
                      </a:lnTo>
                      <a:lnTo>
                        <a:pt x="42" y="216"/>
                      </a:lnTo>
                      <a:lnTo>
                        <a:pt x="36" y="222"/>
                      </a:lnTo>
                      <a:lnTo>
                        <a:pt x="24" y="228"/>
                      </a:lnTo>
                      <a:lnTo>
                        <a:pt x="24" y="234"/>
                      </a:lnTo>
                      <a:lnTo>
                        <a:pt x="30" y="240"/>
                      </a:lnTo>
                      <a:lnTo>
                        <a:pt x="36" y="240"/>
                      </a:lnTo>
                      <a:lnTo>
                        <a:pt x="42" y="246"/>
                      </a:lnTo>
                      <a:lnTo>
                        <a:pt x="42" y="264"/>
                      </a:lnTo>
                      <a:lnTo>
                        <a:pt x="48" y="258"/>
                      </a:lnTo>
                      <a:lnTo>
                        <a:pt x="54" y="258"/>
                      </a:lnTo>
                      <a:lnTo>
                        <a:pt x="54" y="270"/>
                      </a:lnTo>
                      <a:lnTo>
                        <a:pt x="48" y="276"/>
                      </a:lnTo>
                      <a:lnTo>
                        <a:pt x="60" y="276"/>
                      </a:lnTo>
                      <a:lnTo>
                        <a:pt x="60" y="282"/>
                      </a:lnTo>
                      <a:lnTo>
                        <a:pt x="54" y="282"/>
                      </a:lnTo>
                      <a:lnTo>
                        <a:pt x="54" y="294"/>
                      </a:lnTo>
                      <a:lnTo>
                        <a:pt x="72" y="294"/>
                      </a:lnTo>
                      <a:lnTo>
                        <a:pt x="78" y="312"/>
                      </a:lnTo>
                      <a:lnTo>
                        <a:pt x="96" y="312"/>
                      </a:lnTo>
                      <a:lnTo>
                        <a:pt x="108" y="318"/>
                      </a:lnTo>
                      <a:lnTo>
                        <a:pt x="114" y="318"/>
                      </a:lnTo>
                      <a:lnTo>
                        <a:pt x="114" y="324"/>
                      </a:lnTo>
                      <a:lnTo>
                        <a:pt x="138" y="324"/>
                      </a:lnTo>
                      <a:lnTo>
                        <a:pt x="144" y="330"/>
                      </a:lnTo>
                      <a:lnTo>
                        <a:pt x="132" y="336"/>
                      </a:lnTo>
                      <a:lnTo>
                        <a:pt x="144" y="342"/>
                      </a:lnTo>
                      <a:lnTo>
                        <a:pt x="144" y="354"/>
                      </a:lnTo>
                      <a:lnTo>
                        <a:pt x="150" y="354"/>
                      </a:lnTo>
                      <a:lnTo>
                        <a:pt x="156" y="360"/>
                      </a:lnTo>
                      <a:lnTo>
                        <a:pt x="174" y="360"/>
                      </a:lnTo>
                      <a:lnTo>
                        <a:pt x="174" y="354"/>
                      </a:lnTo>
                      <a:lnTo>
                        <a:pt x="180" y="354"/>
                      </a:lnTo>
                      <a:lnTo>
                        <a:pt x="192" y="348"/>
                      </a:lnTo>
                      <a:lnTo>
                        <a:pt x="210" y="348"/>
                      </a:lnTo>
                      <a:lnTo>
                        <a:pt x="204" y="354"/>
                      </a:lnTo>
                      <a:lnTo>
                        <a:pt x="222" y="354"/>
                      </a:lnTo>
                      <a:lnTo>
                        <a:pt x="228" y="360"/>
                      </a:lnTo>
                      <a:lnTo>
                        <a:pt x="234" y="372"/>
                      </a:lnTo>
                      <a:lnTo>
                        <a:pt x="240" y="378"/>
                      </a:lnTo>
                      <a:lnTo>
                        <a:pt x="246" y="366"/>
                      </a:lnTo>
                      <a:lnTo>
                        <a:pt x="252" y="372"/>
                      </a:lnTo>
                      <a:lnTo>
                        <a:pt x="252" y="378"/>
                      </a:lnTo>
                      <a:lnTo>
                        <a:pt x="270" y="378"/>
                      </a:lnTo>
                      <a:lnTo>
                        <a:pt x="282" y="384"/>
                      </a:lnTo>
                      <a:lnTo>
                        <a:pt x="282" y="390"/>
                      </a:lnTo>
                      <a:lnTo>
                        <a:pt x="288" y="402"/>
                      </a:lnTo>
                      <a:lnTo>
                        <a:pt x="306" y="420"/>
                      </a:lnTo>
                      <a:lnTo>
                        <a:pt x="318" y="420"/>
                      </a:lnTo>
                      <a:lnTo>
                        <a:pt x="330" y="408"/>
                      </a:lnTo>
                      <a:lnTo>
                        <a:pt x="342" y="408"/>
                      </a:lnTo>
                      <a:lnTo>
                        <a:pt x="354" y="420"/>
                      </a:lnTo>
                      <a:lnTo>
                        <a:pt x="360" y="420"/>
                      </a:lnTo>
                      <a:lnTo>
                        <a:pt x="360" y="426"/>
                      </a:lnTo>
                      <a:lnTo>
                        <a:pt x="366" y="432"/>
                      </a:lnTo>
                      <a:lnTo>
                        <a:pt x="378" y="432"/>
                      </a:lnTo>
                      <a:lnTo>
                        <a:pt x="384" y="426"/>
                      </a:lnTo>
                      <a:lnTo>
                        <a:pt x="384" y="420"/>
                      </a:lnTo>
                      <a:lnTo>
                        <a:pt x="414" y="420"/>
                      </a:lnTo>
                      <a:lnTo>
                        <a:pt x="420" y="426"/>
                      </a:lnTo>
                      <a:lnTo>
                        <a:pt x="426" y="426"/>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567" name="Philippines"/>
                <p:cNvSpPr>
                  <a:spLocks noEditPoints="1"/>
                </p:cNvSpPr>
                <p:nvPr/>
              </p:nvSpPr>
              <p:spPr bwMode="gray">
                <a:xfrm>
                  <a:off x="4780" y="1924"/>
                  <a:ext cx="183" cy="307"/>
                </a:xfrm>
                <a:custGeom>
                  <a:avLst/>
                  <a:gdLst>
                    <a:gd name="T0" fmla="*/ 2147483647 w 714"/>
                    <a:gd name="T1" fmla="*/ 2147483647 h 1200"/>
                    <a:gd name="T2" fmla="*/ 2147483647 w 714"/>
                    <a:gd name="T3" fmla="*/ 2147483647 h 1200"/>
                    <a:gd name="T4" fmla="*/ 2147483647 w 714"/>
                    <a:gd name="T5" fmla="*/ 2147483647 h 1200"/>
                    <a:gd name="T6" fmla="*/ 2147483647 w 714"/>
                    <a:gd name="T7" fmla="*/ 2147483647 h 1200"/>
                    <a:gd name="T8" fmla="*/ 2147483647 w 714"/>
                    <a:gd name="T9" fmla="*/ 2147483647 h 1200"/>
                    <a:gd name="T10" fmla="*/ 2147483647 w 714"/>
                    <a:gd name="T11" fmla="*/ 2147483647 h 1200"/>
                    <a:gd name="T12" fmla="*/ 2147483647 w 714"/>
                    <a:gd name="T13" fmla="*/ 2147483647 h 1200"/>
                    <a:gd name="T14" fmla="*/ 2147483647 w 714"/>
                    <a:gd name="T15" fmla="*/ 2147483647 h 1200"/>
                    <a:gd name="T16" fmla="*/ 2147483647 w 714"/>
                    <a:gd name="T17" fmla="*/ 2147483647 h 1200"/>
                    <a:gd name="T18" fmla="*/ 2147483647 w 714"/>
                    <a:gd name="T19" fmla="*/ 2147483647 h 1200"/>
                    <a:gd name="T20" fmla="*/ 2147483647 w 714"/>
                    <a:gd name="T21" fmla="*/ 2147483647 h 1200"/>
                    <a:gd name="T22" fmla="*/ 2147483647 w 714"/>
                    <a:gd name="T23" fmla="*/ 2147483647 h 1200"/>
                    <a:gd name="T24" fmla="*/ 2147483647 w 714"/>
                    <a:gd name="T25" fmla="*/ 2147483647 h 1200"/>
                    <a:gd name="T26" fmla="*/ 2147483647 w 714"/>
                    <a:gd name="T27" fmla="*/ 2147483647 h 1200"/>
                    <a:gd name="T28" fmla="*/ 2147483647 w 714"/>
                    <a:gd name="T29" fmla="*/ 2147483647 h 1200"/>
                    <a:gd name="T30" fmla="*/ 2147483647 w 714"/>
                    <a:gd name="T31" fmla="*/ 2147483647 h 1200"/>
                    <a:gd name="T32" fmla="*/ 2147483647 w 714"/>
                    <a:gd name="T33" fmla="*/ 2147483647 h 1200"/>
                    <a:gd name="T34" fmla="*/ 2147483647 w 714"/>
                    <a:gd name="T35" fmla="*/ 2147483647 h 1200"/>
                    <a:gd name="T36" fmla="*/ 2147483647 w 714"/>
                    <a:gd name="T37" fmla="*/ 2147483647 h 1200"/>
                    <a:gd name="T38" fmla="*/ 2147483647 w 714"/>
                    <a:gd name="T39" fmla="*/ 2147483647 h 1200"/>
                    <a:gd name="T40" fmla="*/ 2147483647 w 714"/>
                    <a:gd name="T41" fmla="*/ 2147483647 h 1200"/>
                    <a:gd name="T42" fmla="*/ 2147483647 w 714"/>
                    <a:gd name="T43" fmla="*/ 2147483647 h 1200"/>
                    <a:gd name="T44" fmla="*/ 2147483647 w 714"/>
                    <a:gd name="T45" fmla="*/ 2147483647 h 1200"/>
                    <a:gd name="T46" fmla="*/ 2147483647 w 714"/>
                    <a:gd name="T47" fmla="*/ 2147483647 h 1200"/>
                    <a:gd name="T48" fmla="*/ 2147483647 w 714"/>
                    <a:gd name="T49" fmla="*/ 2147483647 h 1200"/>
                    <a:gd name="T50" fmla="*/ 2147483647 w 714"/>
                    <a:gd name="T51" fmla="*/ 2147483647 h 1200"/>
                    <a:gd name="T52" fmla="*/ 2147483647 w 714"/>
                    <a:gd name="T53" fmla="*/ 2147483647 h 1200"/>
                    <a:gd name="T54" fmla="*/ 2147483647 w 714"/>
                    <a:gd name="T55" fmla="*/ 2147483647 h 1200"/>
                    <a:gd name="T56" fmla="*/ 2147483647 w 714"/>
                    <a:gd name="T57" fmla="*/ 2147483647 h 1200"/>
                    <a:gd name="T58" fmla="*/ 2147483647 w 714"/>
                    <a:gd name="T59" fmla="*/ 2147483647 h 1200"/>
                    <a:gd name="T60" fmla="*/ 2147483647 w 714"/>
                    <a:gd name="T61" fmla="*/ 2147483647 h 1200"/>
                    <a:gd name="T62" fmla="*/ 2147483647 w 714"/>
                    <a:gd name="T63" fmla="*/ 2147483647 h 1200"/>
                    <a:gd name="T64" fmla="*/ 2147483647 w 714"/>
                    <a:gd name="T65" fmla="*/ 2147483647 h 1200"/>
                    <a:gd name="T66" fmla="*/ 2147483647 w 714"/>
                    <a:gd name="T67" fmla="*/ 2147483647 h 1200"/>
                    <a:gd name="T68" fmla="*/ 2147483647 w 714"/>
                    <a:gd name="T69" fmla="*/ 2147483647 h 1200"/>
                    <a:gd name="T70" fmla="*/ 2147483647 w 714"/>
                    <a:gd name="T71" fmla="*/ 2147483647 h 1200"/>
                    <a:gd name="T72" fmla="*/ 2147483647 w 714"/>
                    <a:gd name="T73" fmla="*/ 2147483647 h 1200"/>
                    <a:gd name="T74" fmla="*/ 2147483647 w 714"/>
                    <a:gd name="T75" fmla="*/ 2147483647 h 1200"/>
                    <a:gd name="T76" fmla="*/ 2147483647 w 714"/>
                    <a:gd name="T77" fmla="*/ 2147483647 h 1200"/>
                    <a:gd name="T78" fmla="*/ 2147483647 w 714"/>
                    <a:gd name="T79" fmla="*/ 0 h 1200"/>
                    <a:gd name="T80" fmla="*/ 2147483647 w 714"/>
                    <a:gd name="T81" fmla="*/ 2147483647 h 1200"/>
                    <a:gd name="T82" fmla="*/ 2147483647 w 714"/>
                    <a:gd name="T83" fmla="*/ 2147483647 h 1200"/>
                    <a:gd name="T84" fmla="*/ 2147483647 w 714"/>
                    <a:gd name="T85" fmla="*/ 2147483647 h 1200"/>
                    <a:gd name="T86" fmla="*/ 2147483647 w 714"/>
                    <a:gd name="T87" fmla="*/ 2147483647 h 1200"/>
                    <a:gd name="T88" fmla="*/ 2147483647 w 714"/>
                    <a:gd name="T89" fmla="*/ 2147483647 h 1200"/>
                    <a:gd name="T90" fmla="*/ 2147483647 w 714"/>
                    <a:gd name="T91" fmla="*/ 2147483647 h 1200"/>
                    <a:gd name="T92" fmla="*/ 2147483647 w 714"/>
                    <a:gd name="T93" fmla="*/ 2147483647 h 1200"/>
                    <a:gd name="T94" fmla="*/ 2147483647 w 714"/>
                    <a:gd name="T95" fmla="*/ 2147483647 h 1200"/>
                    <a:gd name="T96" fmla="*/ 2147483647 w 714"/>
                    <a:gd name="T97" fmla="*/ 2147483647 h 1200"/>
                    <a:gd name="T98" fmla="*/ 2147483647 w 714"/>
                    <a:gd name="T99" fmla="*/ 2147483647 h 1200"/>
                    <a:gd name="T100" fmla="*/ 2147483647 w 714"/>
                    <a:gd name="T101" fmla="*/ 2147483647 h 1200"/>
                    <a:gd name="T102" fmla="*/ 2147483647 w 714"/>
                    <a:gd name="T103" fmla="*/ 2147483647 h 1200"/>
                    <a:gd name="T104" fmla="*/ 2147483647 w 714"/>
                    <a:gd name="T105" fmla="*/ 2147483647 h 1200"/>
                    <a:gd name="T106" fmla="*/ 2147483647 w 714"/>
                    <a:gd name="T107" fmla="*/ 2147483647 h 1200"/>
                    <a:gd name="T108" fmla="*/ 2147483647 w 714"/>
                    <a:gd name="T109" fmla="*/ 2147483647 h 1200"/>
                    <a:gd name="T110" fmla="*/ 2147483647 w 714"/>
                    <a:gd name="T111" fmla="*/ 2147483647 h 1200"/>
                    <a:gd name="T112" fmla="*/ 2147483647 w 714"/>
                    <a:gd name="T113" fmla="*/ 2147483647 h 1200"/>
                    <a:gd name="T114" fmla="*/ 2147483647 w 714"/>
                    <a:gd name="T115" fmla="*/ 2147483647 h 1200"/>
                    <a:gd name="T116" fmla="*/ 2147483647 w 714"/>
                    <a:gd name="T117" fmla="*/ 2147483647 h 120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714"/>
                    <a:gd name="T178" fmla="*/ 0 h 1200"/>
                    <a:gd name="T179" fmla="*/ 714 w 714"/>
                    <a:gd name="T180" fmla="*/ 1200 h 120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714" h="1200">
                      <a:moveTo>
                        <a:pt x="702" y="1140"/>
                      </a:moveTo>
                      <a:lnTo>
                        <a:pt x="690" y="1170"/>
                      </a:lnTo>
                      <a:lnTo>
                        <a:pt x="696" y="1200"/>
                      </a:lnTo>
                      <a:lnTo>
                        <a:pt x="714" y="1182"/>
                      </a:lnTo>
                      <a:lnTo>
                        <a:pt x="714" y="1140"/>
                      </a:lnTo>
                      <a:lnTo>
                        <a:pt x="702" y="1140"/>
                      </a:lnTo>
                      <a:close/>
                      <a:moveTo>
                        <a:pt x="582" y="1176"/>
                      </a:moveTo>
                      <a:lnTo>
                        <a:pt x="600" y="1140"/>
                      </a:lnTo>
                      <a:lnTo>
                        <a:pt x="576" y="1134"/>
                      </a:lnTo>
                      <a:lnTo>
                        <a:pt x="582" y="1176"/>
                      </a:lnTo>
                      <a:close/>
                      <a:moveTo>
                        <a:pt x="246" y="1038"/>
                      </a:moveTo>
                      <a:lnTo>
                        <a:pt x="264" y="1050"/>
                      </a:lnTo>
                      <a:lnTo>
                        <a:pt x="282" y="1020"/>
                      </a:lnTo>
                      <a:lnTo>
                        <a:pt x="258" y="1008"/>
                      </a:lnTo>
                      <a:lnTo>
                        <a:pt x="246" y="1038"/>
                      </a:lnTo>
                      <a:close/>
                      <a:moveTo>
                        <a:pt x="504" y="558"/>
                      </a:moveTo>
                      <a:lnTo>
                        <a:pt x="540" y="576"/>
                      </a:lnTo>
                      <a:lnTo>
                        <a:pt x="540" y="582"/>
                      </a:lnTo>
                      <a:lnTo>
                        <a:pt x="534" y="588"/>
                      </a:lnTo>
                      <a:lnTo>
                        <a:pt x="504" y="588"/>
                      </a:lnTo>
                      <a:lnTo>
                        <a:pt x="570" y="642"/>
                      </a:lnTo>
                      <a:lnTo>
                        <a:pt x="570" y="618"/>
                      </a:lnTo>
                      <a:lnTo>
                        <a:pt x="600" y="624"/>
                      </a:lnTo>
                      <a:lnTo>
                        <a:pt x="576" y="588"/>
                      </a:lnTo>
                      <a:lnTo>
                        <a:pt x="576" y="582"/>
                      </a:lnTo>
                      <a:lnTo>
                        <a:pt x="570" y="576"/>
                      </a:lnTo>
                      <a:lnTo>
                        <a:pt x="570" y="558"/>
                      </a:lnTo>
                      <a:lnTo>
                        <a:pt x="564" y="546"/>
                      </a:lnTo>
                      <a:lnTo>
                        <a:pt x="534" y="516"/>
                      </a:lnTo>
                      <a:lnTo>
                        <a:pt x="522" y="510"/>
                      </a:lnTo>
                      <a:lnTo>
                        <a:pt x="504" y="504"/>
                      </a:lnTo>
                      <a:lnTo>
                        <a:pt x="492" y="498"/>
                      </a:lnTo>
                      <a:lnTo>
                        <a:pt x="474" y="498"/>
                      </a:lnTo>
                      <a:lnTo>
                        <a:pt x="468" y="504"/>
                      </a:lnTo>
                      <a:lnTo>
                        <a:pt x="468" y="528"/>
                      </a:lnTo>
                      <a:lnTo>
                        <a:pt x="492" y="552"/>
                      </a:lnTo>
                      <a:lnTo>
                        <a:pt x="504" y="558"/>
                      </a:lnTo>
                      <a:close/>
                      <a:moveTo>
                        <a:pt x="462" y="666"/>
                      </a:moveTo>
                      <a:lnTo>
                        <a:pt x="474" y="750"/>
                      </a:lnTo>
                      <a:lnTo>
                        <a:pt x="486" y="672"/>
                      </a:lnTo>
                      <a:lnTo>
                        <a:pt x="462" y="618"/>
                      </a:lnTo>
                      <a:lnTo>
                        <a:pt x="438" y="618"/>
                      </a:lnTo>
                      <a:lnTo>
                        <a:pt x="462" y="666"/>
                      </a:lnTo>
                      <a:close/>
                      <a:moveTo>
                        <a:pt x="492" y="738"/>
                      </a:moveTo>
                      <a:lnTo>
                        <a:pt x="522" y="738"/>
                      </a:lnTo>
                      <a:lnTo>
                        <a:pt x="528" y="708"/>
                      </a:lnTo>
                      <a:lnTo>
                        <a:pt x="498" y="702"/>
                      </a:lnTo>
                      <a:lnTo>
                        <a:pt x="492" y="738"/>
                      </a:lnTo>
                      <a:close/>
                      <a:moveTo>
                        <a:pt x="570" y="660"/>
                      </a:moveTo>
                      <a:lnTo>
                        <a:pt x="546" y="648"/>
                      </a:lnTo>
                      <a:lnTo>
                        <a:pt x="528" y="630"/>
                      </a:lnTo>
                      <a:lnTo>
                        <a:pt x="528" y="624"/>
                      </a:lnTo>
                      <a:lnTo>
                        <a:pt x="522" y="618"/>
                      </a:lnTo>
                      <a:lnTo>
                        <a:pt x="486" y="618"/>
                      </a:lnTo>
                      <a:lnTo>
                        <a:pt x="492" y="660"/>
                      </a:lnTo>
                      <a:lnTo>
                        <a:pt x="510" y="654"/>
                      </a:lnTo>
                      <a:lnTo>
                        <a:pt x="522" y="678"/>
                      </a:lnTo>
                      <a:lnTo>
                        <a:pt x="570" y="714"/>
                      </a:lnTo>
                      <a:lnTo>
                        <a:pt x="570" y="660"/>
                      </a:lnTo>
                      <a:close/>
                      <a:moveTo>
                        <a:pt x="162" y="600"/>
                      </a:moveTo>
                      <a:lnTo>
                        <a:pt x="144" y="582"/>
                      </a:lnTo>
                      <a:lnTo>
                        <a:pt x="138" y="606"/>
                      </a:lnTo>
                      <a:lnTo>
                        <a:pt x="132" y="618"/>
                      </a:lnTo>
                      <a:lnTo>
                        <a:pt x="126" y="624"/>
                      </a:lnTo>
                      <a:lnTo>
                        <a:pt x="120" y="642"/>
                      </a:lnTo>
                      <a:lnTo>
                        <a:pt x="120" y="654"/>
                      </a:lnTo>
                      <a:lnTo>
                        <a:pt x="126" y="660"/>
                      </a:lnTo>
                      <a:lnTo>
                        <a:pt x="138" y="666"/>
                      </a:lnTo>
                      <a:lnTo>
                        <a:pt x="150" y="678"/>
                      </a:lnTo>
                      <a:lnTo>
                        <a:pt x="144" y="684"/>
                      </a:lnTo>
                      <a:lnTo>
                        <a:pt x="120" y="696"/>
                      </a:lnTo>
                      <a:lnTo>
                        <a:pt x="114" y="702"/>
                      </a:lnTo>
                      <a:lnTo>
                        <a:pt x="102" y="708"/>
                      </a:lnTo>
                      <a:lnTo>
                        <a:pt x="96" y="732"/>
                      </a:lnTo>
                      <a:lnTo>
                        <a:pt x="72" y="750"/>
                      </a:lnTo>
                      <a:lnTo>
                        <a:pt x="72" y="762"/>
                      </a:lnTo>
                      <a:lnTo>
                        <a:pt x="60" y="774"/>
                      </a:lnTo>
                      <a:lnTo>
                        <a:pt x="48" y="780"/>
                      </a:lnTo>
                      <a:lnTo>
                        <a:pt x="42" y="786"/>
                      </a:lnTo>
                      <a:lnTo>
                        <a:pt x="30" y="792"/>
                      </a:lnTo>
                      <a:lnTo>
                        <a:pt x="24" y="798"/>
                      </a:lnTo>
                      <a:lnTo>
                        <a:pt x="18" y="798"/>
                      </a:lnTo>
                      <a:lnTo>
                        <a:pt x="18" y="804"/>
                      </a:lnTo>
                      <a:lnTo>
                        <a:pt x="12" y="810"/>
                      </a:lnTo>
                      <a:lnTo>
                        <a:pt x="0" y="834"/>
                      </a:lnTo>
                      <a:lnTo>
                        <a:pt x="0" y="864"/>
                      </a:lnTo>
                      <a:lnTo>
                        <a:pt x="30" y="834"/>
                      </a:lnTo>
                      <a:lnTo>
                        <a:pt x="30" y="816"/>
                      </a:lnTo>
                      <a:lnTo>
                        <a:pt x="36" y="810"/>
                      </a:lnTo>
                      <a:lnTo>
                        <a:pt x="42" y="810"/>
                      </a:lnTo>
                      <a:lnTo>
                        <a:pt x="78" y="798"/>
                      </a:lnTo>
                      <a:lnTo>
                        <a:pt x="84" y="792"/>
                      </a:lnTo>
                      <a:lnTo>
                        <a:pt x="84" y="762"/>
                      </a:lnTo>
                      <a:lnTo>
                        <a:pt x="90" y="750"/>
                      </a:lnTo>
                      <a:lnTo>
                        <a:pt x="96" y="744"/>
                      </a:lnTo>
                      <a:lnTo>
                        <a:pt x="114" y="738"/>
                      </a:lnTo>
                      <a:lnTo>
                        <a:pt x="126" y="732"/>
                      </a:lnTo>
                      <a:lnTo>
                        <a:pt x="144" y="720"/>
                      </a:lnTo>
                      <a:lnTo>
                        <a:pt x="162" y="714"/>
                      </a:lnTo>
                      <a:lnTo>
                        <a:pt x="168" y="702"/>
                      </a:lnTo>
                      <a:lnTo>
                        <a:pt x="174" y="696"/>
                      </a:lnTo>
                      <a:lnTo>
                        <a:pt x="174" y="684"/>
                      </a:lnTo>
                      <a:lnTo>
                        <a:pt x="156" y="648"/>
                      </a:lnTo>
                      <a:lnTo>
                        <a:pt x="156" y="624"/>
                      </a:lnTo>
                      <a:lnTo>
                        <a:pt x="162" y="612"/>
                      </a:lnTo>
                      <a:lnTo>
                        <a:pt x="162" y="600"/>
                      </a:lnTo>
                      <a:close/>
                      <a:moveTo>
                        <a:pt x="330" y="1026"/>
                      </a:moveTo>
                      <a:lnTo>
                        <a:pt x="372" y="1056"/>
                      </a:lnTo>
                      <a:lnTo>
                        <a:pt x="372" y="1020"/>
                      </a:lnTo>
                      <a:lnTo>
                        <a:pt x="348" y="1002"/>
                      </a:lnTo>
                      <a:lnTo>
                        <a:pt x="330" y="1026"/>
                      </a:lnTo>
                      <a:close/>
                      <a:moveTo>
                        <a:pt x="660" y="840"/>
                      </a:moveTo>
                      <a:lnTo>
                        <a:pt x="660" y="816"/>
                      </a:lnTo>
                      <a:lnTo>
                        <a:pt x="654" y="804"/>
                      </a:lnTo>
                      <a:lnTo>
                        <a:pt x="654" y="792"/>
                      </a:lnTo>
                      <a:lnTo>
                        <a:pt x="642" y="780"/>
                      </a:lnTo>
                      <a:lnTo>
                        <a:pt x="630" y="774"/>
                      </a:lnTo>
                      <a:lnTo>
                        <a:pt x="600" y="744"/>
                      </a:lnTo>
                      <a:lnTo>
                        <a:pt x="588" y="738"/>
                      </a:lnTo>
                      <a:lnTo>
                        <a:pt x="582" y="738"/>
                      </a:lnTo>
                      <a:lnTo>
                        <a:pt x="576" y="744"/>
                      </a:lnTo>
                      <a:lnTo>
                        <a:pt x="582" y="750"/>
                      </a:lnTo>
                      <a:lnTo>
                        <a:pt x="588" y="762"/>
                      </a:lnTo>
                      <a:lnTo>
                        <a:pt x="594" y="768"/>
                      </a:lnTo>
                      <a:lnTo>
                        <a:pt x="606" y="774"/>
                      </a:lnTo>
                      <a:lnTo>
                        <a:pt x="606" y="786"/>
                      </a:lnTo>
                      <a:lnTo>
                        <a:pt x="600" y="786"/>
                      </a:lnTo>
                      <a:lnTo>
                        <a:pt x="588" y="792"/>
                      </a:lnTo>
                      <a:lnTo>
                        <a:pt x="570" y="792"/>
                      </a:lnTo>
                      <a:lnTo>
                        <a:pt x="558" y="798"/>
                      </a:lnTo>
                      <a:lnTo>
                        <a:pt x="546" y="798"/>
                      </a:lnTo>
                      <a:lnTo>
                        <a:pt x="546" y="828"/>
                      </a:lnTo>
                      <a:lnTo>
                        <a:pt x="528" y="828"/>
                      </a:lnTo>
                      <a:lnTo>
                        <a:pt x="522" y="846"/>
                      </a:lnTo>
                      <a:lnTo>
                        <a:pt x="498" y="864"/>
                      </a:lnTo>
                      <a:lnTo>
                        <a:pt x="492" y="864"/>
                      </a:lnTo>
                      <a:lnTo>
                        <a:pt x="486" y="858"/>
                      </a:lnTo>
                      <a:lnTo>
                        <a:pt x="474" y="852"/>
                      </a:lnTo>
                      <a:lnTo>
                        <a:pt x="462" y="852"/>
                      </a:lnTo>
                      <a:lnTo>
                        <a:pt x="450" y="846"/>
                      </a:lnTo>
                      <a:lnTo>
                        <a:pt x="438" y="858"/>
                      </a:lnTo>
                      <a:lnTo>
                        <a:pt x="432" y="870"/>
                      </a:lnTo>
                      <a:lnTo>
                        <a:pt x="420" y="882"/>
                      </a:lnTo>
                      <a:lnTo>
                        <a:pt x="414" y="894"/>
                      </a:lnTo>
                      <a:lnTo>
                        <a:pt x="408" y="900"/>
                      </a:lnTo>
                      <a:lnTo>
                        <a:pt x="408" y="906"/>
                      </a:lnTo>
                      <a:lnTo>
                        <a:pt x="408" y="900"/>
                      </a:lnTo>
                      <a:lnTo>
                        <a:pt x="396" y="888"/>
                      </a:lnTo>
                      <a:lnTo>
                        <a:pt x="384" y="888"/>
                      </a:lnTo>
                      <a:lnTo>
                        <a:pt x="378" y="900"/>
                      </a:lnTo>
                      <a:lnTo>
                        <a:pt x="378" y="912"/>
                      </a:lnTo>
                      <a:lnTo>
                        <a:pt x="372" y="924"/>
                      </a:lnTo>
                      <a:lnTo>
                        <a:pt x="366" y="930"/>
                      </a:lnTo>
                      <a:lnTo>
                        <a:pt x="360" y="942"/>
                      </a:lnTo>
                      <a:lnTo>
                        <a:pt x="384" y="960"/>
                      </a:lnTo>
                      <a:lnTo>
                        <a:pt x="402" y="942"/>
                      </a:lnTo>
                      <a:lnTo>
                        <a:pt x="414" y="966"/>
                      </a:lnTo>
                      <a:lnTo>
                        <a:pt x="420" y="960"/>
                      </a:lnTo>
                      <a:lnTo>
                        <a:pt x="432" y="954"/>
                      </a:lnTo>
                      <a:lnTo>
                        <a:pt x="450" y="936"/>
                      </a:lnTo>
                      <a:lnTo>
                        <a:pt x="462" y="930"/>
                      </a:lnTo>
                      <a:lnTo>
                        <a:pt x="474" y="930"/>
                      </a:lnTo>
                      <a:lnTo>
                        <a:pt x="498" y="954"/>
                      </a:lnTo>
                      <a:lnTo>
                        <a:pt x="510" y="960"/>
                      </a:lnTo>
                      <a:lnTo>
                        <a:pt x="492" y="978"/>
                      </a:lnTo>
                      <a:lnTo>
                        <a:pt x="492" y="990"/>
                      </a:lnTo>
                      <a:lnTo>
                        <a:pt x="510" y="1026"/>
                      </a:lnTo>
                      <a:lnTo>
                        <a:pt x="522" y="1044"/>
                      </a:lnTo>
                      <a:lnTo>
                        <a:pt x="534" y="1056"/>
                      </a:lnTo>
                      <a:lnTo>
                        <a:pt x="546" y="1062"/>
                      </a:lnTo>
                      <a:lnTo>
                        <a:pt x="558" y="1062"/>
                      </a:lnTo>
                      <a:lnTo>
                        <a:pt x="570" y="1068"/>
                      </a:lnTo>
                      <a:lnTo>
                        <a:pt x="582" y="1068"/>
                      </a:lnTo>
                      <a:lnTo>
                        <a:pt x="606" y="1050"/>
                      </a:lnTo>
                      <a:lnTo>
                        <a:pt x="606" y="1074"/>
                      </a:lnTo>
                      <a:lnTo>
                        <a:pt x="630" y="1074"/>
                      </a:lnTo>
                      <a:lnTo>
                        <a:pt x="630" y="1038"/>
                      </a:lnTo>
                      <a:lnTo>
                        <a:pt x="624" y="1032"/>
                      </a:lnTo>
                      <a:lnTo>
                        <a:pt x="606" y="996"/>
                      </a:lnTo>
                      <a:lnTo>
                        <a:pt x="606" y="984"/>
                      </a:lnTo>
                      <a:lnTo>
                        <a:pt x="612" y="972"/>
                      </a:lnTo>
                      <a:lnTo>
                        <a:pt x="624" y="960"/>
                      </a:lnTo>
                      <a:lnTo>
                        <a:pt x="654" y="1014"/>
                      </a:lnTo>
                      <a:lnTo>
                        <a:pt x="654" y="1008"/>
                      </a:lnTo>
                      <a:lnTo>
                        <a:pt x="660" y="1002"/>
                      </a:lnTo>
                      <a:lnTo>
                        <a:pt x="672" y="978"/>
                      </a:lnTo>
                      <a:lnTo>
                        <a:pt x="678" y="960"/>
                      </a:lnTo>
                      <a:lnTo>
                        <a:pt x="678" y="936"/>
                      </a:lnTo>
                      <a:lnTo>
                        <a:pt x="672" y="918"/>
                      </a:lnTo>
                      <a:lnTo>
                        <a:pt x="666" y="912"/>
                      </a:lnTo>
                      <a:lnTo>
                        <a:pt x="660" y="900"/>
                      </a:lnTo>
                      <a:lnTo>
                        <a:pt x="660" y="840"/>
                      </a:lnTo>
                      <a:close/>
                      <a:moveTo>
                        <a:pt x="330" y="384"/>
                      </a:moveTo>
                      <a:lnTo>
                        <a:pt x="348" y="384"/>
                      </a:lnTo>
                      <a:lnTo>
                        <a:pt x="354" y="390"/>
                      </a:lnTo>
                      <a:lnTo>
                        <a:pt x="366" y="396"/>
                      </a:lnTo>
                      <a:lnTo>
                        <a:pt x="366" y="408"/>
                      </a:lnTo>
                      <a:lnTo>
                        <a:pt x="372" y="420"/>
                      </a:lnTo>
                      <a:lnTo>
                        <a:pt x="384" y="438"/>
                      </a:lnTo>
                      <a:lnTo>
                        <a:pt x="396" y="450"/>
                      </a:lnTo>
                      <a:lnTo>
                        <a:pt x="414" y="462"/>
                      </a:lnTo>
                      <a:lnTo>
                        <a:pt x="432" y="462"/>
                      </a:lnTo>
                      <a:lnTo>
                        <a:pt x="444" y="438"/>
                      </a:lnTo>
                      <a:lnTo>
                        <a:pt x="444" y="426"/>
                      </a:lnTo>
                      <a:lnTo>
                        <a:pt x="432" y="402"/>
                      </a:lnTo>
                      <a:lnTo>
                        <a:pt x="420" y="396"/>
                      </a:lnTo>
                      <a:lnTo>
                        <a:pt x="408" y="396"/>
                      </a:lnTo>
                      <a:lnTo>
                        <a:pt x="408" y="390"/>
                      </a:lnTo>
                      <a:lnTo>
                        <a:pt x="414" y="384"/>
                      </a:lnTo>
                      <a:lnTo>
                        <a:pt x="414" y="378"/>
                      </a:lnTo>
                      <a:lnTo>
                        <a:pt x="420" y="372"/>
                      </a:lnTo>
                      <a:lnTo>
                        <a:pt x="408" y="372"/>
                      </a:lnTo>
                      <a:lnTo>
                        <a:pt x="396" y="366"/>
                      </a:lnTo>
                      <a:lnTo>
                        <a:pt x="390" y="360"/>
                      </a:lnTo>
                      <a:lnTo>
                        <a:pt x="372" y="360"/>
                      </a:lnTo>
                      <a:lnTo>
                        <a:pt x="366" y="366"/>
                      </a:lnTo>
                      <a:lnTo>
                        <a:pt x="354" y="372"/>
                      </a:lnTo>
                      <a:lnTo>
                        <a:pt x="342" y="360"/>
                      </a:lnTo>
                      <a:lnTo>
                        <a:pt x="330" y="354"/>
                      </a:lnTo>
                      <a:lnTo>
                        <a:pt x="312" y="354"/>
                      </a:lnTo>
                      <a:lnTo>
                        <a:pt x="300" y="366"/>
                      </a:lnTo>
                      <a:lnTo>
                        <a:pt x="288" y="372"/>
                      </a:lnTo>
                      <a:lnTo>
                        <a:pt x="282" y="372"/>
                      </a:lnTo>
                      <a:lnTo>
                        <a:pt x="264" y="354"/>
                      </a:lnTo>
                      <a:lnTo>
                        <a:pt x="258" y="342"/>
                      </a:lnTo>
                      <a:lnTo>
                        <a:pt x="258" y="252"/>
                      </a:lnTo>
                      <a:lnTo>
                        <a:pt x="270" y="228"/>
                      </a:lnTo>
                      <a:lnTo>
                        <a:pt x="270" y="222"/>
                      </a:lnTo>
                      <a:lnTo>
                        <a:pt x="288" y="204"/>
                      </a:lnTo>
                      <a:lnTo>
                        <a:pt x="288" y="174"/>
                      </a:lnTo>
                      <a:lnTo>
                        <a:pt x="276" y="150"/>
                      </a:lnTo>
                      <a:lnTo>
                        <a:pt x="276" y="126"/>
                      </a:lnTo>
                      <a:lnTo>
                        <a:pt x="282" y="108"/>
                      </a:lnTo>
                      <a:lnTo>
                        <a:pt x="282" y="72"/>
                      </a:lnTo>
                      <a:lnTo>
                        <a:pt x="264" y="54"/>
                      </a:lnTo>
                      <a:lnTo>
                        <a:pt x="264" y="36"/>
                      </a:lnTo>
                      <a:lnTo>
                        <a:pt x="258" y="30"/>
                      </a:lnTo>
                      <a:lnTo>
                        <a:pt x="258" y="6"/>
                      </a:lnTo>
                      <a:lnTo>
                        <a:pt x="252" y="0"/>
                      </a:lnTo>
                      <a:lnTo>
                        <a:pt x="240" y="0"/>
                      </a:lnTo>
                      <a:lnTo>
                        <a:pt x="234" y="6"/>
                      </a:lnTo>
                      <a:lnTo>
                        <a:pt x="234" y="12"/>
                      </a:lnTo>
                      <a:lnTo>
                        <a:pt x="228" y="18"/>
                      </a:lnTo>
                      <a:lnTo>
                        <a:pt x="216" y="24"/>
                      </a:lnTo>
                      <a:lnTo>
                        <a:pt x="204" y="24"/>
                      </a:lnTo>
                      <a:lnTo>
                        <a:pt x="192" y="18"/>
                      </a:lnTo>
                      <a:lnTo>
                        <a:pt x="186" y="12"/>
                      </a:lnTo>
                      <a:lnTo>
                        <a:pt x="174" y="12"/>
                      </a:lnTo>
                      <a:lnTo>
                        <a:pt x="162" y="18"/>
                      </a:lnTo>
                      <a:lnTo>
                        <a:pt x="162" y="36"/>
                      </a:lnTo>
                      <a:lnTo>
                        <a:pt x="156" y="42"/>
                      </a:lnTo>
                      <a:lnTo>
                        <a:pt x="156" y="48"/>
                      </a:lnTo>
                      <a:lnTo>
                        <a:pt x="144" y="72"/>
                      </a:lnTo>
                      <a:lnTo>
                        <a:pt x="132" y="84"/>
                      </a:lnTo>
                      <a:lnTo>
                        <a:pt x="132" y="96"/>
                      </a:lnTo>
                      <a:lnTo>
                        <a:pt x="138" y="102"/>
                      </a:lnTo>
                      <a:lnTo>
                        <a:pt x="144" y="114"/>
                      </a:lnTo>
                      <a:lnTo>
                        <a:pt x="150" y="132"/>
                      </a:lnTo>
                      <a:lnTo>
                        <a:pt x="156" y="138"/>
                      </a:lnTo>
                      <a:lnTo>
                        <a:pt x="156" y="150"/>
                      </a:lnTo>
                      <a:lnTo>
                        <a:pt x="150" y="162"/>
                      </a:lnTo>
                      <a:lnTo>
                        <a:pt x="150" y="168"/>
                      </a:lnTo>
                      <a:lnTo>
                        <a:pt x="144" y="174"/>
                      </a:lnTo>
                      <a:lnTo>
                        <a:pt x="138" y="186"/>
                      </a:lnTo>
                      <a:lnTo>
                        <a:pt x="138" y="198"/>
                      </a:lnTo>
                      <a:lnTo>
                        <a:pt x="150" y="210"/>
                      </a:lnTo>
                      <a:lnTo>
                        <a:pt x="150" y="216"/>
                      </a:lnTo>
                      <a:lnTo>
                        <a:pt x="144" y="222"/>
                      </a:lnTo>
                      <a:lnTo>
                        <a:pt x="138" y="222"/>
                      </a:lnTo>
                      <a:lnTo>
                        <a:pt x="126" y="228"/>
                      </a:lnTo>
                      <a:lnTo>
                        <a:pt x="120" y="228"/>
                      </a:lnTo>
                      <a:lnTo>
                        <a:pt x="120" y="210"/>
                      </a:lnTo>
                      <a:lnTo>
                        <a:pt x="114" y="204"/>
                      </a:lnTo>
                      <a:lnTo>
                        <a:pt x="114" y="252"/>
                      </a:lnTo>
                      <a:lnTo>
                        <a:pt x="150" y="306"/>
                      </a:lnTo>
                      <a:lnTo>
                        <a:pt x="174" y="330"/>
                      </a:lnTo>
                      <a:lnTo>
                        <a:pt x="186" y="348"/>
                      </a:lnTo>
                      <a:lnTo>
                        <a:pt x="204" y="384"/>
                      </a:lnTo>
                      <a:lnTo>
                        <a:pt x="216" y="402"/>
                      </a:lnTo>
                      <a:lnTo>
                        <a:pt x="228" y="408"/>
                      </a:lnTo>
                      <a:lnTo>
                        <a:pt x="252" y="408"/>
                      </a:lnTo>
                      <a:lnTo>
                        <a:pt x="258" y="396"/>
                      </a:lnTo>
                      <a:lnTo>
                        <a:pt x="270" y="390"/>
                      </a:lnTo>
                      <a:lnTo>
                        <a:pt x="276" y="384"/>
                      </a:lnTo>
                      <a:lnTo>
                        <a:pt x="288" y="384"/>
                      </a:lnTo>
                      <a:lnTo>
                        <a:pt x="294" y="396"/>
                      </a:lnTo>
                      <a:lnTo>
                        <a:pt x="306" y="402"/>
                      </a:lnTo>
                      <a:lnTo>
                        <a:pt x="324" y="420"/>
                      </a:lnTo>
                      <a:lnTo>
                        <a:pt x="342" y="420"/>
                      </a:lnTo>
                      <a:lnTo>
                        <a:pt x="342" y="402"/>
                      </a:lnTo>
                      <a:lnTo>
                        <a:pt x="336" y="396"/>
                      </a:lnTo>
                      <a:lnTo>
                        <a:pt x="330" y="384"/>
                      </a:lnTo>
                      <a:close/>
                      <a:moveTo>
                        <a:pt x="258" y="432"/>
                      </a:moveTo>
                      <a:lnTo>
                        <a:pt x="246" y="426"/>
                      </a:lnTo>
                      <a:lnTo>
                        <a:pt x="204" y="426"/>
                      </a:lnTo>
                      <a:lnTo>
                        <a:pt x="234" y="468"/>
                      </a:lnTo>
                      <a:lnTo>
                        <a:pt x="258" y="534"/>
                      </a:lnTo>
                      <a:lnTo>
                        <a:pt x="270" y="528"/>
                      </a:lnTo>
                      <a:lnTo>
                        <a:pt x="276" y="516"/>
                      </a:lnTo>
                      <a:lnTo>
                        <a:pt x="282" y="510"/>
                      </a:lnTo>
                      <a:lnTo>
                        <a:pt x="282" y="486"/>
                      </a:lnTo>
                      <a:lnTo>
                        <a:pt x="276" y="480"/>
                      </a:lnTo>
                      <a:lnTo>
                        <a:pt x="270" y="468"/>
                      </a:lnTo>
                      <a:lnTo>
                        <a:pt x="270" y="450"/>
                      </a:lnTo>
                      <a:lnTo>
                        <a:pt x="264" y="438"/>
                      </a:lnTo>
                      <a:lnTo>
                        <a:pt x="258" y="432"/>
                      </a:lnTo>
                      <a:close/>
                      <a:moveTo>
                        <a:pt x="330" y="648"/>
                      </a:moveTo>
                      <a:lnTo>
                        <a:pt x="336" y="660"/>
                      </a:lnTo>
                      <a:lnTo>
                        <a:pt x="354" y="678"/>
                      </a:lnTo>
                      <a:lnTo>
                        <a:pt x="360" y="672"/>
                      </a:lnTo>
                      <a:lnTo>
                        <a:pt x="372" y="666"/>
                      </a:lnTo>
                      <a:lnTo>
                        <a:pt x="378" y="660"/>
                      </a:lnTo>
                      <a:lnTo>
                        <a:pt x="384" y="660"/>
                      </a:lnTo>
                      <a:lnTo>
                        <a:pt x="390" y="666"/>
                      </a:lnTo>
                      <a:lnTo>
                        <a:pt x="390" y="696"/>
                      </a:lnTo>
                      <a:lnTo>
                        <a:pt x="402" y="708"/>
                      </a:lnTo>
                      <a:lnTo>
                        <a:pt x="396" y="720"/>
                      </a:lnTo>
                      <a:lnTo>
                        <a:pt x="390" y="726"/>
                      </a:lnTo>
                      <a:lnTo>
                        <a:pt x="372" y="762"/>
                      </a:lnTo>
                      <a:lnTo>
                        <a:pt x="372" y="786"/>
                      </a:lnTo>
                      <a:lnTo>
                        <a:pt x="378" y="792"/>
                      </a:lnTo>
                      <a:lnTo>
                        <a:pt x="384" y="804"/>
                      </a:lnTo>
                      <a:lnTo>
                        <a:pt x="396" y="804"/>
                      </a:lnTo>
                      <a:lnTo>
                        <a:pt x="408" y="798"/>
                      </a:lnTo>
                      <a:lnTo>
                        <a:pt x="420" y="798"/>
                      </a:lnTo>
                      <a:lnTo>
                        <a:pt x="432" y="792"/>
                      </a:lnTo>
                      <a:lnTo>
                        <a:pt x="438" y="786"/>
                      </a:lnTo>
                      <a:lnTo>
                        <a:pt x="438" y="768"/>
                      </a:lnTo>
                      <a:lnTo>
                        <a:pt x="432" y="756"/>
                      </a:lnTo>
                      <a:lnTo>
                        <a:pt x="426" y="738"/>
                      </a:lnTo>
                      <a:lnTo>
                        <a:pt x="426" y="726"/>
                      </a:lnTo>
                      <a:lnTo>
                        <a:pt x="432" y="714"/>
                      </a:lnTo>
                      <a:lnTo>
                        <a:pt x="444" y="678"/>
                      </a:lnTo>
                      <a:lnTo>
                        <a:pt x="444" y="660"/>
                      </a:lnTo>
                      <a:lnTo>
                        <a:pt x="438" y="648"/>
                      </a:lnTo>
                      <a:lnTo>
                        <a:pt x="432" y="642"/>
                      </a:lnTo>
                      <a:lnTo>
                        <a:pt x="426" y="642"/>
                      </a:lnTo>
                      <a:lnTo>
                        <a:pt x="414" y="654"/>
                      </a:lnTo>
                      <a:lnTo>
                        <a:pt x="402" y="660"/>
                      </a:lnTo>
                      <a:lnTo>
                        <a:pt x="396" y="660"/>
                      </a:lnTo>
                      <a:lnTo>
                        <a:pt x="396" y="648"/>
                      </a:lnTo>
                      <a:lnTo>
                        <a:pt x="408" y="624"/>
                      </a:lnTo>
                      <a:lnTo>
                        <a:pt x="408" y="612"/>
                      </a:lnTo>
                      <a:lnTo>
                        <a:pt x="414" y="600"/>
                      </a:lnTo>
                      <a:lnTo>
                        <a:pt x="414" y="594"/>
                      </a:lnTo>
                      <a:lnTo>
                        <a:pt x="408" y="588"/>
                      </a:lnTo>
                      <a:lnTo>
                        <a:pt x="372" y="570"/>
                      </a:lnTo>
                      <a:lnTo>
                        <a:pt x="366" y="564"/>
                      </a:lnTo>
                      <a:lnTo>
                        <a:pt x="330" y="564"/>
                      </a:lnTo>
                      <a:lnTo>
                        <a:pt x="324" y="570"/>
                      </a:lnTo>
                      <a:lnTo>
                        <a:pt x="324" y="576"/>
                      </a:lnTo>
                      <a:lnTo>
                        <a:pt x="330" y="582"/>
                      </a:lnTo>
                      <a:lnTo>
                        <a:pt x="336" y="582"/>
                      </a:lnTo>
                      <a:lnTo>
                        <a:pt x="342" y="594"/>
                      </a:lnTo>
                      <a:lnTo>
                        <a:pt x="342" y="600"/>
                      </a:lnTo>
                      <a:lnTo>
                        <a:pt x="336" y="606"/>
                      </a:lnTo>
                      <a:lnTo>
                        <a:pt x="336" y="618"/>
                      </a:lnTo>
                      <a:lnTo>
                        <a:pt x="330" y="630"/>
                      </a:lnTo>
                      <a:lnTo>
                        <a:pt x="330" y="648"/>
                      </a:lnTo>
                      <a:close/>
                    </a:path>
                  </a:pathLst>
                </a:custGeom>
                <a:solidFill>
                  <a:schemeClr val="accent1"/>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568" name="Peru"/>
                <p:cNvSpPr>
                  <a:spLocks/>
                </p:cNvSpPr>
                <p:nvPr/>
              </p:nvSpPr>
              <p:spPr bwMode="gray">
                <a:xfrm>
                  <a:off x="1173" y="2309"/>
                  <a:ext cx="241" cy="381"/>
                </a:xfrm>
                <a:custGeom>
                  <a:avLst/>
                  <a:gdLst>
                    <a:gd name="T0" fmla="*/ 2147483647 w 942"/>
                    <a:gd name="T1" fmla="*/ 2147483647 h 1488"/>
                    <a:gd name="T2" fmla="*/ 2147483647 w 942"/>
                    <a:gd name="T3" fmla="*/ 2147483647 h 1488"/>
                    <a:gd name="T4" fmla="*/ 2147483647 w 942"/>
                    <a:gd name="T5" fmla="*/ 2147483647 h 1488"/>
                    <a:gd name="T6" fmla="*/ 2147483647 w 942"/>
                    <a:gd name="T7" fmla="*/ 2147483647 h 1488"/>
                    <a:gd name="T8" fmla="*/ 2147483647 w 942"/>
                    <a:gd name="T9" fmla="*/ 2147483647 h 1488"/>
                    <a:gd name="T10" fmla="*/ 2147483647 w 942"/>
                    <a:gd name="T11" fmla="*/ 2147483647 h 1488"/>
                    <a:gd name="T12" fmla="*/ 2147483647 w 942"/>
                    <a:gd name="T13" fmla="*/ 2147483647 h 1488"/>
                    <a:gd name="T14" fmla="*/ 2147483647 w 942"/>
                    <a:gd name="T15" fmla="*/ 2147483647 h 1488"/>
                    <a:gd name="T16" fmla="*/ 2147483647 w 942"/>
                    <a:gd name="T17" fmla="*/ 2147483647 h 1488"/>
                    <a:gd name="T18" fmla="*/ 2147483647 w 942"/>
                    <a:gd name="T19" fmla="*/ 2147483647 h 1488"/>
                    <a:gd name="T20" fmla="*/ 2147483647 w 942"/>
                    <a:gd name="T21" fmla="*/ 2147483647 h 1488"/>
                    <a:gd name="T22" fmla="*/ 2147483647 w 942"/>
                    <a:gd name="T23" fmla="*/ 2147483647 h 1488"/>
                    <a:gd name="T24" fmla="*/ 2147483647 w 942"/>
                    <a:gd name="T25" fmla="*/ 2147483647 h 1488"/>
                    <a:gd name="T26" fmla="*/ 2147483647 w 942"/>
                    <a:gd name="T27" fmla="*/ 2147483647 h 1488"/>
                    <a:gd name="T28" fmla="*/ 2147483647 w 942"/>
                    <a:gd name="T29" fmla="*/ 2147483647 h 1488"/>
                    <a:gd name="T30" fmla="*/ 2147483647 w 942"/>
                    <a:gd name="T31" fmla="*/ 2147483647 h 1488"/>
                    <a:gd name="T32" fmla="*/ 2147483647 w 942"/>
                    <a:gd name="T33" fmla="*/ 2147483647 h 1488"/>
                    <a:gd name="T34" fmla="*/ 2147483647 w 942"/>
                    <a:gd name="T35" fmla="*/ 2147483647 h 1488"/>
                    <a:gd name="T36" fmla="*/ 2147483647 w 942"/>
                    <a:gd name="T37" fmla="*/ 2147483647 h 1488"/>
                    <a:gd name="T38" fmla="*/ 2147483647 w 942"/>
                    <a:gd name="T39" fmla="*/ 2147483647 h 1488"/>
                    <a:gd name="T40" fmla="*/ 2147483647 w 942"/>
                    <a:gd name="T41" fmla="*/ 2147483647 h 1488"/>
                    <a:gd name="T42" fmla="*/ 2147483647 w 942"/>
                    <a:gd name="T43" fmla="*/ 2147483647 h 1488"/>
                    <a:gd name="T44" fmla="*/ 2147483647 w 942"/>
                    <a:gd name="T45" fmla="*/ 2147483647 h 1488"/>
                    <a:gd name="T46" fmla="*/ 2147483647 w 942"/>
                    <a:gd name="T47" fmla="*/ 2147483647 h 1488"/>
                    <a:gd name="T48" fmla="*/ 2147483647 w 942"/>
                    <a:gd name="T49" fmla="*/ 2147483647 h 1488"/>
                    <a:gd name="T50" fmla="*/ 2147483647 w 942"/>
                    <a:gd name="T51" fmla="*/ 2147483647 h 1488"/>
                    <a:gd name="T52" fmla="*/ 2147483647 w 942"/>
                    <a:gd name="T53" fmla="*/ 2147483647 h 1488"/>
                    <a:gd name="T54" fmla="*/ 2147483647 w 942"/>
                    <a:gd name="T55" fmla="*/ 2147483647 h 1488"/>
                    <a:gd name="T56" fmla="*/ 2147483647 w 942"/>
                    <a:gd name="T57" fmla="*/ 2147483647 h 1488"/>
                    <a:gd name="T58" fmla="*/ 2147483647 w 942"/>
                    <a:gd name="T59" fmla="*/ 2147483647 h 1488"/>
                    <a:gd name="T60" fmla="*/ 2147483647 w 942"/>
                    <a:gd name="T61" fmla="*/ 2147483647 h 1488"/>
                    <a:gd name="T62" fmla="*/ 2147483647 w 942"/>
                    <a:gd name="T63" fmla="*/ 0 h 1488"/>
                    <a:gd name="T64" fmla="*/ 2147483647 w 942"/>
                    <a:gd name="T65" fmla="*/ 2147483647 h 1488"/>
                    <a:gd name="T66" fmla="*/ 2147483647 w 942"/>
                    <a:gd name="T67" fmla="*/ 2147483647 h 1488"/>
                    <a:gd name="T68" fmla="*/ 2147483647 w 942"/>
                    <a:gd name="T69" fmla="*/ 2147483647 h 1488"/>
                    <a:gd name="T70" fmla="*/ 2147483647 w 942"/>
                    <a:gd name="T71" fmla="*/ 2147483647 h 1488"/>
                    <a:gd name="T72" fmla="*/ 2147483647 w 942"/>
                    <a:gd name="T73" fmla="*/ 2147483647 h 1488"/>
                    <a:gd name="T74" fmla="*/ 2147483647 w 942"/>
                    <a:gd name="T75" fmla="*/ 2147483647 h 1488"/>
                    <a:gd name="T76" fmla="*/ 2147483647 w 942"/>
                    <a:gd name="T77" fmla="*/ 2147483647 h 1488"/>
                    <a:gd name="T78" fmla="*/ 2147483647 w 942"/>
                    <a:gd name="T79" fmla="*/ 2147483647 h 1488"/>
                    <a:gd name="T80" fmla="*/ 2147483647 w 942"/>
                    <a:gd name="T81" fmla="*/ 2147483647 h 1488"/>
                    <a:gd name="T82" fmla="*/ 2147483647 w 942"/>
                    <a:gd name="T83" fmla="*/ 2147483647 h 1488"/>
                    <a:gd name="T84" fmla="*/ 0 w 942"/>
                    <a:gd name="T85" fmla="*/ 2147483647 h 1488"/>
                    <a:gd name="T86" fmla="*/ 2147483647 w 942"/>
                    <a:gd name="T87" fmla="*/ 2147483647 h 1488"/>
                    <a:gd name="T88" fmla="*/ 2147483647 w 942"/>
                    <a:gd name="T89" fmla="*/ 2147483647 h 1488"/>
                    <a:gd name="T90" fmla="*/ 2147483647 w 942"/>
                    <a:gd name="T91" fmla="*/ 2147483647 h 1488"/>
                    <a:gd name="T92" fmla="*/ 2147483647 w 942"/>
                    <a:gd name="T93" fmla="*/ 2147483647 h 1488"/>
                    <a:gd name="T94" fmla="*/ 2147483647 w 942"/>
                    <a:gd name="T95" fmla="*/ 2147483647 h 1488"/>
                    <a:gd name="T96" fmla="*/ 2147483647 w 942"/>
                    <a:gd name="T97" fmla="*/ 2147483647 h 1488"/>
                    <a:gd name="T98" fmla="*/ 2147483647 w 942"/>
                    <a:gd name="T99" fmla="*/ 2147483647 h 1488"/>
                    <a:gd name="T100" fmla="*/ 2147483647 w 942"/>
                    <a:gd name="T101" fmla="*/ 2147483647 h 1488"/>
                    <a:gd name="T102" fmla="*/ 2147483647 w 942"/>
                    <a:gd name="T103" fmla="*/ 2147483647 h 1488"/>
                    <a:gd name="T104" fmla="*/ 2147483647 w 942"/>
                    <a:gd name="T105" fmla="*/ 2147483647 h 1488"/>
                    <a:gd name="T106" fmla="*/ 2147483647 w 942"/>
                    <a:gd name="T107" fmla="*/ 2147483647 h 1488"/>
                    <a:gd name="T108" fmla="*/ 2147483647 w 942"/>
                    <a:gd name="T109" fmla="*/ 2147483647 h 1488"/>
                    <a:gd name="T110" fmla="*/ 2147483647 w 942"/>
                    <a:gd name="T111" fmla="*/ 2147483647 h 1488"/>
                    <a:gd name="T112" fmla="*/ 2147483647 w 942"/>
                    <a:gd name="T113" fmla="*/ 2147483647 h 1488"/>
                    <a:gd name="T114" fmla="*/ 2147483647 w 942"/>
                    <a:gd name="T115" fmla="*/ 2147483647 h 1488"/>
                    <a:gd name="T116" fmla="*/ 2147483647 w 942"/>
                    <a:gd name="T117" fmla="*/ 2147483647 h 1488"/>
                    <a:gd name="T118" fmla="*/ 2147483647 w 942"/>
                    <a:gd name="T119" fmla="*/ 2147483647 h 1488"/>
                    <a:gd name="T120" fmla="*/ 2147483647 w 942"/>
                    <a:gd name="T121" fmla="*/ 2147483647 h 148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942"/>
                    <a:gd name="T184" fmla="*/ 0 h 1488"/>
                    <a:gd name="T185" fmla="*/ 942 w 942"/>
                    <a:gd name="T186" fmla="*/ 1488 h 148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942" h="1488">
                      <a:moveTo>
                        <a:pt x="930" y="1320"/>
                      </a:moveTo>
                      <a:lnTo>
                        <a:pt x="924" y="1314"/>
                      </a:lnTo>
                      <a:lnTo>
                        <a:pt x="912" y="1308"/>
                      </a:lnTo>
                      <a:lnTo>
                        <a:pt x="888" y="1284"/>
                      </a:lnTo>
                      <a:lnTo>
                        <a:pt x="864" y="1284"/>
                      </a:lnTo>
                      <a:lnTo>
                        <a:pt x="858" y="1278"/>
                      </a:lnTo>
                      <a:lnTo>
                        <a:pt x="870" y="1260"/>
                      </a:lnTo>
                      <a:lnTo>
                        <a:pt x="870" y="1230"/>
                      </a:lnTo>
                      <a:lnTo>
                        <a:pt x="882" y="1230"/>
                      </a:lnTo>
                      <a:lnTo>
                        <a:pt x="906" y="1254"/>
                      </a:lnTo>
                      <a:lnTo>
                        <a:pt x="918" y="1236"/>
                      </a:lnTo>
                      <a:lnTo>
                        <a:pt x="918" y="1230"/>
                      </a:lnTo>
                      <a:lnTo>
                        <a:pt x="912" y="1224"/>
                      </a:lnTo>
                      <a:lnTo>
                        <a:pt x="906" y="1212"/>
                      </a:lnTo>
                      <a:lnTo>
                        <a:pt x="900" y="1194"/>
                      </a:lnTo>
                      <a:lnTo>
                        <a:pt x="912" y="1170"/>
                      </a:lnTo>
                      <a:lnTo>
                        <a:pt x="924" y="1158"/>
                      </a:lnTo>
                      <a:lnTo>
                        <a:pt x="930" y="1146"/>
                      </a:lnTo>
                      <a:lnTo>
                        <a:pt x="930" y="1140"/>
                      </a:lnTo>
                      <a:lnTo>
                        <a:pt x="924" y="1128"/>
                      </a:lnTo>
                      <a:lnTo>
                        <a:pt x="912" y="1116"/>
                      </a:lnTo>
                      <a:lnTo>
                        <a:pt x="906" y="1116"/>
                      </a:lnTo>
                      <a:lnTo>
                        <a:pt x="924" y="1086"/>
                      </a:lnTo>
                      <a:lnTo>
                        <a:pt x="912" y="1038"/>
                      </a:lnTo>
                      <a:lnTo>
                        <a:pt x="918" y="1032"/>
                      </a:lnTo>
                      <a:lnTo>
                        <a:pt x="924" y="1020"/>
                      </a:lnTo>
                      <a:lnTo>
                        <a:pt x="930" y="1014"/>
                      </a:lnTo>
                      <a:lnTo>
                        <a:pt x="930" y="1002"/>
                      </a:lnTo>
                      <a:lnTo>
                        <a:pt x="918" y="978"/>
                      </a:lnTo>
                      <a:lnTo>
                        <a:pt x="906" y="960"/>
                      </a:lnTo>
                      <a:lnTo>
                        <a:pt x="894" y="948"/>
                      </a:lnTo>
                      <a:lnTo>
                        <a:pt x="882" y="930"/>
                      </a:lnTo>
                      <a:lnTo>
                        <a:pt x="870" y="918"/>
                      </a:lnTo>
                      <a:lnTo>
                        <a:pt x="864" y="900"/>
                      </a:lnTo>
                      <a:lnTo>
                        <a:pt x="864" y="882"/>
                      </a:lnTo>
                      <a:lnTo>
                        <a:pt x="828" y="882"/>
                      </a:lnTo>
                      <a:lnTo>
                        <a:pt x="822" y="888"/>
                      </a:lnTo>
                      <a:lnTo>
                        <a:pt x="816" y="888"/>
                      </a:lnTo>
                      <a:lnTo>
                        <a:pt x="816" y="894"/>
                      </a:lnTo>
                      <a:lnTo>
                        <a:pt x="804" y="894"/>
                      </a:lnTo>
                      <a:lnTo>
                        <a:pt x="798" y="888"/>
                      </a:lnTo>
                      <a:lnTo>
                        <a:pt x="798" y="882"/>
                      </a:lnTo>
                      <a:lnTo>
                        <a:pt x="786" y="888"/>
                      </a:lnTo>
                      <a:lnTo>
                        <a:pt x="786" y="858"/>
                      </a:lnTo>
                      <a:lnTo>
                        <a:pt x="780" y="840"/>
                      </a:lnTo>
                      <a:lnTo>
                        <a:pt x="780" y="828"/>
                      </a:lnTo>
                      <a:lnTo>
                        <a:pt x="786" y="816"/>
                      </a:lnTo>
                      <a:lnTo>
                        <a:pt x="786" y="804"/>
                      </a:lnTo>
                      <a:lnTo>
                        <a:pt x="792" y="798"/>
                      </a:lnTo>
                      <a:lnTo>
                        <a:pt x="792" y="780"/>
                      </a:lnTo>
                      <a:lnTo>
                        <a:pt x="786" y="768"/>
                      </a:lnTo>
                      <a:lnTo>
                        <a:pt x="786" y="756"/>
                      </a:lnTo>
                      <a:lnTo>
                        <a:pt x="732" y="804"/>
                      </a:lnTo>
                      <a:lnTo>
                        <a:pt x="672" y="810"/>
                      </a:lnTo>
                      <a:lnTo>
                        <a:pt x="672" y="804"/>
                      </a:lnTo>
                      <a:lnTo>
                        <a:pt x="666" y="798"/>
                      </a:lnTo>
                      <a:lnTo>
                        <a:pt x="660" y="786"/>
                      </a:lnTo>
                      <a:lnTo>
                        <a:pt x="660" y="774"/>
                      </a:lnTo>
                      <a:lnTo>
                        <a:pt x="654" y="768"/>
                      </a:lnTo>
                      <a:lnTo>
                        <a:pt x="648" y="768"/>
                      </a:lnTo>
                      <a:lnTo>
                        <a:pt x="636" y="762"/>
                      </a:lnTo>
                      <a:lnTo>
                        <a:pt x="594" y="762"/>
                      </a:lnTo>
                      <a:lnTo>
                        <a:pt x="600" y="756"/>
                      </a:lnTo>
                      <a:lnTo>
                        <a:pt x="612" y="750"/>
                      </a:lnTo>
                      <a:lnTo>
                        <a:pt x="618" y="738"/>
                      </a:lnTo>
                      <a:lnTo>
                        <a:pt x="624" y="732"/>
                      </a:lnTo>
                      <a:lnTo>
                        <a:pt x="600" y="708"/>
                      </a:lnTo>
                      <a:lnTo>
                        <a:pt x="588" y="702"/>
                      </a:lnTo>
                      <a:lnTo>
                        <a:pt x="576" y="690"/>
                      </a:lnTo>
                      <a:lnTo>
                        <a:pt x="564" y="666"/>
                      </a:lnTo>
                      <a:lnTo>
                        <a:pt x="558" y="660"/>
                      </a:lnTo>
                      <a:lnTo>
                        <a:pt x="558" y="654"/>
                      </a:lnTo>
                      <a:lnTo>
                        <a:pt x="552" y="630"/>
                      </a:lnTo>
                      <a:lnTo>
                        <a:pt x="540" y="624"/>
                      </a:lnTo>
                      <a:lnTo>
                        <a:pt x="534" y="618"/>
                      </a:lnTo>
                      <a:lnTo>
                        <a:pt x="534" y="606"/>
                      </a:lnTo>
                      <a:lnTo>
                        <a:pt x="540" y="600"/>
                      </a:lnTo>
                      <a:lnTo>
                        <a:pt x="552" y="594"/>
                      </a:lnTo>
                      <a:lnTo>
                        <a:pt x="546" y="588"/>
                      </a:lnTo>
                      <a:lnTo>
                        <a:pt x="546" y="564"/>
                      </a:lnTo>
                      <a:lnTo>
                        <a:pt x="552" y="552"/>
                      </a:lnTo>
                      <a:lnTo>
                        <a:pt x="582" y="522"/>
                      </a:lnTo>
                      <a:lnTo>
                        <a:pt x="588" y="528"/>
                      </a:lnTo>
                      <a:lnTo>
                        <a:pt x="594" y="528"/>
                      </a:lnTo>
                      <a:lnTo>
                        <a:pt x="588" y="522"/>
                      </a:lnTo>
                      <a:lnTo>
                        <a:pt x="588" y="504"/>
                      </a:lnTo>
                      <a:lnTo>
                        <a:pt x="582" y="498"/>
                      </a:lnTo>
                      <a:lnTo>
                        <a:pt x="582" y="486"/>
                      </a:lnTo>
                      <a:lnTo>
                        <a:pt x="600" y="468"/>
                      </a:lnTo>
                      <a:lnTo>
                        <a:pt x="600" y="414"/>
                      </a:lnTo>
                      <a:lnTo>
                        <a:pt x="624" y="414"/>
                      </a:lnTo>
                      <a:lnTo>
                        <a:pt x="624" y="408"/>
                      </a:lnTo>
                      <a:lnTo>
                        <a:pt x="630" y="402"/>
                      </a:lnTo>
                      <a:lnTo>
                        <a:pt x="630" y="396"/>
                      </a:lnTo>
                      <a:lnTo>
                        <a:pt x="642" y="384"/>
                      </a:lnTo>
                      <a:lnTo>
                        <a:pt x="654" y="378"/>
                      </a:lnTo>
                      <a:lnTo>
                        <a:pt x="660" y="372"/>
                      </a:lnTo>
                      <a:lnTo>
                        <a:pt x="672" y="366"/>
                      </a:lnTo>
                      <a:lnTo>
                        <a:pt x="702" y="366"/>
                      </a:lnTo>
                      <a:lnTo>
                        <a:pt x="708" y="354"/>
                      </a:lnTo>
                      <a:lnTo>
                        <a:pt x="738" y="360"/>
                      </a:lnTo>
                      <a:lnTo>
                        <a:pt x="744" y="354"/>
                      </a:lnTo>
                      <a:lnTo>
                        <a:pt x="750" y="342"/>
                      </a:lnTo>
                      <a:lnTo>
                        <a:pt x="756" y="336"/>
                      </a:lnTo>
                      <a:lnTo>
                        <a:pt x="774" y="336"/>
                      </a:lnTo>
                      <a:lnTo>
                        <a:pt x="786" y="348"/>
                      </a:lnTo>
                      <a:lnTo>
                        <a:pt x="786" y="354"/>
                      </a:lnTo>
                      <a:lnTo>
                        <a:pt x="804" y="354"/>
                      </a:lnTo>
                      <a:lnTo>
                        <a:pt x="816" y="342"/>
                      </a:lnTo>
                      <a:lnTo>
                        <a:pt x="798" y="330"/>
                      </a:lnTo>
                      <a:lnTo>
                        <a:pt x="786" y="312"/>
                      </a:lnTo>
                      <a:lnTo>
                        <a:pt x="768" y="312"/>
                      </a:lnTo>
                      <a:lnTo>
                        <a:pt x="762" y="306"/>
                      </a:lnTo>
                      <a:lnTo>
                        <a:pt x="762" y="288"/>
                      </a:lnTo>
                      <a:lnTo>
                        <a:pt x="774" y="264"/>
                      </a:lnTo>
                      <a:lnTo>
                        <a:pt x="774" y="258"/>
                      </a:lnTo>
                      <a:lnTo>
                        <a:pt x="780" y="252"/>
                      </a:lnTo>
                      <a:lnTo>
                        <a:pt x="786" y="252"/>
                      </a:lnTo>
                      <a:lnTo>
                        <a:pt x="792" y="246"/>
                      </a:lnTo>
                      <a:lnTo>
                        <a:pt x="798" y="234"/>
                      </a:lnTo>
                      <a:lnTo>
                        <a:pt x="798" y="216"/>
                      </a:lnTo>
                      <a:lnTo>
                        <a:pt x="792" y="210"/>
                      </a:lnTo>
                      <a:lnTo>
                        <a:pt x="780" y="204"/>
                      </a:lnTo>
                      <a:lnTo>
                        <a:pt x="756" y="204"/>
                      </a:lnTo>
                      <a:lnTo>
                        <a:pt x="750" y="198"/>
                      </a:lnTo>
                      <a:lnTo>
                        <a:pt x="744" y="186"/>
                      </a:lnTo>
                      <a:lnTo>
                        <a:pt x="744" y="180"/>
                      </a:lnTo>
                      <a:lnTo>
                        <a:pt x="732" y="180"/>
                      </a:lnTo>
                      <a:lnTo>
                        <a:pt x="726" y="186"/>
                      </a:lnTo>
                      <a:lnTo>
                        <a:pt x="714" y="192"/>
                      </a:lnTo>
                      <a:lnTo>
                        <a:pt x="702" y="192"/>
                      </a:lnTo>
                      <a:lnTo>
                        <a:pt x="696" y="186"/>
                      </a:lnTo>
                      <a:lnTo>
                        <a:pt x="690" y="186"/>
                      </a:lnTo>
                      <a:lnTo>
                        <a:pt x="684" y="180"/>
                      </a:lnTo>
                      <a:lnTo>
                        <a:pt x="660" y="180"/>
                      </a:lnTo>
                      <a:lnTo>
                        <a:pt x="648" y="192"/>
                      </a:lnTo>
                      <a:lnTo>
                        <a:pt x="648" y="204"/>
                      </a:lnTo>
                      <a:lnTo>
                        <a:pt x="612" y="204"/>
                      </a:lnTo>
                      <a:lnTo>
                        <a:pt x="588" y="198"/>
                      </a:lnTo>
                      <a:lnTo>
                        <a:pt x="576" y="192"/>
                      </a:lnTo>
                      <a:lnTo>
                        <a:pt x="576" y="168"/>
                      </a:lnTo>
                      <a:lnTo>
                        <a:pt x="582" y="162"/>
                      </a:lnTo>
                      <a:lnTo>
                        <a:pt x="582" y="156"/>
                      </a:lnTo>
                      <a:lnTo>
                        <a:pt x="576" y="150"/>
                      </a:lnTo>
                      <a:lnTo>
                        <a:pt x="564" y="144"/>
                      </a:lnTo>
                      <a:lnTo>
                        <a:pt x="552" y="144"/>
                      </a:lnTo>
                      <a:lnTo>
                        <a:pt x="552" y="138"/>
                      </a:lnTo>
                      <a:lnTo>
                        <a:pt x="546" y="132"/>
                      </a:lnTo>
                      <a:lnTo>
                        <a:pt x="546" y="108"/>
                      </a:lnTo>
                      <a:lnTo>
                        <a:pt x="540" y="102"/>
                      </a:lnTo>
                      <a:lnTo>
                        <a:pt x="528" y="102"/>
                      </a:lnTo>
                      <a:lnTo>
                        <a:pt x="516" y="84"/>
                      </a:lnTo>
                      <a:lnTo>
                        <a:pt x="498" y="84"/>
                      </a:lnTo>
                      <a:lnTo>
                        <a:pt x="486" y="48"/>
                      </a:lnTo>
                      <a:lnTo>
                        <a:pt x="480" y="42"/>
                      </a:lnTo>
                      <a:lnTo>
                        <a:pt x="468" y="36"/>
                      </a:lnTo>
                      <a:lnTo>
                        <a:pt x="450" y="18"/>
                      </a:lnTo>
                      <a:lnTo>
                        <a:pt x="438" y="12"/>
                      </a:lnTo>
                      <a:lnTo>
                        <a:pt x="426" y="0"/>
                      </a:lnTo>
                      <a:lnTo>
                        <a:pt x="396" y="0"/>
                      </a:lnTo>
                      <a:lnTo>
                        <a:pt x="414" y="0"/>
                      </a:lnTo>
                      <a:lnTo>
                        <a:pt x="414" y="24"/>
                      </a:lnTo>
                      <a:lnTo>
                        <a:pt x="408" y="24"/>
                      </a:lnTo>
                      <a:lnTo>
                        <a:pt x="408" y="30"/>
                      </a:lnTo>
                      <a:lnTo>
                        <a:pt x="402" y="30"/>
                      </a:lnTo>
                      <a:lnTo>
                        <a:pt x="426" y="48"/>
                      </a:lnTo>
                      <a:lnTo>
                        <a:pt x="426" y="78"/>
                      </a:lnTo>
                      <a:lnTo>
                        <a:pt x="414" y="84"/>
                      </a:lnTo>
                      <a:lnTo>
                        <a:pt x="402" y="126"/>
                      </a:lnTo>
                      <a:lnTo>
                        <a:pt x="396" y="138"/>
                      </a:lnTo>
                      <a:lnTo>
                        <a:pt x="384" y="150"/>
                      </a:lnTo>
                      <a:lnTo>
                        <a:pt x="378" y="162"/>
                      </a:lnTo>
                      <a:lnTo>
                        <a:pt x="366" y="174"/>
                      </a:lnTo>
                      <a:lnTo>
                        <a:pt x="354" y="192"/>
                      </a:lnTo>
                      <a:lnTo>
                        <a:pt x="336" y="204"/>
                      </a:lnTo>
                      <a:lnTo>
                        <a:pt x="276" y="234"/>
                      </a:lnTo>
                      <a:lnTo>
                        <a:pt x="258" y="240"/>
                      </a:lnTo>
                      <a:lnTo>
                        <a:pt x="240" y="252"/>
                      </a:lnTo>
                      <a:lnTo>
                        <a:pt x="222" y="270"/>
                      </a:lnTo>
                      <a:lnTo>
                        <a:pt x="222" y="276"/>
                      </a:lnTo>
                      <a:lnTo>
                        <a:pt x="210" y="282"/>
                      </a:lnTo>
                      <a:lnTo>
                        <a:pt x="210" y="300"/>
                      </a:lnTo>
                      <a:lnTo>
                        <a:pt x="198" y="312"/>
                      </a:lnTo>
                      <a:lnTo>
                        <a:pt x="198" y="336"/>
                      </a:lnTo>
                      <a:lnTo>
                        <a:pt x="192" y="348"/>
                      </a:lnTo>
                      <a:lnTo>
                        <a:pt x="192" y="378"/>
                      </a:lnTo>
                      <a:lnTo>
                        <a:pt x="174" y="378"/>
                      </a:lnTo>
                      <a:lnTo>
                        <a:pt x="168" y="384"/>
                      </a:lnTo>
                      <a:lnTo>
                        <a:pt x="168" y="390"/>
                      </a:lnTo>
                      <a:lnTo>
                        <a:pt x="162" y="396"/>
                      </a:lnTo>
                      <a:lnTo>
                        <a:pt x="162" y="402"/>
                      </a:lnTo>
                      <a:lnTo>
                        <a:pt x="144" y="402"/>
                      </a:lnTo>
                      <a:lnTo>
                        <a:pt x="138" y="390"/>
                      </a:lnTo>
                      <a:lnTo>
                        <a:pt x="138" y="372"/>
                      </a:lnTo>
                      <a:lnTo>
                        <a:pt x="132" y="366"/>
                      </a:lnTo>
                      <a:lnTo>
                        <a:pt x="132" y="360"/>
                      </a:lnTo>
                      <a:lnTo>
                        <a:pt x="102" y="360"/>
                      </a:lnTo>
                      <a:lnTo>
                        <a:pt x="90" y="348"/>
                      </a:lnTo>
                      <a:lnTo>
                        <a:pt x="78" y="360"/>
                      </a:lnTo>
                      <a:lnTo>
                        <a:pt x="66" y="366"/>
                      </a:lnTo>
                      <a:lnTo>
                        <a:pt x="60" y="366"/>
                      </a:lnTo>
                      <a:lnTo>
                        <a:pt x="54" y="360"/>
                      </a:lnTo>
                      <a:lnTo>
                        <a:pt x="66" y="348"/>
                      </a:lnTo>
                      <a:lnTo>
                        <a:pt x="54" y="336"/>
                      </a:lnTo>
                      <a:lnTo>
                        <a:pt x="60" y="330"/>
                      </a:lnTo>
                      <a:lnTo>
                        <a:pt x="66" y="318"/>
                      </a:lnTo>
                      <a:lnTo>
                        <a:pt x="78" y="312"/>
                      </a:lnTo>
                      <a:lnTo>
                        <a:pt x="84" y="300"/>
                      </a:lnTo>
                      <a:lnTo>
                        <a:pt x="90" y="294"/>
                      </a:lnTo>
                      <a:lnTo>
                        <a:pt x="90" y="288"/>
                      </a:lnTo>
                      <a:lnTo>
                        <a:pt x="84" y="288"/>
                      </a:lnTo>
                      <a:lnTo>
                        <a:pt x="72" y="282"/>
                      </a:lnTo>
                      <a:lnTo>
                        <a:pt x="66" y="282"/>
                      </a:lnTo>
                      <a:lnTo>
                        <a:pt x="6" y="342"/>
                      </a:lnTo>
                      <a:lnTo>
                        <a:pt x="0" y="354"/>
                      </a:lnTo>
                      <a:lnTo>
                        <a:pt x="0" y="390"/>
                      </a:lnTo>
                      <a:lnTo>
                        <a:pt x="6" y="396"/>
                      </a:lnTo>
                      <a:lnTo>
                        <a:pt x="18" y="396"/>
                      </a:lnTo>
                      <a:lnTo>
                        <a:pt x="12" y="420"/>
                      </a:lnTo>
                      <a:lnTo>
                        <a:pt x="36" y="444"/>
                      </a:lnTo>
                      <a:lnTo>
                        <a:pt x="36" y="462"/>
                      </a:lnTo>
                      <a:lnTo>
                        <a:pt x="12" y="486"/>
                      </a:lnTo>
                      <a:lnTo>
                        <a:pt x="12" y="492"/>
                      </a:lnTo>
                      <a:lnTo>
                        <a:pt x="18" y="504"/>
                      </a:lnTo>
                      <a:lnTo>
                        <a:pt x="24" y="510"/>
                      </a:lnTo>
                      <a:lnTo>
                        <a:pt x="36" y="516"/>
                      </a:lnTo>
                      <a:lnTo>
                        <a:pt x="54" y="522"/>
                      </a:lnTo>
                      <a:lnTo>
                        <a:pt x="66" y="522"/>
                      </a:lnTo>
                      <a:lnTo>
                        <a:pt x="108" y="564"/>
                      </a:lnTo>
                      <a:lnTo>
                        <a:pt x="114" y="576"/>
                      </a:lnTo>
                      <a:lnTo>
                        <a:pt x="132" y="594"/>
                      </a:lnTo>
                      <a:lnTo>
                        <a:pt x="138" y="612"/>
                      </a:lnTo>
                      <a:lnTo>
                        <a:pt x="144" y="624"/>
                      </a:lnTo>
                      <a:lnTo>
                        <a:pt x="144" y="642"/>
                      </a:lnTo>
                      <a:lnTo>
                        <a:pt x="150" y="648"/>
                      </a:lnTo>
                      <a:lnTo>
                        <a:pt x="156" y="660"/>
                      </a:lnTo>
                      <a:lnTo>
                        <a:pt x="168" y="666"/>
                      </a:lnTo>
                      <a:lnTo>
                        <a:pt x="174" y="678"/>
                      </a:lnTo>
                      <a:lnTo>
                        <a:pt x="192" y="696"/>
                      </a:lnTo>
                      <a:lnTo>
                        <a:pt x="204" y="720"/>
                      </a:lnTo>
                      <a:lnTo>
                        <a:pt x="216" y="732"/>
                      </a:lnTo>
                      <a:lnTo>
                        <a:pt x="222" y="744"/>
                      </a:lnTo>
                      <a:lnTo>
                        <a:pt x="234" y="762"/>
                      </a:lnTo>
                      <a:lnTo>
                        <a:pt x="240" y="768"/>
                      </a:lnTo>
                      <a:lnTo>
                        <a:pt x="246" y="780"/>
                      </a:lnTo>
                      <a:lnTo>
                        <a:pt x="252" y="822"/>
                      </a:lnTo>
                      <a:lnTo>
                        <a:pt x="252" y="828"/>
                      </a:lnTo>
                      <a:lnTo>
                        <a:pt x="258" y="834"/>
                      </a:lnTo>
                      <a:lnTo>
                        <a:pt x="264" y="846"/>
                      </a:lnTo>
                      <a:lnTo>
                        <a:pt x="270" y="864"/>
                      </a:lnTo>
                      <a:lnTo>
                        <a:pt x="282" y="876"/>
                      </a:lnTo>
                      <a:lnTo>
                        <a:pt x="288" y="894"/>
                      </a:lnTo>
                      <a:lnTo>
                        <a:pt x="294" y="906"/>
                      </a:lnTo>
                      <a:lnTo>
                        <a:pt x="294" y="918"/>
                      </a:lnTo>
                      <a:lnTo>
                        <a:pt x="300" y="924"/>
                      </a:lnTo>
                      <a:lnTo>
                        <a:pt x="312" y="924"/>
                      </a:lnTo>
                      <a:lnTo>
                        <a:pt x="324" y="936"/>
                      </a:lnTo>
                      <a:lnTo>
                        <a:pt x="324" y="948"/>
                      </a:lnTo>
                      <a:lnTo>
                        <a:pt x="330" y="954"/>
                      </a:lnTo>
                      <a:lnTo>
                        <a:pt x="330" y="966"/>
                      </a:lnTo>
                      <a:lnTo>
                        <a:pt x="336" y="984"/>
                      </a:lnTo>
                      <a:lnTo>
                        <a:pt x="360" y="1014"/>
                      </a:lnTo>
                      <a:lnTo>
                        <a:pt x="378" y="1050"/>
                      </a:lnTo>
                      <a:lnTo>
                        <a:pt x="396" y="1074"/>
                      </a:lnTo>
                      <a:lnTo>
                        <a:pt x="402" y="1086"/>
                      </a:lnTo>
                      <a:lnTo>
                        <a:pt x="408" y="1104"/>
                      </a:lnTo>
                      <a:lnTo>
                        <a:pt x="408" y="1116"/>
                      </a:lnTo>
                      <a:lnTo>
                        <a:pt x="402" y="1128"/>
                      </a:lnTo>
                      <a:lnTo>
                        <a:pt x="402" y="1146"/>
                      </a:lnTo>
                      <a:lnTo>
                        <a:pt x="414" y="1158"/>
                      </a:lnTo>
                      <a:lnTo>
                        <a:pt x="420" y="1170"/>
                      </a:lnTo>
                      <a:lnTo>
                        <a:pt x="444" y="1194"/>
                      </a:lnTo>
                      <a:lnTo>
                        <a:pt x="456" y="1200"/>
                      </a:lnTo>
                      <a:lnTo>
                        <a:pt x="468" y="1212"/>
                      </a:lnTo>
                      <a:lnTo>
                        <a:pt x="474" y="1224"/>
                      </a:lnTo>
                      <a:lnTo>
                        <a:pt x="498" y="1248"/>
                      </a:lnTo>
                      <a:lnTo>
                        <a:pt x="516" y="1260"/>
                      </a:lnTo>
                      <a:lnTo>
                        <a:pt x="546" y="1278"/>
                      </a:lnTo>
                      <a:lnTo>
                        <a:pt x="576" y="1290"/>
                      </a:lnTo>
                      <a:lnTo>
                        <a:pt x="600" y="1302"/>
                      </a:lnTo>
                      <a:lnTo>
                        <a:pt x="642" y="1320"/>
                      </a:lnTo>
                      <a:lnTo>
                        <a:pt x="696" y="1350"/>
                      </a:lnTo>
                      <a:lnTo>
                        <a:pt x="708" y="1362"/>
                      </a:lnTo>
                      <a:lnTo>
                        <a:pt x="726" y="1374"/>
                      </a:lnTo>
                      <a:lnTo>
                        <a:pt x="738" y="1380"/>
                      </a:lnTo>
                      <a:lnTo>
                        <a:pt x="750" y="1392"/>
                      </a:lnTo>
                      <a:lnTo>
                        <a:pt x="774" y="1404"/>
                      </a:lnTo>
                      <a:lnTo>
                        <a:pt x="780" y="1428"/>
                      </a:lnTo>
                      <a:lnTo>
                        <a:pt x="792" y="1434"/>
                      </a:lnTo>
                      <a:lnTo>
                        <a:pt x="798" y="1446"/>
                      </a:lnTo>
                      <a:lnTo>
                        <a:pt x="810" y="1452"/>
                      </a:lnTo>
                      <a:lnTo>
                        <a:pt x="816" y="1458"/>
                      </a:lnTo>
                      <a:lnTo>
                        <a:pt x="840" y="1470"/>
                      </a:lnTo>
                      <a:lnTo>
                        <a:pt x="846" y="1482"/>
                      </a:lnTo>
                      <a:lnTo>
                        <a:pt x="858" y="1488"/>
                      </a:lnTo>
                      <a:lnTo>
                        <a:pt x="894" y="1464"/>
                      </a:lnTo>
                      <a:lnTo>
                        <a:pt x="900" y="1458"/>
                      </a:lnTo>
                      <a:lnTo>
                        <a:pt x="900" y="1440"/>
                      </a:lnTo>
                      <a:lnTo>
                        <a:pt x="894" y="1428"/>
                      </a:lnTo>
                      <a:lnTo>
                        <a:pt x="912" y="1416"/>
                      </a:lnTo>
                      <a:lnTo>
                        <a:pt x="900" y="1392"/>
                      </a:lnTo>
                      <a:lnTo>
                        <a:pt x="918" y="1374"/>
                      </a:lnTo>
                      <a:lnTo>
                        <a:pt x="930" y="1368"/>
                      </a:lnTo>
                      <a:lnTo>
                        <a:pt x="942" y="1344"/>
                      </a:lnTo>
                      <a:lnTo>
                        <a:pt x="942" y="1332"/>
                      </a:lnTo>
                      <a:lnTo>
                        <a:pt x="930" y="132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569" name="Paraguay"/>
                <p:cNvSpPr>
                  <a:spLocks/>
                </p:cNvSpPr>
                <p:nvPr/>
              </p:nvSpPr>
              <p:spPr bwMode="gray">
                <a:xfrm>
                  <a:off x="1541" y="2707"/>
                  <a:ext cx="153" cy="173"/>
                </a:xfrm>
                <a:custGeom>
                  <a:avLst/>
                  <a:gdLst>
                    <a:gd name="T0" fmla="*/ 2147483647 w 600"/>
                    <a:gd name="T1" fmla="*/ 2147483647 h 678"/>
                    <a:gd name="T2" fmla="*/ 2147483647 w 600"/>
                    <a:gd name="T3" fmla="*/ 2147483647 h 678"/>
                    <a:gd name="T4" fmla="*/ 2147483647 w 600"/>
                    <a:gd name="T5" fmla="*/ 2147483647 h 678"/>
                    <a:gd name="T6" fmla="*/ 2147483647 w 600"/>
                    <a:gd name="T7" fmla="*/ 2147483647 h 678"/>
                    <a:gd name="T8" fmla="*/ 2147483647 w 600"/>
                    <a:gd name="T9" fmla="*/ 2147483647 h 678"/>
                    <a:gd name="T10" fmla="*/ 2147483647 w 600"/>
                    <a:gd name="T11" fmla="*/ 2147483647 h 678"/>
                    <a:gd name="T12" fmla="*/ 2147483647 w 600"/>
                    <a:gd name="T13" fmla="*/ 2147483647 h 678"/>
                    <a:gd name="T14" fmla="*/ 2147483647 w 600"/>
                    <a:gd name="T15" fmla="*/ 2147483647 h 678"/>
                    <a:gd name="T16" fmla="*/ 2147483647 w 600"/>
                    <a:gd name="T17" fmla="*/ 2147483647 h 678"/>
                    <a:gd name="T18" fmla="*/ 2147483647 w 600"/>
                    <a:gd name="T19" fmla="*/ 2147483647 h 678"/>
                    <a:gd name="T20" fmla="*/ 2147483647 w 600"/>
                    <a:gd name="T21" fmla="*/ 2147483647 h 678"/>
                    <a:gd name="T22" fmla="*/ 2147483647 w 600"/>
                    <a:gd name="T23" fmla="*/ 2147483647 h 678"/>
                    <a:gd name="T24" fmla="*/ 2147483647 w 600"/>
                    <a:gd name="T25" fmla="*/ 2147483647 h 678"/>
                    <a:gd name="T26" fmla="*/ 2147483647 w 600"/>
                    <a:gd name="T27" fmla="*/ 2147483647 h 678"/>
                    <a:gd name="T28" fmla="*/ 2147483647 w 600"/>
                    <a:gd name="T29" fmla="*/ 2147483647 h 678"/>
                    <a:gd name="T30" fmla="*/ 2147483647 w 600"/>
                    <a:gd name="T31" fmla="*/ 2147483647 h 678"/>
                    <a:gd name="T32" fmla="*/ 2147483647 w 600"/>
                    <a:gd name="T33" fmla="*/ 2147483647 h 678"/>
                    <a:gd name="T34" fmla="*/ 2147483647 w 600"/>
                    <a:gd name="T35" fmla="*/ 2147483647 h 678"/>
                    <a:gd name="T36" fmla="*/ 2147483647 w 600"/>
                    <a:gd name="T37" fmla="*/ 2147483647 h 678"/>
                    <a:gd name="T38" fmla="*/ 2147483647 w 600"/>
                    <a:gd name="T39" fmla="*/ 2147483647 h 678"/>
                    <a:gd name="T40" fmla="*/ 2147483647 w 600"/>
                    <a:gd name="T41" fmla="*/ 2147483647 h 678"/>
                    <a:gd name="T42" fmla="*/ 2147483647 w 600"/>
                    <a:gd name="T43" fmla="*/ 2147483647 h 678"/>
                    <a:gd name="T44" fmla="*/ 2147483647 w 600"/>
                    <a:gd name="T45" fmla="*/ 2147483647 h 678"/>
                    <a:gd name="T46" fmla="*/ 2147483647 w 600"/>
                    <a:gd name="T47" fmla="*/ 2147483647 h 678"/>
                    <a:gd name="T48" fmla="*/ 2147483647 w 600"/>
                    <a:gd name="T49" fmla="*/ 2147483647 h 678"/>
                    <a:gd name="T50" fmla="*/ 2147483647 w 600"/>
                    <a:gd name="T51" fmla="*/ 2147483647 h 678"/>
                    <a:gd name="T52" fmla="*/ 2147483647 w 600"/>
                    <a:gd name="T53" fmla="*/ 0 h 678"/>
                    <a:gd name="T54" fmla="*/ 2147483647 w 600"/>
                    <a:gd name="T55" fmla="*/ 2147483647 h 678"/>
                    <a:gd name="T56" fmla="*/ 2147483647 w 600"/>
                    <a:gd name="T57" fmla="*/ 2147483647 h 678"/>
                    <a:gd name="T58" fmla="*/ 0 w 600"/>
                    <a:gd name="T59" fmla="*/ 2147483647 h 678"/>
                    <a:gd name="T60" fmla="*/ 2147483647 w 600"/>
                    <a:gd name="T61" fmla="*/ 2147483647 h 678"/>
                    <a:gd name="T62" fmla="*/ 2147483647 w 600"/>
                    <a:gd name="T63" fmla="*/ 2147483647 h 678"/>
                    <a:gd name="T64" fmla="*/ 2147483647 w 600"/>
                    <a:gd name="T65" fmla="*/ 2147483647 h 678"/>
                    <a:gd name="T66" fmla="*/ 2147483647 w 600"/>
                    <a:gd name="T67" fmla="*/ 2147483647 h 678"/>
                    <a:gd name="T68" fmla="*/ 2147483647 w 600"/>
                    <a:gd name="T69" fmla="*/ 2147483647 h 678"/>
                    <a:gd name="T70" fmla="*/ 2147483647 w 600"/>
                    <a:gd name="T71" fmla="*/ 2147483647 h 678"/>
                    <a:gd name="T72" fmla="*/ 2147483647 w 600"/>
                    <a:gd name="T73" fmla="*/ 2147483647 h 678"/>
                    <a:gd name="T74" fmla="*/ 2147483647 w 600"/>
                    <a:gd name="T75" fmla="*/ 2147483647 h 678"/>
                    <a:gd name="T76" fmla="*/ 2147483647 w 600"/>
                    <a:gd name="T77" fmla="*/ 2147483647 h 678"/>
                    <a:gd name="T78" fmla="*/ 2147483647 w 600"/>
                    <a:gd name="T79" fmla="*/ 2147483647 h 678"/>
                    <a:gd name="T80" fmla="*/ 2147483647 w 600"/>
                    <a:gd name="T81" fmla="*/ 2147483647 h 678"/>
                    <a:gd name="T82" fmla="*/ 2147483647 w 600"/>
                    <a:gd name="T83" fmla="*/ 2147483647 h 678"/>
                    <a:gd name="T84" fmla="*/ 2147483647 w 600"/>
                    <a:gd name="T85" fmla="*/ 2147483647 h 678"/>
                    <a:gd name="T86" fmla="*/ 2147483647 w 600"/>
                    <a:gd name="T87" fmla="*/ 2147483647 h 678"/>
                    <a:gd name="T88" fmla="*/ 2147483647 w 600"/>
                    <a:gd name="T89" fmla="*/ 2147483647 h 678"/>
                    <a:gd name="T90" fmla="*/ 2147483647 w 600"/>
                    <a:gd name="T91" fmla="*/ 2147483647 h 678"/>
                    <a:gd name="T92" fmla="*/ 2147483647 w 600"/>
                    <a:gd name="T93" fmla="*/ 2147483647 h 678"/>
                    <a:gd name="T94" fmla="*/ 2147483647 w 600"/>
                    <a:gd name="T95" fmla="*/ 2147483647 h 678"/>
                    <a:gd name="T96" fmla="*/ 2147483647 w 600"/>
                    <a:gd name="T97" fmla="*/ 2147483647 h 678"/>
                    <a:gd name="T98" fmla="*/ 2147483647 w 600"/>
                    <a:gd name="T99" fmla="*/ 2147483647 h 678"/>
                    <a:gd name="T100" fmla="*/ 2147483647 w 600"/>
                    <a:gd name="T101" fmla="*/ 2147483647 h 678"/>
                    <a:gd name="T102" fmla="*/ 2147483647 w 600"/>
                    <a:gd name="T103" fmla="*/ 2147483647 h 678"/>
                    <a:gd name="T104" fmla="*/ 2147483647 w 600"/>
                    <a:gd name="T105" fmla="*/ 2147483647 h 678"/>
                    <a:gd name="T106" fmla="*/ 2147483647 w 600"/>
                    <a:gd name="T107" fmla="*/ 2147483647 h 678"/>
                    <a:gd name="T108" fmla="*/ 2147483647 w 600"/>
                    <a:gd name="T109" fmla="*/ 2147483647 h 678"/>
                    <a:gd name="T110" fmla="*/ 2147483647 w 600"/>
                    <a:gd name="T111" fmla="*/ 2147483647 h 678"/>
                    <a:gd name="T112" fmla="*/ 2147483647 w 600"/>
                    <a:gd name="T113" fmla="*/ 2147483647 h 678"/>
                    <a:gd name="T114" fmla="*/ 2147483647 w 600"/>
                    <a:gd name="T115" fmla="*/ 2147483647 h 678"/>
                    <a:gd name="T116" fmla="*/ 2147483647 w 600"/>
                    <a:gd name="T117" fmla="*/ 2147483647 h 678"/>
                    <a:gd name="T118" fmla="*/ 2147483647 w 600"/>
                    <a:gd name="T119" fmla="*/ 2147483647 h 67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600"/>
                    <a:gd name="T181" fmla="*/ 0 h 678"/>
                    <a:gd name="T182" fmla="*/ 600 w 600"/>
                    <a:gd name="T183" fmla="*/ 678 h 67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600" h="678">
                      <a:moveTo>
                        <a:pt x="480" y="660"/>
                      </a:moveTo>
                      <a:lnTo>
                        <a:pt x="492" y="678"/>
                      </a:lnTo>
                      <a:lnTo>
                        <a:pt x="492" y="660"/>
                      </a:lnTo>
                      <a:lnTo>
                        <a:pt x="498" y="654"/>
                      </a:lnTo>
                      <a:lnTo>
                        <a:pt x="510" y="654"/>
                      </a:lnTo>
                      <a:lnTo>
                        <a:pt x="516" y="660"/>
                      </a:lnTo>
                      <a:lnTo>
                        <a:pt x="516" y="666"/>
                      </a:lnTo>
                      <a:lnTo>
                        <a:pt x="522" y="660"/>
                      </a:lnTo>
                      <a:lnTo>
                        <a:pt x="534" y="636"/>
                      </a:lnTo>
                      <a:lnTo>
                        <a:pt x="546" y="624"/>
                      </a:lnTo>
                      <a:lnTo>
                        <a:pt x="552" y="624"/>
                      </a:lnTo>
                      <a:lnTo>
                        <a:pt x="558" y="618"/>
                      </a:lnTo>
                      <a:lnTo>
                        <a:pt x="570" y="612"/>
                      </a:lnTo>
                      <a:lnTo>
                        <a:pt x="576" y="600"/>
                      </a:lnTo>
                      <a:lnTo>
                        <a:pt x="588" y="594"/>
                      </a:lnTo>
                      <a:lnTo>
                        <a:pt x="588" y="516"/>
                      </a:lnTo>
                      <a:lnTo>
                        <a:pt x="582" y="498"/>
                      </a:lnTo>
                      <a:lnTo>
                        <a:pt x="582" y="486"/>
                      </a:lnTo>
                      <a:lnTo>
                        <a:pt x="588" y="474"/>
                      </a:lnTo>
                      <a:lnTo>
                        <a:pt x="588" y="468"/>
                      </a:lnTo>
                      <a:lnTo>
                        <a:pt x="594" y="462"/>
                      </a:lnTo>
                      <a:lnTo>
                        <a:pt x="594" y="432"/>
                      </a:lnTo>
                      <a:lnTo>
                        <a:pt x="600" y="414"/>
                      </a:lnTo>
                      <a:lnTo>
                        <a:pt x="600" y="396"/>
                      </a:lnTo>
                      <a:lnTo>
                        <a:pt x="594" y="384"/>
                      </a:lnTo>
                      <a:lnTo>
                        <a:pt x="582" y="372"/>
                      </a:lnTo>
                      <a:lnTo>
                        <a:pt x="570" y="366"/>
                      </a:lnTo>
                      <a:lnTo>
                        <a:pt x="558" y="366"/>
                      </a:lnTo>
                      <a:lnTo>
                        <a:pt x="540" y="384"/>
                      </a:lnTo>
                      <a:lnTo>
                        <a:pt x="528" y="384"/>
                      </a:lnTo>
                      <a:lnTo>
                        <a:pt x="516" y="378"/>
                      </a:lnTo>
                      <a:lnTo>
                        <a:pt x="504" y="354"/>
                      </a:lnTo>
                      <a:lnTo>
                        <a:pt x="504" y="336"/>
                      </a:lnTo>
                      <a:lnTo>
                        <a:pt x="498" y="318"/>
                      </a:lnTo>
                      <a:lnTo>
                        <a:pt x="498" y="294"/>
                      </a:lnTo>
                      <a:lnTo>
                        <a:pt x="492" y="276"/>
                      </a:lnTo>
                      <a:lnTo>
                        <a:pt x="492" y="252"/>
                      </a:lnTo>
                      <a:lnTo>
                        <a:pt x="486" y="246"/>
                      </a:lnTo>
                      <a:lnTo>
                        <a:pt x="474" y="240"/>
                      </a:lnTo>
                      <a:lnTo>
                        <a:pt x="402" y="240"/>
                      </a:lnTo>
                      <a:lnTo>
                        <a:pt x="360" y="234"/>
                      </a:lnTo>
                      <a:lnTo>
                        <a:pt x="324" y="222"/>
                      </a:lnTo>
                      <a:lnTo>
                        <a:pt x="318" y="216"/>
                      </a:lnTo>
                      <a:lnTo>
                        <a:pt x="312" y="204"/>
                      </a:lnTo>
                      <a:lnTo>
                        <a:pt x="312" y="162"/>
                      </a:lnTo>
                      <a:lnTo>
                        <a:pt x="318" y="150"/>
                      </a:lnTo>
                      <a:lnTo>
                        <a:pt x="318" y="132"/>
                      </a:lnTo>
                      <a:lnTo>
                        <a:pt x="306" y="132"/>
                      </a:lnTo>
                      <a:lnTo>
                        <a:pt x="306" y="96"/>
                      </a:lnTo>
                      <a:lnTo>
                        <a:pt x="294" y="90"/>
                      </a:lnTo>
                      <a:lnTo>
                        <a:pt x="288" y="84"/>
                      </a:lnTo>
                      <a:lnTo>
                        <a:pt x="288" y="78"/>
                      </a:lnTo>
                      <a:lnTo>
                        <a:pt x="270" y="42"/>
                      </a:lnTo>
                      <a:lnTo>
                        <a:pt x="216" y="0"/>
                      </a:lnTo>
                      <a:lnTo>
                        <a:pt x="138" y="12"/>
                      </a:lnTo>
                      <a:lnTo>
                        <a:pt x="36" y="30"/>
                      </a:lnTo>
                      <a:lnTo>
                        <a:pt x="30" y="60"/>
                      </a:lnTo>
                      <a:lnTo>
                        <a:pt x="18" y="72"/>
                      </a:lnTo>
                      <a:lnTo>
                        <a:pt x="6" y="78"/>
                      </a:lnTo>
                      <a:lnTo>
                        <a:pt x="0" y="84"/>
                      </a:lnTo>
                      <a:lnTo>
                        <a:pt x="0" y="96"/>
                      </a:lnTo>
                      <a:lnTo>
                        <a:pt x="12" y="120"/>
                      </a:lnTo>
                      <a:lnTo>
                        <a:pt x="12" y="126"/>
                      </a:lnTo>
                      <a:lnTo>
                        <a:pt x="18" y="132"/>
                      </a:lnTo>
                      <a:lnTo>
                        <a:pt x="18" y="156"/>
                      </a:lnTo>
                      <a:lnTo>
                        <a:pt x="6" y="228"/>
                      </a:lnTo>
                      <a:lnTo>
                        <a:pt x="6" y="246"/>
                      </a:lnTo>
                      <a:lnTo>
                        <a:pt x="24" y="264"/>
                      </a:lnTo>
                      <a:lnTo>
                        <a:pt x="24" y="270"/>
                      </a:lnTo>
                      <a:lnTo>
                        <a:pt x="30" y="276"/>
                      </a:lnTo>
                      <a:lnTo>
                        <a:pt x="36" y="288"/>
                      </a:lnTo>
                      <a:lnTo>
                        <a:pt x="48" y="294"/>
                      </a:lnTo>
                      <a:lnTo>
                        <a:pt x="54" y="306"/>
                      </a:lnTo>
                      <a:lnTo>
                        <a:pt x="60" y="312"/>
                      </a:lnTo>
                      <a:lnTo>
                        <a:pt x="84" y="324"/>
                      </a:lnTo>
                      <a:lnTo>
                        <a:pt x="102" y="342"/>
                      </a:lnTo>
                      <a:lnTo>
                        <a:pt x="114" y="348"/>
                      </a:lnTo>
                      <a:lnTo>
                        <a:pt x="120" y="366"/>
                      </a:lnTo>
                      <a:lnTo>
                        <a:pt x="126" y="366"/>
                      </a:lnTo>
                      <a:lnTo>
                        <a:pt x="132" y="372"/>
                      </a:lnTo>
                      <a:lnTo>
                        <a:pt x="168" y="390"/>
                      </a:lnTo>
                      <a:lnTo>
                        <a:pt x="198" y="390"/>
                      </a:lnTo>
                      <a:lnTo>
                        <a:pt x="210" y="396"/>
                      </a:lnTo>
                      <a:lnTo>
                        <a:pt x="216" y="402"/>
                      </a:lnTo>
                      <a:lnTo>
                        <a:pt x="228" y="408"/>
                      </a:lnTo>
                      <a:lnTo>
                        <a:pt x="234" y="414"/>
                      </a:lnTo>
                      <a:lnTo>
                        <a:pt x="240" y="414"/>
                      </a:lnTo>
                      <a:lnTo>
                        <a:pt x="246" y="420"/>
                      </a:lnTo>
                      <a:lnTo>
                        <a:pt x="258" y="426"/>
                      </a:lnTo>
                      <a:lnTo>
                        <a:pt x="276" y="438"/>
                      </a:lnTo>
                      <a:lnTo>
                        <a:pt x="312" y="456"/>
                      </a:lnTo>
                      <a:lnTo>
                        <a:pt x="318" y="462"/>
                      </a:lnTo>
                      <a:lnTo>
                        <a:pt x="330" y="462"/>
                      </a:lnTo>
                      <a:lnTo>
                        <a:pt x="342" y="468"/>
                      </a:lnTo>
                      <a:lnTo>
                        <a:pt x="360" y="474"/>
                      </a:lnTo>
                      <a:lnTo>
                        <a:pt x="372" y="480"/>
                      </a:lnTo>
                      <a:lnTo>
                        <a:pt x="378" y="486"/>
                      </a:lnTo>
                      <a:lnTo>
                        <a:pt x="372" y="492"/>
                      </a:lnTo>
                      <a:lnTo>
                        <a:pt x="372" y="504"/>
                      </a:lnTo>
                      <a:lnTo>
                        <a:pt x="366" y="510"/>
                      </a:lnTo>
                      <a:lnTo>
                        <a:pt x="360" y="522"/>
                      </a:lnTo>
                      <a:lnTo>
                        <a:pt x="366" y="528"/>
                      </a:lnTo>
                      <a:lnTo>
                        <a:pt x="372" y="540"/>
                      </a:lnTo>
                      <a:lnTo>
                        <a:pt x="372" y="546"/>
                      </a:lnTo>
                      <a:lnTo>
                        <a:pt x="366" y="552"/>
                      </a:lnTo>
                      <a:lnTo>
                        <a:pt x="348" y="552"/>
                      </a:lnTo>
                      <a:lnTo>
                        <a:pt x="348" y="588"/>
                      </a:lnTo>
                      <a:lnTo>
                        <a:pt x="342" y="594"/>
                      </a:lnTo>
                      <a:lnTo>
                        <a:pt x="336" y="606"/>
                      </a:lnTo>
                      <a:lnTo>
                        <a:pt x="330" y="612"/>
                      </a:lnTo>
                      <a:lnTo>
                        <a:pt x="324" y="624"/>
                      </a:lnTo>
                      <a:lnTo>
                        <a:pt x="324" y="636"/>
                      </a:lnTo>
                      <a:lnTo>
                        <a:pt x="330" y="642"/>
                      </a:lnTo>
                      <a:lnTo>
                        <a:pt x="354" y="642"/>
                      </a:lnTo>
                      <a:lnTo>
                        <a:pt x="366" y="636"/>
                      </a:lnTo>
                      <a:lnTo>
                        <a:pt x="372" y="636"/>
                      </a:lnTo>
                      <a:lnTo>
                        <a:pt x="384" y="642"/>
                      </a:lnTo>
                      <a:lnTo>
                        <a:pt x="390" y="648"/>
                      </a:lnTo>
                      <a:lnTo>
                        <a:pt x="402" y="654"/>
                      </a:lnTo>
                      <a:lnTo>
                        <a:pt x="420" y="660"/>
                      </a:lnTo>
                      <a:lnTo>
                        <a:pt x="480" y="66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570" name="Papua New Guinea"/>
                <p:cNvSpPr>
                  <a:spLocks noEditPoints="1"/>
                </p:cNvSpPr>
                <p:nvPr/>
              </p:nvSpPr>
              <p:spPr bwMode="gray">
                <a:xfrm>
                  <a:off x="5208" y="2348"/>
                  <a:ext cx="278" cy="186"/>
                </a:xfrm>
                <a:custGeom>
                  <a:avLst/>
                  <a:gdLst>
                    <a:gd name="T0" fmla="*/ 2147483647 w 1086"/>
                    <a:gd name="T1" fmla="*/ 2147483647 h 726"/>
                    <a:gd name="T2" fmla="*/ 2147483647 w 1086"/>
                    <a:gd name="T3" fmla="*/ 2147483647 h 726"/>
                    <a:gd name="T4" fmla="*/ 2147483647 w 1086"/>
                    <a:gd name="T5" fmla="*/ 2147483647 h 726"/>
                    <a:gd name="T6" fmla="*/ 2147483647 w 1086"/>
                    <a:gd name="T7" fmla="*/ 2147483647 h 726"/>
                    <a:gd name="T8" fmla="*/ 2147483647 w 1086"/>
                    <a:gd name="T9" fmla="*/ 2147483647 h 726"/>
                    <a:gd name="T10" fmla="*/ 2147483647 w 1086"/>
                    <a:gd name="T11" fmla="*/ 2147483647 h 726"/>
                    <a:gd name="T12" fmla="*/ 2147483647 w 1086"/>
                    <a:gd name="T13" fmla="*/ 2147483647 h 726"/>
                    <a:gd name="T14" fmla="*/ 2147483647 w 1086"/>
                    <a:gd name="T15" fmla="*/ 2147483647 h 726"/>
                    <a:gd name="T16" fmla="*/ 2147483647 w 1086"/>
                    <a:gd name="T17" fmla="*/ 2147483647 h 726"/>
                    <a:gd name="T18" fmla="*/ 2147483647 w 1086"/>
                    <a:gd name="T19" fmla="*/ 2147483647 h 726"/>
                    <a:gd name="T20" fmla="*/ 2147483647 w 1086"/>
                    <a:gd name="T21" fmla="*/ 2147483647 h 726"/>
                    <a:gd name="T22" fmla="*/ 2147483647 w 1086"/>
                    <a:gd name="T23" fmla="*/ 2147483647 h 726"/>
                    <a:gd name="T24" fmla="*/ 2147483647 w 1086"/>
                    <a:gd name="T25" fmla="*/ 2147483647 h 726"/>
                    <a:gd name="T26" fmla="*/ 2147483647 w 1086"/>
                    <a:gd name="T27" fmla="*/ 2147483647 h 726"/>
                    <a:gd name="T28" fmla="*/ 2147483647 w 1086"/>
                    <a:gd name="T29" fmla="*/ 2147483647 h 726"/>
                    <a:gd name="T30" fmla="*/ 2147483647 w 1086"/>
                    <a:gd name="T31" fmla="*/ 2147483647 h 726"/>
                    <a:gd name="T32" fmla="*/ 2147483647 w 1086"/>
                    <a:gd name="T33" fmla="*/ 2147483647 h 726"/>
                    <a:gd name="T34" fmla="*/ 2147483647 w 1086"/>
                    <a:gd name="T35" fmla="*/ 2147483647 h 726"/>
                    <a:gd name="T36" fmla="*/ 2147483647 w 1086"/>
                    <a:gd name="T37" fmla="*/ 2147483647 h 726"/>
                    <a:gd name="T38" fmla="*/ 2147483647 w 1086"/>
                    <a:gd name="T39" fmla="*/ 2147483647 h 726"/>
                    <a:gd name="T40" fmla="*/ 2147483647 w 1086"/>
                    <a:gd name="T41" fmla="*/ 2147483647 h 726"/>
                    <a:gd name="T42" fmla="*/ 2147483647 w 1086"/>
                    <a:gd name="T43" fmla="*/ 2147483647 h 726"/>
                    <a:gd name="T44" fmla="*/ 2147483647 w 1086"/>
                    <a:gd name="T45" fmla="*/ 2147483647 h 726"/>
                    <a:gd name="T46" fmla="*/ 2147483647 w 1086"/>
                    <a:gd name="T47" fmla="*/ 2147483647 h 726"/>
                    <a:gd name="T48" fmla="*/ 2147483647 w 1086"/>
                    <a:gd name="T49" fmla="*/ 2147483647 h 726"/>
                    <a:gd name="T50" fmla="*/ 2147483647 w 1086"/>
                    <a:gd name="T51" fmla="*/ 2147483647 h 726"/>
                    <a:gd name="T52" fmla="*/ 2147483647 w 1086"/>
                    <a:gd name="T53" fmla="*/ 2147483647 h 726"/>
                    <a:gd name="T54" fmla="*/ 2147483647 w 1086"/>
                    <a:gd name="T55" fmla="*/ 2147483647 h 726"/>
                    <a:gd name="T56" fmla="*/ 2147483647 w 1086"/>
                    <a:gd name="T57" fmla="*/ 2147483647 h 726"/>
                    <a:gd name="T58" fmla="*/ 2147483647 w 1086"/>
                    <a:gd name="T59" fmla="*/ 2147483647 h 726"/>
                    <a:gd name="T60" fmla="*/ 2147483647 w 1086"/>
                    <a:gd name="T61" fmla="*/ 2147483647 h 726"/>
                    <a:gd name="T62" fmla="*/ 2147483647 w 1086"/>
                    <a:gd name="T63" fmla="*/ 2147483647 h 726"/>
                    <a:gd name="T64" fmla="*/ 2147483647 w 1086"/>
                    <a:gd name="T65" fmla="*/ 2147483647 h 726"/>
                    <a:gd name="T66" fmla="*/ 2147483647 w 1086"/>
                    <a:gd name="T67" fmla="*/ 2147483647 h 726"/>
                    <a:gd name="T68" fmla="*/ 2147483647 w 1086"/>
                    <a:gd name="T69" fmla="*/ 2147483647 h 726"/>
                    <a:gd name="T70" fmla="*/ 2147483647 w 1086"/>
                    <a:gd name="T71" fmla="*/ 2147483647 h 726"/>
                    <a:gd name="T72" fmla="*/ 2147483647 w 1086"/>
                    <a:gd name="T73" fmla="*/ 2147483647 h 726"/>
                    <a:gd name="T74" fmla="*/ 2147483647 w 1086"/>
                    <a:gd name="T75" fmla="*/ 2147483647 h 726"/>
                    <a:gd name="T76" fmla="*/ 2147483647 w 1086"/>
                    <a:gd name="T77" fmla="*/ 2147483647 h 726"/>
                    <a:gd name="T78" fmla="*/ 2147483647 w 1086"/>
                    <a:gd name="T79" fmla="*/ 2147483647 h 726"/>
                    <a:gd name="T80" fmla="*/ 2147483647 w 1086"/>
                    <a:gd name="T81" fmla="*/ 2147483647 h 726"/>
                    <a:gd name="T82" fmla="*/ 2147483647 w 1086"/>
                    <a:gd name="T83" fmla="*/ 2147483647 h 726"/>
                    <a:gd name="T84" fmla="*/ 2147483647 w 1086"/>
                    <a:gd name="T85" fmla="*/ 2147483647 h 726"/>
                    <a:gd name="T86" fmla="*/ 2147483647 w 1086"/>
                    <a:gd name="T87" fmla="*/ 2147483647 h 726"/>
                    <a:gd name="T88" fmla="*/ 2147483647 w 1086"/>
                    <a:gd name="T89" fmla="*/ 2147483647 h 726"/>
                    <a:gd name="T90" fmla="*/ 2147483647 w 1086"/>
                    <a:gd name="T91" fmla="*/ 2147483647 h 726"/>
                    <a:gd name="T92" fmla="*/ 2147483647 w 1086"/>
                    <a:gd name="T93" fmla="*/ 2147483647 h 726"/>
                    <a:gd name="T94" fmla="*/ 2147483647 w 1086"/>
                    <a:gd name="T95" fmla="*/ 2147483647 h 726"/>
                    <a:gd name="T96" fmla="*/ 2147483647 w 1086"/>
                    <a:gd name="T97" fmla="*/ 2147483647 h 726"/>
                    <a:gd name="T98" fmla="*/ 2147483647 w 1086"/>
                    <a:gd name="T99" fmla="*/ 2147483647 h 726"/>
                    <a:gd name="T100" fmla="*/ 2147483647 w 1086"/>
                    <a:gd name="T101" fmla="*/ 2147483647 h 726"/>
                    <a:gd name="T102" fmla="*/ 2147483647 w 1086"/>
                    <a:gd name="T103" fmla="*/ 2147483647 h 726"/>
                    <a:gd name="T104" fmla="*/ 2147483647 w 1086"/>
                    <a:gd name="T105" fmla="*/ 2147483647 h 726"/>
                    <a:gd name="T106" fmla="*/ 2147483647 w 1086"/>
                    <a:gd name="T107" fmla="*/ 2147483647 h 726"/>
                    <a:gd name="T108" fmla="*/ 2147483647 w 1086"/>
                    <a:gd name="T109" fmla="*/ 2147483647 h 726"/>
                    <a:gd name="T110" fmla="*/ 2147483647 w 1086"/>
                    <a:gd name="T111" fmla="*/ 2147483647 h 726"/>
                    <a:gd name="T112" fmla="*/ 2147483647 w 1086"/>
                    <a:gd name="T113" fmla="*/ 2147483647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086"/>
                    <a:gd name="T172" fmla="*/ 0 h 726"/>
                    <a:gd name="T173" fmla="*/ 1086 w 1086"/>
                    <a:gd name="T174" fmla="*/ 726 h 72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086" h="726">
                      <a:moveTo>
                        <a:pt x="486" y="0"/>
                      </a:moveTo>
                      <a:lnTo>
                        <a:pt x="462" y="0"/>
                      </a:lnTo>
                      <a:lnTo>
                        <a:pt x="450" y="6"/>
                      </a:lnTo>
                      <a:lnTo>
                        <a:pt x="444" y="12"/>
                      </a:lnTo>
                      <a:lnTo>
                        <a:pt x="432" y="18"/>
                      </a:lnTo>
                      <a:lnTo>
                        <a:pt x="462" y="36"/>
                      </a:lnTo>
                      <a:lnTo>
                        <a:pt x="474" y="36"/>
                      </a:lnTo>
                      <a:lnTo>
                        <a:pt x="486" y="30"/>
                      </a:lnTo>
                      <a:lnTo>
                        <a:pt x="498" y="18"/>
                      </a:lnTo>
                      <a:lnTo>
                        <a:pt x="492" y="6"/>
                      </a:lnTo>
                      <a:lnTo>
                        <a:pt x="486" y="0"/>
                      </a:lnTo>
                      <a:close/>
                      <a:moveTo>
                        <a:pt x="756" y="216"/>
                      </a:moveTo>
                      <a:lnTo>
                        <a:pt x="750" y="222"/>
                      </a:lnTo>
                      <a:lnTo>
                        <a:pt x="750" y="228"/>
                      </a:lnTo>
                      <a:lnTo>
                        <a:pt x="756" y="234"/>
                      </a:lnTo>
                      <a:lnTo>
                        <a:pt x="768" y="240"/>
                      </a:lnTo>
                      <a:lnTo>
                        <a:pt x="774" y="246"/>
                      </a:lnTo>
                      <a:lnTo>
                        <a:pt x="774" y="264"/>
                      </a:lnTo>
                      <a:lnTo>
                        <a:pt x="702" y="300"/>
                      </a:lnTo>
                      <a:lnTo>
                        <a:pt x="666" y="300"/>
                      </a:lnTo>
                      <a:lnTo>
                        <a:pt x="630" y="312"/>
                      </a:lnTo>
                      <a:lnTo>
                        <a:pt x="594" y="330"/>
                      </a:lnTo>
                      <a:lnTo>
                        <a:pt x="588" y="336"/>
                      </a:lnTo>
                      <a:lnTo>
                        <a:pt x="570" y="336"/>
                      </a:lnTo>
                      <a:lnTo>
                        <a:pt x="564" y="342"/>
                      </a:lnTo>
                      <a:lnTo>
                        <a:pt x="588" y="378"/>
                      </a:lnTo>
                      <a:lnTo>
                        <a:pt x="684" y="378"/>
                      </a:lnTo>
                      <a:lnTo>
                        <a:pt x="702" y="366"/>
                      </a:lnTo>
                      <a:lnTo>
                        <a:pt x="738" y="366"/>
                      </a:lnTo>
                      <a:lnTo>
                        <a:pt x="750" y="360"/>
                      </a:lnTo>
                      <a:lnTo>
                        <a:pt x="774" y="336"/>
                      </a:lnTo>
                      <a:lnTo>
                        <a:pt x="774" y="330"/>
                      </a:lnTo>
                      <a:lnTo>
                        <a:pt x="804" y="324"/>
                      </a:lnTo>
                      <a:lnTo>
                        <a:pt x="798" y="300"/>
                      </a:lnTo>
                      <a:lnTo>
                        <a:pt x="822" y="300"/>
                      </a:lnTo>
                      <a:lnTo>
                        <a:pt x="822" y="288"/>
                      </a:lnTo>
                      <a:lnTo>
                        <a:pt x="828" y="258"/>
                      </a:lnTo>
                      <a:lnTo>
                        <a:pt x="828" y="228"/>
                      </a:lnTo>
                      <a:lnTo>
                        <a:pt x="822" y="198"/>
                      </a:lnTo>
                      <a:lnTo>
                        <a:pt x="816" y="192"/>
                      </a:lnTo>
                      <a:lnTo>
                        <a:pt x="804" y="186"/>
                      </a:lnTo>
                      <a:lnTo>
                        <a:pt x="792" y="192"/>
                      </a:lnTo>
                      <a:lnTo>
                        <a:pt x="786" y="198"/>
                      </a:lnTo>
                      <a:lnTo>
                        <a:pt x="762" y="210"/>
                      </a:lnTo>
                      <a:lnTo>
                        <a:pt x="756" y="216"/>
                      </a:lnTo>
                      <a:close/>
                      <a:moveTo>
                        <a:pt x="834" y="132"/>
                      </a:moveTo>
                      <a:lnTo>
                        <a:pt x="822" y="132"/>
                      </a:lnTo>
                      <a:lnTo>
                        <a:pt x="816" y="120"/>
                      </a:lnTo>
                      <a:lnTo>
                        <a:pt x="804" y="108"/>
                      </a:lnTo>
                      <a:lnTo>
                        <a:pt x="792" y="102"/>
                      </a:lnTo>
                      <a:lnTo>
                        <a:pt x="786" y="90"/>
                      </a:lnTo>
                      <a:lnTo>
                        <a:pt x="774" y="78"/>
                      </a:lnTo>
                      <a:lnTo>
                        <a:pt x="768" y="78"/>
                      </a:lnTo>
                      <a:lnTo>
                        <a:pt x="762" y="72"/>
                      </a:lnTo>
                      <a:lnTo>
                        <a:pt x="756" y="72"/>
                      </a:lnTo>
                      <a:lnTo>
                        <a:pt x="732" y="36"/>
                      </a:lnTo>
                      <a:lnTo>
                        <a:pt x="720" y="84"/>
                      </a:lnTo>
                      <a:lnTo>
                        <a:pt x="762" y="96"/>
                      </a:lnTo>
                      <a:lnTo>
                        <a:pt x="816" y="150"/>
                      </a:lnTo>
                      <a:lnTo>
                        <a:pt x="828" y="150"/>
                      </a:lnTo>
                      <a:lnTo>
                        <a:pt x="834" y="156"/>
                      </a:lnTo>
                      <a:lnTo>
                        <a:pt x="846" y="162"/>
                      </a:lnTo>
                      <a:lnTo>
                        <a:pt x="852" y="174"/>
                      </a:lnTo>
                      <a:lnTo>
                        <a:pt x="852" y="180"/>
                      </a:lnTo>
                      <a:lnTo>
                        <a:pt x="858" y="192"/>
                      </a:lnTo>
                      <a:lnTo>
                        <a:pt x="852" y="204"/>
                      </a:lnTo>
                      <a:lnTo>
                        <a:pt x="852" y="240"/>
                      </a:lnTo>
                      <a:lnTo>
                        <a:pt x="858" y="252"/>
                      </a:lnTo>
                      <a:lnTo>
                        <a:pt x="864" y="258"/>
                      </a:lnTo>
                      <a:lnTo>
                        <a:pt x="882" y="258"/>
                      </a:lnTo>
                      <a:lnTo>
                        <a:pt x="894" y="246"/>
                      </a:lnTo>
                      <a:lnTo>
                        <a:pt x="900" y="234"/>
                      </a:lnTo>
                      <a:lnTo>
                        <a:pt x="900" y="222"/>
                      </a:lnTo>
                      <a:lnTo>
                        <a:pt x="888" y="186"/>
                      </a:lnTo>
                      <a:lnTo>
                        <a:pt x="876" y="174"/>
                      </a:lnTo>
                      <a:lnTo>
                        <a:pt x="864" y="156"/>
                      </a:lnTo>
                      <a:lnTo>
                        <a:pt x="852" y="150"/>
                      </a:lnTo>
                      <a:lnTo>
                        <a:pt x="846" y="138"/>
                      </a:lnTo>
                      <a:lnTo>
                        <a:pt x="834" y="132"/>
                      </a:lnTo>
                      <a:close/>
                      <a:moveTo>
                        <a:pt x="1086" y="360"/>
                      </a:moveTo>
                      <a:lnTo>
                        <a:pt x="1020" y="294"/>
                      </a:lnTo>
                      <a:lnTo>
                        <a:pt x="1020" y="288"/>
                      </a:lnTo>
                      <a:lnTo>
                        <a:pt x="1002" y="270"/>
                      </a:lnTo>
                      <a:lnTo>
                        <a:pt x="984" y="270"/>
                      </a:lnTo>
                      <a:lnTo>
                        <a:pt x="978" y="276"/>
                      </a:lnTo>
                      <a:lnTo>
                        <a:pt x="978" y="300"/>
                      </a:lnTo>
                      <a:lnTo>
                        <a:pt x="996" y="330"/>
                      </a:lnTo>
                      <a:lnTo>
                        <a:pt x="1020" y="378"/>
                      </a:lnTo>
                      <a:lnTo>
                        <a:pt x="1086" y="438"/>
                      </a:lnTo>
                      <a:lnTo>
                        <a:pt x="1086" y="360"/>
                      </a:lnTo>
                      <a:close/>
                      <a:moveTo>
                        <a:pt x="672" y="672"/>
                      </a:moveTo>
                      <a:lnTo>
                        <a:pt x="630" y="642"/>
                      </a:lnTo>
                      <a:lnTo>
                        <a:pt x="648" y="630"/>
                      </a:lnTo>
                      <a:lnTo>
                        <a:pt x="636" y="630"/>
                      </a:lnTo>
                      <a:lnTo>
                        <a:pt x="624" y="624"/>
                      </a:lnTo>
                      <a:lnTo>
                        <a:pt x="612" y="624"/>
                      </a:lnTo>
                      <a:lnTo>
                        <a:pt x="600" y="618"/>
                      </a:lnTo>
                      <a:lnTo>
                        <a:pt x="594" y="606"/>
                      </a:lnTo>
                      <a:lnTo>
                        <a:pt x="594" y="594"/>
                      </a:lnTo>
                      <a:lnTo>
                        <a:pt x="600" y="582"/>
                      </a:lnTo>
                      <a:lnTo>
                        <a:pt x="600" y="564"/>
                      </a:lnTo>
                      <a:lnTo>
                        <a:pt x="588" y="570"/>
                      </a:lnTo>
                      <a:lnTo>
                        <a:pt x="582" y="570"/>
                      </a:lnTo>
                      <a:lnTo>
                        <a:pt x="570" y="576"/>
                      </a:lnTo>
                      <a:lnTo>
                        <a:pt x="564" y="576"/>
                      </a:lnTo>
                      <a:lnTo>
                        <a:pt x="552" y="582"/>
                      </a:lnTo>
                      <a:lnTo>
                        <a:pt x="552" y="552"/>
                      </a:lnTo>
                      <a:lnTo>
                        <a:pt x="528" y="540"/>
                      </a:lnTo>
                      <a:lnTo>
                        <a:pt x="528" y="492"/>
                      </a:lnTo>
                      <a:lnTo>
                        <a:pt x="474" y="456"/>
                      </a:lnTo>
                      <a:lnTo>
                        <a:pt x="450" y="402"/>
                      </a:lnTo>
                      <a:lnTo>
                        <a:pt x="474" y="390"/>
                      </a:lnTo>
                      <a:lnTo>
                        <a:pt x="480" y="384"/>
                      </a:lnTo>
                      <a:lnTo>
                        <a:pt x="492" y="378"/>
                      </a:lnTo>
                      <a:lnTo>
                        <a:pt x="504" y="366"/>
                      </a:lnTo>
                      <a:lnTo>
                        <a:pt x="504" y="360"/>
                      </a:lnTo>
                      <a:lnTo>
                        <a:pt x="492" y="336"/>
                      </a:lnTo>
                      <a:lnTo>
                        <a:pt x="468" y="324"/>
                      </a:lnTo>
                      <a:lnTo>
                        <a:pt x="462" y="318"/>
                      </a:lnTo>
                      <a:lnTo>
                        <a:pt x="456" y="318"/>
                      </a:lnTo>
                      <a:lnTo>
                        <a:pt x="450" y="312"/>
                      </a:lnTo>
                      <a:lnTo>
                        <a:pt x="438" y="312"/>
                      </a:lnTo>
                      <a:lnTo>
                        <a:pt x="402" y="300"/>
                      </a:lnTo>
                      <a:lnTo>
                        <a:pt x="390" y="300"/>
                      </a:lnTo>
                      <a:lnTo>
                        <a:pt x="378" y="294"/>
                      </a:lnTo>
                      <a:lnTo>
                        <a:pt x="372" y="294"/>
                      </a:lnTo>
                      <a:lnTo>
                        <a:pt x="372" y="234"/>
                      </a:lnTo>
                      <a:lnTo>
                        <a:pt x="366" y="222"/>
                      </a:lnTo>
                      <a:lnTo>
                        <a:pt x="354" y="210"/>
                      </a:lnTo>
                      <a:lnTo>
                        <a:pt x="342" y="210"/>
                      </a:lnTo>
                      <a:lnTo>
                        <a:pt x="288" y="156"/>
                      </a:lnTo>
                      <a:lnTo>
                        <a:pt x="252" y="162"/>
                      </a:lnTo>
                      <a:lnTo>
                        <a:pt x="216" y="126"/>
                      </a:lnTo>
                      <a:lnTo>
                        <a:pt x="186" y="120"/>
                      </a:lnTo>
                      <a:lnTo>
                        <a:pt x="66" y="60"/>
                      </a:lnTo>
                      <a:lnTo>
                        <a:pt x="42" y="72"/>
                      </a:lnTo>
                      <a:lnTo>
                        <a:pt x="0" y="42"/>
                      </a:lnTo>
                      <a:lnTo>
                        <a:pt x="42" y="72"/>
                      </a:lnTo>
                      <a:lnTo>
                        <a:pt x="36" y="102"/>
                      </a:lnTo>
                      <a:lnTo>
                        <a:pt x="36" y="240"/>
                      </a:lnTo>
                      <a:lnTo>
                        <a:pt x="30" y="258"/>
                      </a:lnTo>
                      <a:lnTo>
                        <a:pt x="30" y="372"/>
                      </a:lnTo>
                      <a:lnTo>
                        <a:pt x="24" y="378"/>
                      </a:lnTo>
                      <a:lnTo>
                        <a:pt x="12" y="384"/>
                      </a:lnTo>
                      <a:lnTo>
                        <a:pt x="0" y="396"/>
                      </a:lnTo>
                      <a:lnTo>
                        <a:pt x="0" y="402"/>
                      </a:lnTo>
                      <a:lnTo>
                        <a:pt x="6" y="408"/>
                      </a:lnTo>
                      <a:lnTo>
                        <a:pt x="18" y="414"/>
                      </a:lnTo>
                      <a:lnTo>
                        <a:pt x="30" y="414"/>
                      </a:lnTo>
                      <a:lnTo>
                        <a:pt x="30" y="444"/>
                      </a:lnTo>
                      <a:lnTo>
                        <a:pt x="24" y="456"/>
                      </a:lnTo>
                      <a:lnTo>
                        <a:pt x="24" y="480"/>
                      </a:lnTo>
                      <a:lnTo>
                        <a:pt x="18" y="492"/>
                      </a:lnTo>
                      <a:lnTo>
                        <a:pt x="18" y="504"/>
                      </a:lnTo>
                      <a:lnTo>
                        <a:pt x="12" y="510"/>
                      </a:lnTo>
                      <a:lnTo>
                        <a:pt x="12" y="516"/>
                      </a:lnTo>
                      <a:lnTo>
                        <a:pt x="18" y="540"/>
                      </a:lnTo>
                      <a:lnTo>
                        <a:pt x="18" y="588"/>
                      </a:lnTo>
                      <a:lnTo>
                        <a:pt x="30" y="594"/>
                      </a:lnTo>
                      <a:lnTo>
                        <a:pt x="48" y="594"/>
                      </a:lnTo>
                      <a:lnTo>
                        <a:pt x="60" y="588"/>
                      </a:lnTo>
                      <a:lnTo>
                        <a:pt x="90" y="588"/>
                      </a:lnTo>
                      <a:lnTo>
                        <a:pt x="96" y="582"/>
                      </a:lnTo>
                      <a:lnTo>
                        <a:pt x="102" y="582"/>
                      </a:lnTo>
                      <a:lnTo>
                        <a:pt x="126" y="600"/>
                      </a:lnTo>
                      <a:lnTo>
                        <a:pt x="132" y="600"/>
                      </a:lnTo>
                      <a:lnTo>
                        <a:pt x="138" y="594"/>
                      </a:lnTo>
                      <a:lnTo>
                        <a:pt x="156" y="588"/>
                      </a:lnTo>
                      <a:lnTo>
                        <a:pt x="168" y="582"/>
                      </a:lnTo>
                      <a:lnTo>
                        <a:pt x="180" y="570"/>
                      </a:lnTo>
                      <a:lnTo>
                        <a:pt x="180" y="564"/>
                      </a:lnTo>
                      <a:lnTo>
                        <a:pt x="168" y="552"/>
                      </a:lnTo>
                      <a:lnTo>
                        <a:pt x="150" y="540"/>
                      </a:lnTo>
                      <a:lnTo>
                        <a:pt x="138" y="534"/>
                      </a:lnTo>
                      <a:lnTo>
                        <a:pt x="120" y="522"/>
                      </a:lnTo>
                      <a:lnTo>
                        <a:pt x="108" y="516"/>
                      </a:lnTo>
                      <a:lnTo>
                        <a:pt x="102" y="510"/>
                      </a:lnTo>
                      <a:lnTo>
                        <a:pt x="96" y="510"/>
                      </a:lnTo>
                      <a:lnTo>
                        <a:pt x="108" y="510"/>
                      </a:lnTo>
                      <a:lnTo>
                        <a:pt x="138" y="516"/>
                      </a:lnTo>
                      <a:lnTo>
                        <a:pt x="204" y="516"/>
                      </a:lnTo>
                      <a:lnTo>
                        <a:pt x="204" y="510"/>
                      </a:lnTo>
                      <a:lnTo>
                        <a:pt x="198" y="504"/>
                      </a:lnTo>
                      <a:lnTo>
                        <a:pt x="198" y="498"/>
                      </a:lnTo>
                      <a:lnTo>
                        <a:pt x="186" y="486"/>
                      </a:lnTo>
                      <a:lnTo>
                        <a:pt x="192" y="492"/>
                      </a:lnTo>
                      <a:lnTo>
                        <a:pt x="204" y="492"/>
                      </a:lnTo>
                      <a:lnTo>
                        <a:pt x="210" y="498"/>
                      </a:lnTo>
                      <a:lnTo>
                        <a:pt x="216" y="498"/>
                      </a:lnTo>
                      <a:lnTo>
                        <a:pt x="222" y="492"/>
                      </a:lnTo>
                      <a:lnTo>
                        <a:pt x="222" y="486"/>
                      </a:lnTo>
                      <a:lnTo>
                        <a:pt x="216" y="480"/>
                      </a:lnTo>
                      <a:lnTo>
                        <a:pt x="216" y="468"/>
                      </a:lnTo>
                      <a:lnTo>
                        <a:pt x="210" y="462"/>
                      </a:lnTo>
                      <a:lnTo>
                        <a:pt x="222" y="468"/>
                      </a:lnTo>
                      <a:lnTo>
                        <a:pt x="228" y="474"/>
                      </a:lnTo>
                      <a:lnTo>
                        <a:pt x="246" y="474"/>
                      </a:lnTo>
                      <a:lnTo>
                        <a:pt x="252" y="468"/>
                      </a:lnTo>
                      <a:lnTo>
                        <a:pt x="264" y="462"/>
                      </a:lnTo>
                      <a:lnTo>
                        <a:pt x="270" y="456"/>
                      </a:lnTo>
                      <a:lnTo>
                        <a:pt x="288" y="474"/>
                      </a:lnTo>
                      <a:lnTo>
                        <a:pt x="300" y="480"/>
                      </a:lnTo>
                      <a:lnTo>
                        <a:pt x="306" y="486"/>
                      </a:lnTo>
                      <a:lnTo>
                        <a:pt x="312" y="486"/>
                      </a:lnTo>
                      <a:lnTo>
                        <a:pt x="330" y="492"/>
                      </a:lnTo>
                      <a:lnTo>
                        <a:pt x="342" y="492"/>
                      </a:lnTo>
                      <a:lnTo>
                        <a:pt x="378" y="504"/>
                      </a:lnTo>
                      <a:lnTo>
                        <a:pt x="390" y="510"/>
                      </a:lnTo>
                      <a:lnTo>
                        <a:pt x="402" y="534"/>
                      </a:lnTo>
                      <a:lnTo>
                        <a:pt x="402" y="558"/>
                      </a:lnTo>
                      <a:lnTo>
                        <a:pt x="408" y="570"/>
                      </a:lnTo>
                      <a:lnTo>
                        <a:pt x="420" y="582"/>
                      </a:lnTo>
                      <a:lnTo>
                        <a:pt x="438" y="582"/>
                      </a:lnTo>
                      <a:lnTo>
                        <a:pt x="450" y="594"/>
                      </a:lnTo>
                      <a:lnTo>
                        <a:pt x="450" y="606"/>
                      </a:lnTo>
                      <a:lnTo>
                        <a:pt x="456" y="618"/>
                      </a:lnTo>
                      <a:lnTo>
                        <a:pt x="468" y="654"/>
                      </a:lnTo>
                      <a:lnTo>
                        <a:pt x="486" y="672"/>
                      </a:lnTo>
                      <a:lnTo>
                        <a:pt x="516" y="678"/>
                      </a:lnTo>
                      <a:lnTo>
                        <a:pt x="558" y="684"/>
                      </a:lnTo>
                      <a:lnTo>
                        <a:pt x="618" y="684"/>
                      </a:lnTo>
                      <a:lnTo>
                        <a:pt x="630" y="690"/>
                      </a:lnTo>
                      <a:lnTo>
                        <a:pt x="654" y="714"/>
                      </a:lnTo>
                      <a:lnTo>
                        <a:pt x="678" y="726"/>
                      </a:lnTo>
                      <a:lnTo>
                        <a:pt x="684" y="726"/>
                      </a:lnTo>
                      <a:lnTo>
                        <a:pt x="684" y="720"/>
                      </a:lnTo>
                      <a:lnTo>
                        <a:pt x="678" y="708"/>
                      </a:lnTo>
                      <a:lnTo>
                        <a:pt x="678" y="702"/>
                      </a:lnTo>
                      <a:lnTo>
                        <a:pt x="672" y="690"/>
                      </a:lnTo>
                      <a:lnTo>
                        <a:pt x="666" y="684"/>
                      </a:lnTo>
                      <a:lnTo>
                        <a:pt x="672" y="672"/>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571" name="Panama"/>
                <p:cNvSpPr>
                  <a:spLocks/>
                </p:cNvSpPr>
                <p:nvPr/>
              </p:nvSpPr>
              <p:spPr bwMode="gray">
                <a:xfrm>
                  <a:off x="1147" y="2112"/>
                  <a:ext cx="104" cy="50"/>
                </a:xfrm>
                <a:custGeom>
                  <a:avLst/>
                  <a:gdLst>
                    <a:gd name="T0" fmla="*/ 2147483647 w 408"/>
                    <a:gd name="T1" fmla="*/ 2147483647 h 198"/>
                    <a:gd name="T2" fmla="*/ 2147483647 w 408"/>
                    <a:gd name="T3" fmla="*/ 2147483647 h 198"/>
                    <a:gd name="T4" fmla="*/ 2147483647 w 408"/>
                    <a:gd name="T5" fmla="*/ 2147483647 h 198"/>
                    <a:gd name="T6" fmla="*/ 2147483647 w 408"/>
                    <a:gd name="T7" fmla="*/ 2147483647 h 198"/>
                    <a:gd name="T8" fmla="*/ 2147483647 w 408"/>
                    <a:gd name="T9" fmla="*/ 2147483647 h 198"/>
                    <a:gd name="T10" fmla="*/ 2147483647 w 408"/>
                    <a:gd name="T11" fmla="*/ 2147483647 h 198"/>
                    <a:gd name="T12" fmla="*/ 2147483647 w 408"/>
                    <a:gd name="T13" fmla="*/ 2147483647 h 198"/>
                    <a:gd name="T14" fmla="*/ 2147483647 w 408"/>
                    <a:gd name="T15" fmla="*/ 2147483647 h 198"/>
                    <a:gd name="T16" fmla="*/ 2147483647 w 408"/>
                    <a:gd name="T17" fmla="*/ 2147483647 h 198"/>
                    <a:gd name="T18" fmla="*/ 2147483647 w 408"/>
                    <a:gd name="T19" fmla="*/ 2147483647 h 198"/>
                    <a:gd name="T20" fmla="*/ 2147483647 w 408"/>
                    <a:gd name="T21" fmla="*/ 2147483647 h 198"/>
                    <a:gd name="T22" fmla="*/ 2147483647 w 408"/>
                    <a:gd name="T23" fmla="*/ 2147483647 h 198"/>
                    <a:gd name="T24" fmla="*/ 2147483647 w 408"/>
                    <a:gd name="T25" fmla="*/ 2147483647 h 198"/>
                    <a:gd name="T26" fmla="*/ 2147483647 w 408"/>
                    <a:gd name="T27" fmla="*/ 2147483647 h 198"/>
                    <a:gd name="T28" fmla="*/ 2147483647 w 408"/>
                    <a:gd name="T29" fmla="*/ 2147483647 h 198"/>
                    <a:gd name="T30" fmla="*/ 2147483647 w 408"/>
                    <a:gd name="T31" fmla="*/ 2147483647 h 198"/>
                    <a:gd name="T32" fmla="*/ 2147483647 w 408"/>
                    <a:gd name="T33" fmla="*/ 0 h 198"/>
                    <a:gd name="T34" fmla="*/ 2147483647 w 408"/>
                    <a:gd name="T35" fmla="*/ 2147483647 h 198"/>
                    <a:gd name="T36" fmla="*/ 2147483647 w 408"/>
                    <a:gd name="T37" fmla="*/ 2147483647 h 198"/>
                    <a:gd name="T38" fmla="*/ 2147483647 w 408"/>
                    <a:gd name="T39" fmla="*/ 2147483647 h 198"/>
                    <a:gd name="T40" fmla="*/ 2147483647 w 408"/>
                    <a:gd name="T41" fmla="*/ 2147483647 h 198"/>
                    <a:gd name="T42" fmla="*/ 2147483647 w 408"/>
                    <a:gd name="T43" fmla="*/ 2147483647 h 198"/>
                    <a:gd name="T44" fmla="*/ 2147483647 w 408"/>
                    <a:gd name="T45" fmla="*/ 2147483647 h 198"/>
                    <a:gd name="T46" fmla="*/ 2147483647 w 408"/>
                    <a:gd name="T47" fmla="*/ 2147483647 h 198"/>
                    <a:gd name="T48" fmla="*/ 2147483647 w 408"/>
                    <a:gd name="T49" fmla="*/ 2147483647 h 198"/>
                    <a:gd name="T50" fmla="*/ 2147483647 w 408"/>
                    <a:gd name="T51" fmla="*/ 2147483647 h 198"/>
                    <a:gd name="T52" fmla="*/ 2147483647 w 408"/>
                    <a:gd name="T53" fmla="*/ 2147483647 h 198"/>
                    <a:gd name="T54" fmla="*/ 2147483647 w 408"/>
                    <a:gd name="T55" fmla="*/ 2147483647 h 198"/>
                    <a:gd name="T56" fmla="*/ 0 w 408"/>
                    <a:gd name="T57" fmla="*/ 2147483647 h 198"/>
                    <a:gd name="T58" fmla="*/ 2147483647 w 408"/>
                    <a:gd name="T59" fmla="*/ 2147483647 h 198"/>
                    <a:gd name="T60" fmla="*/ 2147483647 w 408"/>
                    <a:gd name="T61" fmla="*/ 2147483647 h 198"/>
                    <a:gd name="T62" fmla="*/ 2147483647 w 408"/>
                    <a:gd name="T63" fmla="*/ 2147483647 h 198"/>
                    <a:gd name="T64" fmla="*/ 0 w 408"/>
                    <a:gd name="T65" fmla="*/ 2147483647 h 198"/>
                    <a:gd name="T66" fmla="*/ 2147483647 w 408"/>
                    <a:gd name="T67" fmla="*/ 2147483647 h 198"/>
                    <a:gd name="T68" fmla="*/ 2147483647 w 408"/>
                    <a:gd name="T69" fmla="*/ 2147483647 h 198"/>
                    <a:gd name="T70" fmla="*/ 2147483647 w 408"/>
                    <a:gd name="T71" fmla="*/ 2147483647 h 198"/>
                    <a:gd name="T72" fmla="*/ 2147483647 w 408"/>
                    <a:gd name="T73" fmla="*/ 2147483647 h 198"/>
                    <a:gd name="T74" fmla="*/ 2147483647 w 408"/>
                    <a:gd name="T75" fmla="*/ 2147483647 h 198"/>
                    <a:gd name="T76" fmla="*/ 2147483647 w 408"/>
                    <a:gd name="T77" fmla="*/ 2147483647 h 198"/>
                    <a:gd name="T78" fmla="*/ 2147483647 w 408"/>
                    <a:gd name="T79" fmla="*/ 2147483647 h 198"/>
                    <a:gd name="T80" fmla="*/ 2147483647 w 408"/>
                    <a:gd name="T81" fmla="*/ 2147483647 h 198"/>
                    <a:gd name="T82" fmla="*/ 2147483647 w 408"/>
                    <a:gd name="T83" fmla="*/ 2147483647 h 198"/>
                    <a:gd name="T84" fmla="*/ 2147483647 w 408"/>
                    <a:gd name="T85" fmla="*/ 2147483647 h 198"/>
                    <a:gd name="T86" fmla="*/ 2147483647 w 408"/>
                    <a:gd name="T87" fmla="*/ 2147483647 h 198"/>
                    <a:gd name="T88" fmla="*/ 2147483647 w 408"/>
                    <a:gd name="T89" fmla="*/ 2147483647 h 198"/>
                    <a:gd name="T90" fmla="*/ 2147483647 w 408"/>
                    <a:gd name="T91" fmla="*/ 2147483647 h 198"/>
                    <a:gd name="T92" fmla="*/ 2147483647 w 408"/>
                    <a:gd name="T93" fmla="*/ 2147483647 h 198"/>
                    <a:gd name="T94" fmla="*/ 2147483647 w 408"/>
                    <a:gd name="T95" fmla="*/ 2147483647 h 198"/>
                    <a:gd name="T96" fmla="*/ 2147483647 w 408"/>
                    <a:gd name="T97" fmla="*/ 2147483647 h 198"/>
                    <a:gd name="T98" fmla="*/ 2147483647 w 408"/>
                    <a:gd name="T99" fmla="*/ 2147483647 h 198"/>
                    <a:gd name="T100" fmla="*/ 2147483647 w 408"/>
                    <a:gd name="T101" fmla="*/ 2147483647 h 19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08"/>
                    <a:gd name="T154" fmla="*/ 0 h 198"/>
                    <a:gd name="T155" fmla="*/ 408 w 408"/>
                    <a:gd name="T156" fmla="*/ 198 h 198"/>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08" h="198">
                      <a:moveTo>
                        <a:pt x="306" y="66"/>
                      </a:moveTo>
                      <a:lnTo>
                        <a:pt x="318" y="78"/>
                      </a:lnTo>
                      <a:lnTo>
                        <a:pt x="324" y="90"/>
                      </a:lnTo>
                      <a:lnTo>
                        <a:pt x="330" y="96"/>
                      </a:lnTo>
                      <a:lnTo>
                        <a:pt x="342" y="90"/>
                      </a:lnTo>
                      <a:lnTo>
                        <a:pt x="372" y="120"/>
                      </a:lnTo>
                      <a:lnTo>
                        <a:pt x="342" y="102"/>
                      </a:lnTo>
                      <a:lnTo>
                        <a:pt x="342" y="120"/>
                      </a:lnTo>
                      <a:lnTo>
                        <a:pt x="336" y="132"/>
                      </a:lnTo>
                      <a:lnTo>
                        <a:pt x="336" y="162"/>
                      </a:lnTo>
                      <a:lnTo>
                        <a:pt x="342" y="168"/>
                      </a:lnTo>
                      <a:lnTo>
                        <a:pt x="348" y="180"/>
                      </a:lnTo>
                      <a:lnTo>
                        <a:pt x="354" y="186"/>
                      </a:lnTo>
                      <a:lnTo>
                        <a:pt x="360" y="186"/>
                      </a:lnTo>
                      <a:lnTo>
                        <a:pt x="372" y="156"/>
                      </a:lnTo>
                      <a:lnTo>
                        <a:pt x="378" y="162"/>
                      </a:lnTo>
                      <a:lnTo>
                        <a:pt x="390" y="168"/>
                      </a:lnTo>
                      <a:lnTo>
                        <a:pt x="396" y="162"/>
                      </a:lnTo>
                      <a:lnTo>
                        <a:pt x="408" y="138"/>
                      </a:lnTo>
                      <a:lnTo>
                        <a:pt x="408" y="126"/>
                      </a:lnTo>
                      <a:lnTo>
                        <a:pt x="396" y="120"/>
                      </a:lnTo>
                      <a:lnTo>
                        <a:pt x="390" y="108"/>
                      </a:lnTo>
                      <a:lnTo>
                        <a:pt x="390" y="90"/>
                      </a:lnTo>
                      <a:lnTo>
                        <a:pt x="396" y="84"/>
                      </a:lnTo>
                      <a:lnTo>
                        <a:pt x="372" y="66"/>
                      </a:lnTo>
                      <a:lnTo>
                        <a:pt x="372" y="60"/>
                      </a:lnTo>
                      <a:lnTo>
                        <a:pt x="366" y="54"/>
                      </a:lnTo>
                      <a:lnTo>
                        <a:pt x="366" y="42"/>
                      </a:lnTo>
                      <a:lnTo>
                        <a:pt x="360" y="30"/>
                      </a:lnTo>
                      <a:lnTo>
                        <a:pt x="348" y="24"/>
                      </a:lnTo>
                      <a:lnTo>
                        <a:pt x="330" y="18"/>
                      </a:lnTo>
                      <a:lnTo>
                        <a:pt x="288" y="18"/>
                      </a:lnTo>
                      <a:lnTo>
                        <a:pt x="282" y="0"/>
                      </a:lnTo>
                      <a:lnTo>
                        <a:pt x="246" y="0"/>
                      </a:lnTo>
                      <a:lnTo>
                        <a:pt x="234" y="6"/>
                      </a:lnTo>
                      <a:lnTo>
                        <a:pt x="228" y="12"/>
                      </a:lnTo>
                      <a:lnTo>
                        <a:pt x="222" y="24"/>
                      </a:lnTo>
                      <a:lnTo>
                        <a:pt x="210" y="36"/>
                      </a:lnTo>
                      <a:lnTo>
                        <a:pt x="204" y="36"/>
                      </a:lnTo>
                      <a:lnTo>
                        <a:pt x="198" y="30"/>
                      </a:lnTo>
                      <a:lnTo>
                        <a:pt x="192" y="30"/>
                      </a:lnTo>
                      <a:lnTo>
                        <a:pt x="168" y="42"/>
                      </a:lnTo>
                      <a:lnTo>
                        <a:pt x="144" y="66"/>
                      </a:lnTo>
                      <a:lnTo>
                        <a:pt x="132" y="72"/>
                      </a:lnTo>
                      <a:lnTo>
                        <a:pt x="120" y="72"/>
                      </a:lnTo>
                      <a:lnTo>
                        <a:pt x="114" y="66"/>
                      </a:lnTo>
                      <a:lnTo>
                        <a:pt x="102" y="60"/>
                      </a:lnTo>
                      <a:lnTo>
                        <a:pt x="90" y="42"/>
                      </a:lnTo>
                      <a:lnTo>
                        <a:pt x="78" y="54"/>
                      </a:lnTo>
                      <a:lnTo>
                        <a:pt x="60" y="54"/>
                      </a:lnTo>
                      <a:lnTo>
                        <a:pt x="48" y="42"/>
                      </a:lnTo>
                      <a:lnTo>
                        <a:pt x="48" y="18"/>
                      </a:lnTo>
                      <a:lnTo>
                        <a:pt x="36" y="6"/>
                      </a:lnTo>
                      <a:lnTo>
                        <a:pt x="24" y="6"/>
                      </a:lnTo>
                      <a:lnTo>
                        <a:pt x="18" y="12"/>
                      </a:lnTo>
                      <a:lnTo>
                        <a:pt x="6" y="12"/>
                      </a:lnTo>
                      <a:lnTo>
                        <a:pt x="0" y="18"/>
                      </a:lnTo>
                      <a:lnTo>
                        <a:pt x="0" y="36"/>
                      </a:lnTo>
                      <a:lnTo>
                        <a:pt x="6" y="42"/>
                      </a:lnTo>
                      <a:lnTo>
                        <a:pt x="6" y="48"/>
                      </a:lnTo>
                      <a:lnTo>
                        <a:pt x="24" y="48"/>
                      </a:lnTo>
                      <a:lnTo>
                        <a:pt x="30" y="54"/>
                      </a:lnTo>
                      <a:lnTo>
                        <a:pt x="12" y="72"/>
                      </a:lnTo>
                      <a:lnTo>
                        <a:pt x="6" y="72"/>
                      </a:lnTo>
                      <a:lnTo>
                        <a:pt x="6" y="96"/>
                      </a:lnTo>
                      <a:lnTo>
                        <a:pt x="0" y="102"/>
                      </a:lnTo>
                      <a:lnTo>
                        <a:pt x="6" y="108"/>
                      </a:lnTo>
                      <a:lnTo>
                        <a:pt x="48" y="102"/>
                      </a:lnTo>
                      <a:lnTo>
                        <a:pt x="60" y="120"/>
                      </a:lnTo>
                      <a:lnTo>
                        <a:pt x="90" y="114"/>
                      </a:lnTo>
                      <a:lnTo>
                        <a:pt x="90" y="126"/>
                      </a:lnTo>
                      <a:lnTo>
                        <a:pt x="84" y="132"/>
                      </a:lnTo>
                      <a:lnTo>
                        <a:pt x="84" y="150"/>
                      </a:lnTo>
                      <a:lnTo>
                        <a:pt x="90" y="156"/>
                      </a:lnTo>
                      <a:lnTo>
                        <a:pt x="108" y="156"/>
                      </a:lnTo>
                      <a:lnTo>
                        <a:pt x="114" y="150"/>
                      </a:lnTo>
                      <a:lnTo>
                        <a:pt x="120" y="150"/>
                      </a:lnTo>
                      <a:lnTo>
                        <a:pt x="120" y="132"/>
                      </a:lnTo>
                      <a:lnTo>
                        <a:pt x="138" y="126"/>
                      </a:lnTo>
                      <a:lnTo>
                        <a:pt x="138" y="150"/>
                      </a:lnTo>
                      <a:lnTo>
                        <a:pt x="144" y="168"/>
                      </a:lnTo>
                      <a:lnTo>
                        <a:pt x="144" y="180"/>
                      </a:lnTo>
                      <a:lnTo>
                        <a:pt x="150" y="192"/>
                      </a:lnTo>
                      <a:lnTo>
                        <a:pt x="156" y="198"/>
                      </a:lnTo>
                      <a:lnTo>
                        <a:pt x="162" y="198"/>
                      </a:lnTo>
                      <a:lnTo>
                        <a:pt x="180" y="192"/>
                      </a:lnTo>
                      <a:lnTo>
                        <a:pt x="198" y="174"/>
                      </a:lnTo>
                      <a:lnTo>
                        <a:pt x="204" y="174"/>
                      </a:lnTo>
                      <a:lnTo>
                        <a:pt x="198" y="168"/>
                      </a:lnTo>
                      <a:lnTo>
                        <a:pt x="186" y="162"/>
                      </a:lnTo>
                      <a:lnTo>
                        <a:pt x="180" y="150"/>
                      </a:lnTo>
                      <a:lnTo>
                        <a:pt x="174" y="144"/>
                      </a:lnTo>
                      <a:lnTo>
                        <a:pt x="168" y="132"/>
                      </a:lnTo>
                      <a:lnTo>
                        <a:pt x="162" y="126"/>
                      </a:lnTo>
                      <a:lnTo>
                        <a:pt x="186" y="102"/>
                      </a:lnTo>
                      <a:lnTo>
                        <a:pt x="222" y="84"/>
                      </a:lnTo>
                      <a:lnTo>
                        <a:pt x="228" y="72"/>
                      </a:lnTo>
                      <a:lnTo>
                        <a:pt x="246" y="54"/>
                      </a:lnTo>
                      <a:lnTo>
                        <a:pt x="258" y="48"/>
                      </a:lnTo>
                      <a:lnTo>
                        <a:pt x="276" y="54"/>
                      </a:lnTo>
                      <a:lnTo>
                        <a:pt x="288" y="60"/>
                      </a:lnTo>
                      <a:lnTo>
                        <a:pt x="306" y="66"/>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572" name="Pakistan"/>
                <p:cNvSpPr>
                  <a:spLocks/>
                </p:cNvSpPr>
                <p:nvPr/>
              </p:nvSpPr>
              <p:spPr bwMode="gray">
                <a:xfrm>
                  <a:off x="3726" y="1547"/>
                  <a:ext cx="269" cy="270"/>
                </a:xfrm>
                <a:custGeom>
                  <a:avLst/>
                  <a:gdLst>
                    <a:gd name="T0" fmla="*/ 2147483647 w 1050"/>
                    <a:gd name="T1" fmla="*/ 2147483647 h 1056"/>
                    <a:gd name="T2" fmla="*/ 2147483647 w 1050"/>
                    <a:gd name="T3" fmla="*/ 2147483647 h 1056"/>
                    <a:gd name="T4" fmla="*/ 2147483647 w 1050"/>
                    <a:gd name="T5" fmla="*/ 2147483647 h 1056"/>
                    <a:gd name="T6" fmla="*/ 2147483647 w 1050"/>
                    <a:gd name="T7" fmla="*/ 2147483647 h 1056"/>
                    <a:gd name="T8" fmla="*/ 2147483647 w 1050"/>
                    <a:gd name="T9" fmla="*/ 2147483647 h 1056"/>
                    <a:gd name="T10" fmla="*/ 2147483647 w 1050"/>
                    <a:gd name="T11" fmla="*/ 2147483647 h 1056"/>
                    <a:gd name="T12" fmla="*/ 2147483647 w 1050"/>
                    <a:gd name="T13" fmla="*/ 2147483647 h 1056"/>
                    <a:gd name="T14" fmla="*/ 2147483647 w 1050"/>
                    <a:gd name="T15" fmla="*/ 2147483647 h 1056"/>
                    <a:gd name="T16" fmla="*/ 2147483647 w 1050"/>
                    <a:gd name="T17" fmla="*/ 2147483647 h 1056"/>
                    <a:gd name="T18" fmla="*/ 2147483647 w 1050"/>
                    <a:gd name="T19" fmla="*/ 2147483647 h 1056"/>
                    <a:gd name="T20" fmla="*/ 2147483647 w 1050"/>
                    <a:gd name="T21" fmla="*/ 2147483647 h 1056"/>
                    <a:gd name="T22" fmla="*/ 2147483647 w 1050"/>
                    <a:gd name="T23" fmla="*/ 2147483647 h 1056"/>
                    <a:gd name="T24" fmla="*/ 2147483647 w 1050"/>
                    <a:gd name="T25" fmla="*/ 2147483647 h 1056"/>
                    <a:gd name="T26" fmla="*/ 2147483647 w 1050"/>
                    <a:gd name="T27" fmla="*/ 2147483647 h 1056"/>
                    <a:gd name="T28" fmla="*/ 2147483647 w 1050"/>
                    <a:gd name="T29" fmla="*/ 2147483647 h 1056"/>
                    <a:gd name="T30" fmla="*/ 2147483647 w 1050"/>
                    <a:gd name="T31" fmla="*/ 2147483647 h 1056"/>
                    <a:gd name="T32" fmla="*/ 2147483647 w 1050"/>
                    <a:gd name="T33" fmla="*/ 2147483647 h 1056"/>
                    <a:gd name="T34" fmla="*/ 2147483647 w 1050"/>
                    <a:gd name="T35" fmla="*/ 2147483647 h 1056"/>
                    <a:gd name="T36" fmla="*/ 2147483647 w 1050"/>
                    <a:gd name="T37" fmla="*/ 2147483647 h 1056"/>
                    <a:gd name="T38" fmla="*/ 2147483647 w 1050"/>
                    <a:gd name="T39" fmla="*/ 2147483647 h 1056"/>
                    <a:gd name="T40" fmla="*/ 2147483647 w 1050"/>
                    <a:gd name="T41" fmla="*/ 2147483647 h 1056"/>
                    <a:gd name="T42" fmla="*/ 2147483647 w 1050"/>
                    <a:gd name="T43" fmla="*/ 2147483647 h 1056"/>
                    <a:gd name="T44" fmla="*/ 0 w 1050"/>
                    <a:gd name="T45" fmla="*/ 2147483647 h 1056"/>
                    <a:gd name="T46" fmla="*/ 2147483647 w 1050"/>
                    <a:gd name="T47" fmla="*/ 2147483647 h 1056"/>
                    <a:gd name="T48" fmla="*/ 2147483647 w 1050"/>
                    <a:gd name="T49" fmla="*/ 2147483647 h 1056"/>
                    <a:gd name="T50" fmla="*/ 2147483647 w 1050"/>
                    <a:gd name="T51" fmla="*/ 2147483647 h 1056"/>
                    <a:gd name="T52" fmla="*/ 2147483647 w 1050"/>
                    <a:gd name="T53" fmla="*/ 2147483647 h 1056"/>
                    <a:gd name="T54" fmla="*/ 2147483647 w 1050"/>
                    <a:gd name="T55" fmla="*/ 2147483647 h 1056"/>
                    <a:gd name="T56" fmla="*/ 2147483647 w 1050"/>
                    <a:gd name="T57" fmla="*/ 2147483647 h 1056"/>
                    <a:gd name="T58" fmla="*/ 2147483647 w 1050"/>
                    <a:gd name="T59" fmla="*/ 2147483647 h 1056"/>
                    <a:gd name="T60" fmla="*/ 2147483647 w 1050"/>
                    <a:gd name="T61" fmla="*/ 2147483647 h 1056"/>
                    <a:gd name="T62" fmla="*/ 2147483647 w 1050"/>
                    <a:gd name="T63" fmla="*/ 2147483647 h 1056"/>
                    <a:gd name="T64" fmla="*/ 2147483647 w 1050"/>
                    <a:gd name="T65" fmla="*/ 2147483647 h 1056"/>
                    <a:gd name="T66" fmla="*/ 2147483647 w 1050"/>
                    <a:gd name="T67" fmla="*/ 2147483647 h 1056"/>
                    <a:gd name="T68" fmla="*/ 2147483647 w 1050"/>
                    <a:gd name="T69" fmla="*/ 2147483647 h 1056"/>
                    <a:gd name="T70" fmla="*/ 2147483647 w 1050"/>
                    <a:gd name="T71" fmla="*/ 2147483647 h 1056"/>
                    <a:gd name="T72" fmla="*/ 2147483647 w 1050"/>
                    <a:gd name="T73" fmla="*/ 2147483647 h 1056"/>
                    <a:gd name="T74" fmla="*/ 2147483647 w 1050"/>
                    <a:gd name="T75" fmla="*/ 2147483647 h 1056"/>
                    <a:gd name="T76" fmla="*/ 2147483647 w 1050"/>
                    <a:gd name="T77" fmla="*/ 2147483647 h 1056"/>
                    <a:gd name="T78" fmla="*/ 2147483647 w 1050"/>
                    <a:gd name="T79" fmla="*/ 2147483647 h 1056"/>
                    <a:gd name="T80" fmla="*/ 2147483647 w 1050"/>
                    <a:gd name="T81" fmla="*/ 2147483647 h 1056"/>
                    <a:gd name="T82" fmla="*/ 2147483647 w 1050"/>
                    <a:gd name="T83" fmla="*/ 2147483647 h 1056"/>
                    <a:gd name="T84" fmla="*/ 2147483647 w 1050"/>
                    <a:gd name="T85" fmla="*/ 2147483647 h 1056"/>
                    <a:gd name="T86" fmla="*/ 2147483647 w 1050"/>
                    <a:gd name="T87" fmla="*/ 2147483647 h 1056"/>
                    <a:gd name="T88" fmla="*/ 2147483647 w 1050"/>
                    <a:gd name="T89" fmla="*/ 2147483647 h 1056"/>
                    <a:gd name="T90" fmla="*/ 2147483647 w 1050"/>
                    <a:gd name="T91" fmla="*/ 2147483647 h 1056"/>
                    <a:gd name="T92" fmla="*/ 2147483647 w 1050"/>
                    <a:gd name="T93" fmla="*/ 2147483647 h 1056"/>
                    <a:gd name="T94" fmla="*/ 2147483647 w 1050"/>
                    <a:gd name="T95" fmla="*/ 2147483647 h 1056"/>
                    <a:gd name="T96" fmla="*/ 2147483647 w 1050"/>
                    <a:gd name="T97" fmla="*/ 2147483647 h 1056"/>
                    <a:gd name="T98" fmla="*/ 2147483647 w 1050"/>
                    <a:gd name="T99" fmla="*/ 2147483647 h 1056"/>
                    <a:gd name="T100" fmla="*/ 2147483647 w 1050"/>
                    <a:gd name="T101" fmla="*/ 2147483647 h 1056"/>
                    <a:gd name="T102" fmla="*/ 2147483647 w 1050"/>
                    <a:gd name="T103" fmla="*/ 2147483647 h 1056"/>
                    <a:gd name="T104" fmla="*/ 2147483647 w 1050"/>
                    <a:gd name="T105" fmla="*/ 2147483647 h 1056"/>
                    <a:gd name="T106" fmla="*/ 2147483647 w 1050"/>
                    <a:gd name="T107" fmla="*/ 2147483647 h 1056"/>
                    <a:gd name="T108" fmla="*/ 2147483647 w 1050"/>
                    <a:gd name="T109" fmla="*/ 2147483647 h 1056"/>
                    <a:gd name="T110" fmla="*/ 2147483647 w 1050"/>
                    <a:gd name="T111" fmla="*/ 2147483647 h 1056"/>
                    <a:gd name="T112" fmla="*/ 2147483647 w 1050"/>
                    <a:gd name="T113" fmla="*/ 2147483647 h 1056"/>
                    <a:gd name="T114" fmla="*/ 2147483647 w 1050"/>
                    <a:gd name="T115" fmla="*/ 2147483647 h 1056"/>
                    <a:gd name="T116" fmla="*/ 2147483647 w 1050"/>
                    <a:gd name="T117" fmla="*/ 2147483647 h 1056"/>
                    <a:gd name="T118" fmla="*/ 2147483647 w 1050"/>
                    <a:gd name="T119" fmla="*/ 2147483647 h 1056"/>
                    <a:gd name="T120" fmla="*/ 2147483647 w 1050"/>
                    <a:gd name="T121" fmla="*/ 2147483647 h 1056"/>
                    <a:gd name="T122" fmla="*/ 2147483647 w 1050"/>
                    <a:gd name="T123" fmla="*/ 2147483647 h 105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050"/>
                    <a:gd name="T187" fmla="*/ 0 h 1056"/>
                    <a:gd name="T188" fmla="*/ 1050 w 1050"/>
                    <a:gd name="T189" fmla="*/ 1056 h 105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050" h="1056">
                      <a:moveTo>
                        <a:pt x="1008" y="120"/>
                      </a:moveTo>
                      <a:lnTo>
                        <a:pt x="996" y="120"/>
                      </a:lnTo>
                      <a:lnTo>
                        <a:pt x="984" y="114"/>
                      </a:lnTo>
                      <a:lnTo>
                        <a:pt x="978" y="102"/>
                      </a:lnTo>
                      <a:lnTo>
                        <a:pt x="972" y="96"/>
                      </a:lnTo>
                      <a:lnTo>
                        <a:pt x="972" y="90"/>
                      </a:lnTo>
                      <a:lnTo>
                        <a:pt x="960" y="96"/>
                      </a:lnTo>
                      <a:lnTo>
                        <a:pt x="924" y="84"/>
                      </a:lnTo>
                      <a:lnTo>
                        <a:pt x="924" y="60"/>
                      </a:lnTo>
                      <a:lnTo>
                        <a:pt x="912" y="36"/>
                      </a:lnTo>
                      <a:lnTo>
                        <a:pt x="900" y="24"/>
                      </a:lnTo>
                      <a:lnTo>
                        <a:pt x="888" y="18"/>
                      </a:lnTo>
                      <a:lnTo>
                        <a:pt x="876" y="18"/>
                      </a:lnTo>
                      <a:lnTo>
                        <a:pt x="870" y="6"/>
                      </a:lnTo>
                      <a:lnTo>
                        <a:pt x="822" y="6"/>
                      </a:lnTo>
                      <a:lnTo>
                        <a:pt x="810" y="0"/>
                      </a:lnTo>
                      <a:lnTo>
                        <a:pt x="804" y="6"/>
                      </a:lnTo>
                      <a:lnTo>
                        <a:pt x="792" y="6"/>
                      </a:lnTo>
                      <a:lnTo>
                        <a:pt x="786" y="12"/>
                      </a:lnTo>
                      <a:lnTo>
                        <a:pt x="774" y="12"/>
                      </a:lnTo>
                      <a:lnTo>
                        <a:pt x="762" y="6"/>
                      </a:lnTo>
                      <a:lnTo>
                        <a:pt x="738" y="6"/>
                      </a:lnTo>
                      <a:lnTo>
                        <a:pt x="732" y="12"/>
                      </a:lnTo>
                      <a:lnTo>
                        <a:pt x="690" y="12"/>
                      </a:lnTo>
                      <a:lnTo>
                        <a:pt x="684" y="18"/>
                      </a:lnTo>
                      <a:lnTo>
                        <a:pt x="678" y="18"/>
                      </a:lnTo>
                      <a:lnTo>
                        <a:pt x="654" y="30"/>
                      </a:lnTo>
                      <a:lnTo>
                        <a:pt x="648" y="36"/>
                      </a:lnTo>
                      <a:lnTo>
                        <a:pt x="624" y="48"/>
                      </a:lnTo>
                      <a:lnTo>
                        <a:pt x="618" y="54"/>
                      </a:lnTo>
                      <a:lnTo>
                        <a:pt x="612" y="66"/>
                      </a:lnTo>
                      <a:lnTo>
                        <a:pt x="606" y="72"/>
                      </a:lnTo>
                      <a:lnTo>
                        <a:pt x="606" y="78"/>
                      </a:lnTo>
                      <a:lnTo>
                        <a:pt x="636" y="108"/>
                      </a:lnTo>
                      <a:lnTo>
                        <a:pt x="636" y="138"/>
                      </a:lnTo>
                      <a:lnTo>
                        <a:pt x="642" y="144"/>
                      </a:lnTo>
                      <a:lnTo>
                        <a:pt x="648" y="156"/>
                      </a:lnTo>
                      <a:lnTo>
                        <a:pt x="648" y="162"/>
                      </a:lnTo>
                      <a:lnTo>
                        <a:pt x="624" y="186"/>
                      </a:lnTo>
                      <a:lnTo>
                        <a:pt x="618" y="198"/>
                      </a:lnTo>
                      <a:lnTo>
                        <a:pt x="618" y="210"/>
                      </a:lnTo>
                      <a:lnTo>
                        <a:pt x="624" y="216"/>
                      </a:lnTo>
                      <a:lnTo>
                        <a:pt x="624" y="246"/>
                      </a:lnTo>
                      <a:lnTo>
                        <a:pt x="606" y="246"/>
                      </a:lnTo>
                      <a:lnTo>
                        <a:pt x="600" y="252"/>
                      </a:lnTo>
                      <a:lnTo>
                        <a:pt x="594" y="252"/>
                      </a:lnTo>
                      <a:lnTo>
                        <a:pt x="576" y="246"/>
                      </a:lnTo>
                      <a:lnTo>
                        <a:pt x="570" y="240"/>
                      </a:lnTo>
                      <a:lnTo>
                        <a:pt x="552" y="240"/>
                      </a:lnTo>
                      <a:lnTo>
                        <a:pt x="552" y="252"/>
                      </a:lnTo>
                      <a:lnTo>
                        <a:pt x="564" y="264"/>
                      </a:lnTo>
                      <a:lnTo>
                        <a:pt x="576" y="270"/>
                      </a:lnTo>
                      <a:lnTo>
                        <a:pt x="576" y="276"/>
                      </a:lnTo>
                      <a:lnTo>
                        <a:pt x="582" y="282"/>
                      </a:lnTo>
                      <a:lnTo>
                        <a:pt x="582" y="288"/>
                      </a:lnTo>
                      <a:lnTo>
                        <a:pt x="594" y="294"/>
                      </a:lnTo>
                      <a:lnTo>
                        <a:pt x="600" y="294"/>
                      </a:lnTo>
                      <a:lnTo>
                        <a:pt x="570" y="312"/>
                      </a:lnTo>
                      <a:lnTo>
                        <a:pt x="552" y="312"/>
                      </a:lnTo>
                      <a:lnTo>
                        <a:pt x="546" y="318"/>
                      </a:lnTo>
                      <a:lnTo>
                        <a:pt x="546" y="354"/>
                      </a:lnTo>
                      <a:lnTo>
                        <a:pt x="540" y="354"/>
                      </a:lnTo>
                      <a:lnTo>
                        <a:pt x="534" y="360"/>
                      </a:lnTo>
                      <a:lnTo>
                        <a:pt x="534" y="378"/>
                      </a:lnTo>
                      <a:lnTo>
                        <a:pt x="540" y="390"/>
                      </a:lnTo>
                      <a:lnTo>
                        <a:pt x="540" y="402"/>
                      </a:lnTo>
                      <a:lnTo>
                        <a:pt x="546" y="408"/>
                      </a:lnTo>
                      <a:lnTo>
                        <a:pt x="546" y="414"/>
                      </a:lnTo>
                      <a:lnTo>
                        <a:pt x="540" y="420"/>
                      </a:lnTo>
                      <a:lnTo>
                        <a:pt x="534" y="432"/>
                      </a:lnTo>
                      <a:lnTo>
                        <a:pt x="522" y="438"/>
                      </a:lnTo>
                      <a:lnTo>
                        <a:pt x="510" y="438"/>
                      </a:lnTo>
                      <a:lnTo>
                        <a:pt x="504" y="432"/>
                      </a:lnTo>
                      <a:lnTo>
                        <a:pt x="504" y="420"/>
                      </a:lnTo>
                      <a:lnTo>
                        <a:pt x="474" y="420"/>
                      </a:lnTo>
                      <a:lnTo>
                        <a:pt x="462" y="426"/>
                      </a:lnTo>
                      <a:lnTo>
                        <a:pt x="456" y="432"/>
                      </a:lnTo>
                      <a:lnTo>
                        <a:pt x="444" y="438"/>
                      </a:lnTo>
                      <a:lnTo>
                        <a:pt x="438" y="438"/>
                      </a:lnTo>
                      <a:lnTo>
                        <a:pt x="432" y="444"/>
                      </a:lnTo>
                      <a:lnTo>
                        <a:pt x="432" y="450"/>
                      </a:lnTo>
                      <a:lnTo>
                        <a:pt x="438" y="450"/>
                      </a:lnTo>
                      <a:lnTo>
                        <a:pt x="444" y="456"/>
                      </a:lnTo>
                      <a:lnTo>
                        <a:pt x="444" y="462"/>
                      </a:lnTo>
                      <a:lnTo>
                        <a:pt x="438" y="468"/>
                      </a:lnTo>
                      <a:lnTo>
                        <a:pt x="396" y="468"/>
                      </a:lnTo>
                      <a:lnTo>
                        <a:pt x="396" y="456"/>
                      </a:lnTo>
                      <a:lnTo>
                        <a:pt x="378" y="456"/>
                      </a:lnTo>
                      <a:lnTo>
                        <a:pt x="372" y="468"/>
                      </a:lnTo>
                      <a:lnTo>
                        <a:pt x="360" y="474"/>
                      </a:lnTo>
                      <a:lnTo>
                        <a:pt x="354" y="486"/>
                      </a:lnTo>
                      <a:lnTo>
                        <a:pt x="354" y="504"/>
                      </a:lnTo>
                      <a:lnTo>
                        <a:pt x="360" y="516"/>
                      </a:lnTo>
                      <a:lnTo>
                        <a:pt x="360" y="534"/>
                      </a:lnTo>
                      <a:lnTo>
                        <a:pt x="366" y="540"/>
                      </a:lnTo>
                      <a:lnTo>
                        <a:pt x="366" y="570"/>
                      </a:lnTo>
                      <a:lnTo>
                        <a:pt x="360" y="576"/>
                      </a:lnTo>
                      <a:lnTo>
                        <a:pt x="354" y="576"/>
                      </a:lnTo>
                      <a:lnTo>
                        <a:pt x="306" y="600"/>
                      </a:lnTo>
                      <a:lnTo>
                        <a:pt x="276" y="600"/>
                      </a:lnTo>
                      <a:lnTo>
                        <a:pt x="258" y="606"/>
                      </a:lnTo>
                      <a:lnTo>
                        <a:pt x="234" y="606"/>
                      </a:lnTo>
                      <a:lnTo>
                        <a:pt x="228" y="612"/>
                      </a:lnTo>
                      <a:lnTo>
                        <a:pt x="204" y="612"/>
                      </a:lnTo>
                      <a:lnTo>
                        <a:pt x="204" y="606"/>
                      </a:lnTo>
                      <a:lnTo>
                        <a:pt x="150" y="606"/>
                      </a:lnTo>
                      <a:lnTo>
                        <a:pt x="144" y="612"/>
                      </a:lnTo>
                      <a:lnTo>
                        <a:pt x="138" y="612"/>
                      </a:lnTo>
                      <a:lnTo>
                        <a:pt x="120" y="618"/>
                      </a:lnTo>
                      <a:lnTo>
                        <a:pt x="102" y="618"/>
                      </a:lnTo>
                      <a:lnTo>
                        <a:pt x="78" y="606"/>
                      </a:lnTo>
                      <a:lnTo>
                        <a:pt x="60" y="600"/>
                      </a:lnTo>
                      <a:lnTo>
                        <a:pt x="42" y="588"/>
                      </a:lnTo>
                      <a:lnTo>
                        <a:pt x="30" y="582"/>
                      </a:lnTo>
                      <a:lnTo>
                        <a:pt x="0" y="582"/>
                      </a:lnTo>
                      <a:lnTo>
                        <a:pt x="24" y="606"/>
                      </a:lnTo>
                      <a:lnTo>
                        <a:pt x="30" y="618"/>
                      </a:lnTo>
                      <a:lnTo>
                        <a:pt x="36" y="624"/>
                      </a:lnTo>
                      <a:lnTo>
                        <a:pt x="48" y="642"/>
                      </a:lnTo>
                      <a:lnTo>
                        <a:pt x="60" y="654"/>
                      </a:lnTo>
                      <a:lnTo>
                        <a:pt x="66" y="672"/>
                      </a:lnTo>
                      <a:lnTo>
                        <a:pt x="78" y="690"/>
                      </a:lnTo>
                      <a:lnTo>
                        <a:pt x="84" y="696"/>
                      </a:lnTo>
                      <a:lnTo>
                        <a:pt x="102" y="696"/>
                      </a:lnTo>
                      <a:lnTo>
                        <a:pt x="114" y="690"/>
                      </a:lnTo>
                      <a:lnTo>
                        <a:pt x="126" y="708"/>
                      </a:lnTo>
                      <a:lnTo>
                        <a:pt x="150" y="708"/>
                      </a:lnTo>
                      <a:lnTo>
                        <a:pt x="144" y="738"/>
                      </a:lnTo>
                      <a:lnTo>
                        <a:pt x="150" y="738"/>
                      </a:lnTo>
                      <a:lnTo>
                        <a:pt x="150" y="762"/>
                      </a:lnTo>
                      <a:lnTo>
                        <a:pt x="156" y="774"/>
                      </a:lnTo>
                      <a:lnTo>
                        <a:pt x="156" y="786"/>
                      </a:lnTo>
                      <a:lnTo>
                        <a:pt x="174" y="786"/>
                      </a:lnTo>
                      <a:lnTo>
                        <a:pt x="180" y="792"/>
                      </a:lnTo>
                      <a:lnTo>
                        <a:pt x="186" y="804"/>
                      </a:lnTo>
                      <a:lnTo>
                        <a:pt x="192" y="822"/>
                      </a:lnTo>
                      <a:lnTo>
                        <a:pt x="192" y="834"/>
                      </a:lnTo>
                      <a:lnTo>
                        <a:pt x="186" y="840"/>
                      </a:lnTo>
                      <a:lnTo>
                        <a:pt x="180" y="840"/>
                      </a:lnTo>
                      <a:lnTo>
                        <a:pt x="180" y="834"/>
                      </a:lnTo>
                      <a:lnTo>
                        <a:pt x="150" y="834"/>
                      </a:lnTo>
                      <a:lnTo>
                        <a:pt x="138" y="840"/>
                      </a:lnTo>
                      <a:lnTo>
                        <a:pt x="132" y="846"/>
                      </a:lnTo>
                      <a:lnTo>
                        <a:pt x="132" y="852"/>
                      </a:lnTo>
                      <a:lnTo>
                        <a:pt x="126" y="852"/>
                      </a:lnTo>
                      <a:lnTo>
                        <a:pt x="126" y="858"/>
                      </a:lnTo>
                      <a:lnTo>
                        <a:pt x="120" y="864"/>
                      </a:lnTo>
                      <a:lnTo>
                        <a:pt x="108" y="864"/>
                      </a:lnTo>
                      <a:lnTo>
                        <a:pt x="102" y="882"/>
                      </a:lnTo>
                      <a:lnTo>
                        <a:pt x="96" y="888"/>
                      </a:lnTo>
                      <a:lnTo>
                        <a:pt x="96" y="894"/>
                      </a:lnTo>
                      <a:lnTo>
                        <a:pt x="84" y="906"/>
                      </a:lnTo>
                      <a:lnTo>
                        <a:pt x="84" y="936"/>
                      </a:lnTo>
                      <a:lnTo>
                        <a:pt x="90" y="948"/>
                      </a:lnTo>
                      <a:lnTo>
                        <a:pt x="90" y="954"/>
                      </a:lnTo>
                      <a:lnTo>
                        <a:pt x="96" y="948"/>
                      </a:lnTo>
                      <a:lnTo>
                        <a:pt x="108" y="948"/>
                      </a:lnTo>
                      <a:lnTo>
                        <a:pt x="114" y="942"/>
                      </a:lnTo>
                      <a:lnTo>
                        <a:pt x="120" y="942"/>
                      </a:lnTo>
                      <a:lnTo>
                        <a:pt x="126" y="948"/>
                      </a:lnTo>
                      <a:lnTo>
                        <a:pt x="138" y="948"/>
                      </a:lnTo>
                      <a:lnTo>
                        <a:pt x="150" y="954"/>
                      </a:lnTo>
                      <a:lnTo>
                        <a:pt x="174" y="954"/>
                      </a:lnTo>
                      <a:lnTo>
                        <a:pt x="210" y="936"/>
                      </a:lnTo>
                      <a:lnTo>
                        <a:pt x="216" y="930"/>
                      </a:lnTo>
                      <a:lnTo>
                        <a:pt x="222" y="930"/>
                      </a:lnTo>
                      <a:lnTo>
                        <a:pt x="234" y="936"/>
                      </a:lnTo>
                      <a:lnTo>
                        <a:pt x="276" y="936"/>
                      </a:lnTo>
                      <a:lnTo>
                        <a:pt x="288" y="930"/>
                      </a:lnTo>
                      <a:lnTo>
                        <a:pt x="300" y="930"/>
                      </a:lnTo>
                      <a:lnTo>
                        <a:pt x="306" y="924"/>
                      </a:lnTo>
                      <a:lnTo>
                        <a:pt x="312" y="924"/>
                      </a:lnTo>
                      <a:lnTo>
                        <a:pt x="348" y="930"/>
                      </a:lnTo>
                      <a:lnTo>
                        <a:pt x="354" y="924"/>
                      </a:lnTo>
                      <a:lnTo>
                        <a:pt x="366" y="918"/>
                      </a:lnTo>
                      <a:lnTo>
                        <a:pt x="372" y="912"/>
                      </a:lnTo>
                      <a:lnTo>
                        <a:pt x="384" y="912"/>
                      </a:lnTo>
                      <a:lnTo>
                        <a:pt x="396" y="918"/>
                      </a:lnTo>
                      <a:lnTo>
                        <a:pt x="408" y="930"/>
                      </a:lnTo>
                      <a:lnTo>
                        <a:pt x="432" y="978"/>
                      </a:lnTo>
                      <a:lnTo>
                        <a:pt x="444" y="984"/>
                      </a:lnTo>
                      <a:lnTo>
                        <a:pt x="450" y="990"/>
                      </a:lnTo>
                      <a:lnTo>
                        <a:pt x="468" y="996"/>
                      </a:lnTo>
                      <a:lnTo>
                        <a:pt x="486" y="996"/>
                      </a:lnTo>
                      <a:lnTo>
                        <a:pt x="522" y="1008"/>
                      </a:lnTo>
                      <a:lnTo>
                        <a:pt x="540" y="1044"/>
                      </a:lnTo>
                      <a:lnTo>
                        <a:pt x="552" y="1056"/>
                      </a:lnTo>
                      <a:lnTo>
                        <a:pt x="570" y="1056"/>
                      </a:lnTo>
                      <a:lnTo>
                        <a:pt x="588" y="1050"/>
                      </a:lnTo>
                      <a:lnTo>
                        <a:pt x="582" y="1044"/>
                      </a:lnTo>
                      <a:lnTo>
                        <a:pt x="582" y="1032"/>
                      </a:lnTo>
                      <a:lnTo>
                        <a:pt x="594" y="1020"/>
                      </a:lnTo>
                      <a:lnTo>
                        <a:pt x="606" y="1020"/>
                      </a:lnTo>
                      <a:lnTo>
                        <a:pt x="618" y="1026"/>
                      </a:lnTo>
                      <a:lnTo>
                        <a:pt x="624" y="1032"/>
                      </a:lnTo>
                      <a:lnTo>
                        <a:pt x="648" y="1020"/>
                      </a:lnTo>
                      <a:lnTo>
                        <a:pt x="648" y="1026"/>
                      </a:lnTo>
                      <a:lnTo>
                        <a:pt x="654" y="1032"/>
                      </a:lnTo>
                      <a:lnTo>
                        <a:pt x="678" y="1032"/>
                      </a:lnTo>
                      <a:lnTo>
                        <a:pt x="690" y="1020"/>
                      </a:lnTo>
                      <a:lnTo>
                        <a:pt x="702" y="1014"/>
                      </a:lnTo>
                      <a:lnTo>
                        <a:pt x="708" y="1014"/>
                      </a:lnTo>
                      <a:lnTo>
                        <a:pt x="708" y="1026"/>
                      </a:lnTo>
                      <a:lnTo>
                        <a:pt x="714" y="1032"/>
                      </a:lnTo>
                      <a:lnTo>
                        <a:pt x="732" y="1032"/>
                      </a:lnTo>
                      <a:lnTo>
                        <a:pt x="738" y="1026"/>
                      </a:lnTo>
                      <a:lnTo>
                        <a:pt x="750" y="1020"/>
                      </a:lnTo>
                      <a:lnTo>
                        <a:pt x="750" y="996"/>
                      </a:lnTo>
                      <a:lnTo>
                        <a:pt x="744" y="990"/>
                      </a:lnTo>
                      <a:lnTo>
                        <a:pt x="738" y="978"/>
                      </a:lnTo>
                      <a:lnTo>
                        <a:pt x="714" y="936"/>
                      </a:lnTo>
                      <a:lnTo>
                        <a:pt x="714" y="912"/>
                      </a:lnTo>
                      <a:lnTo>
                        <a:pt x="690" y="912"/>
                      </a:lnTo>
                      <a:lnTo>
                        <a:pt x="678" y="900"/>
                      </a:lnTo>
                      <a:lnTo>
                        <a:pt x="672" y="888"/>
                      </a:lnTo>
                      <a:lnTo>
                        <a:pt x="666" y="882"/>
                      </a:lnTo>
                      <a:lnTo>
                        <a:pt x="672" y="852"/>
                      </a:lnTo>
                      <a:lnTo>
                        <a:pt x="672" y="834"/>
                      </a:lnTo>
                      <a:lnTo>
                        <a:pt x="642" y="840"/>
                      </a:lnTo>
                      <a:lnTo>
                        <a:pt x="636" y="840"/>
                      </a:lnTo>
                      <a:lnTo>
                        <a:pt x="624" y="834"/>
                      </a:lnTo>
                      <a:lnTo>
                        <a:pt x="618" y="828"/>
                      </a:lnTo>
                      <a:lnTo>
                        <a:pt x="618" y="804"/>
                      </a:lnTo>
                      <a:lnTo>
                        <a:pt x="624" y="792"/>
                      </a:lnTo>
                      <a:lnTo>
                        <a:pt x="636" y="780"/>
                      </a:lnTo>
                      <a:lnTo>
                        <a:pt x="642" y="768"/>
                      </a:lnTo>
                      <a:lnTo>
                        <a:pt x="648" y="762"/>
                      </a:lnTo>
                      <a:lnTo>
                        <a:pt x="654" y="750"/>
                      </a:lnTo>
                      <a:lnTo>
                        <a:pt x="654" y="744"/>
                      </a:lnTo>
                      <a:lnTo>
                        <a:pt x="666" y="732"/>
                      </a:lnTo>
                      <a:lnTo>
                        <a:pt x="678" y="726"/>
                      </a:lnTo>
                      <a:lnTo>
                        <a:pt x="684" y="726"/>
                      </a:lnTo>
                      <a:lnTo>
                        <a:pt x="690" y="732"/>
                      </a:lnTo>
                      <a:lnTo>
                        <a:pt x="690" y="744"/>
                      </a:lnTo>
                      <a:lnTo>
                        <a:pt x="696" y="750"/>
                      </a:lnTo>
                      <a:lnTo>
                        <a:pt x="702" y="750"/>
                      </a:lnTo>
                      <a:lnTo>
                        <a:pt x="726" y="738"/>
                      </a:lnTo>
                      <a:lnTo>
                        <a:pt x="732" y="732"/>
                      </a:lnTo>
                      <a:lnTo>
                        <a:pt x="738" y="738"/>
                      </a:lnTo>
                      <a:lnTo>
                        <a:pt x="756" y="738"/>
                      </a:lnTo>
                      <a:lnTo>
                        <a:pt x="762" y="732"/>
                      </a:lnTo>
                      <a:lnTo>
                        <a:pt x="768" y="720"/>
                      </a:lnTo>
                      <a:lnTo>
                        <a:pt x="774" y="714"/>
                      </a:lnTo>
                      <a:lnTo>
                        <a:pt x="774" y="708"/>
                      </a:lnTo>
                      <a:lnTo>
                        <a:pt x="792" y="696"/>
                      </a:lnTo>
                      <a:lnTo>
                        <a:pt x="792" y="678"/>
                      </a:lnTo>
                      <a:lnTo>
                        <a:pt x="798" y="672"/>
                      </a:lnTo>
                      <a:lnTo>
                        <a:pt x="798" y="666"/>
                      </a:lnTo>
                      <a:lnTo>
                        <a:pt x="804" y="660"/>
                      </a:lnTo>
                      <a:lnTo>
                        <a:pt x="828" y="648"/>
                      </a:lnTo>
                      <a:lnTo>
                        <a:pt x="840" y="636"/>
                      </a:lnTo>
                      <a:lnTo>
                        <a:pt x="846" y="618"/>
                      </a:lnTo>
                      <a:lnTo>
                        <a:pt x="846" y="606"/>
                      </a:lnTo>
                      <a:lnTo>
                        <a:pt x="852" y="588"/>
                      </a:lnTo>
                      <a:lnTo>
                        <a:pt x="852" y="576"/>
                      </a:lnTo>
                      <a:lnTo>
                        <a:pt x="858" y="570"/>
                      </a:lnTo>
                      <a:lnTo>
                        <a:pt x="870" y="564"/>
                      </a:lnTo>
                      <a:lnTo>
                        <a:pt x="876" y="558"/>
                      </a:lnTo>
                      <a:lnTo>
                        <a:pt x="888" y="558"/>
                      </a:lnTo>
                      <a:lnTo>
                        <a:pt x="870" y="534"/>
                      </a:lnTo>
                      <a:lnTo>
                        <a:pt x="894" y="498"/>
                      </a:lnTo>
                      <a:lnTo>
                        <a:pt x="924" y="480"/>
                      </a:lnTo>
                      <a:lnTo>
                        <a:pt x="924" y="474"/>
                      </a:lnTo>
                      <a:lnTo>
                        <a:pt x="912" y="462"/>
                      </a:lnTo>
                      <a:lnTo>
                        <a:pt x="906" y="450"/>
                      </a:lnTo>
                      <a:lnTo>
                        <a:pt x="906" y="414"/>
                      </a:lnTo>
                      <a:lnTo>
                        <a:pt x="912" y="408"/>
                      </a:lnTo>
                      <a:lnTo>
                        <a:pt x="924" y="408"/>
                      </a:lnTo>
                      <a:lnTo>
                        <a:pt x="948" y="396"/>
                      </a:lnTo>
                      <a:lnTo>
                        <a:pt x="954" y="390"/>
                      </a:lnTo>
                      <a:lnTo>
                        <a:pt x="954" y="384"/>
                      </a:lnTo>
                      <a:lnTo>
                        <a:pt x="948" y="378"/>
                      </a:lnTo>
                      <a:lnTo>
                        <a:pt x="936" y="372"/>
                      </a:lnTo>
                      <a:lnTo>
                        <a:pt x="900" y="372"/>
                      </a:lnTo>
                      <a:lnTo>
                        <a:pt x="894" y="336"/>
                      </a:lnTo>
                      <a:lnTo>
                        <a:pt x="876" y="336"/>
                      </a:lnTo>
                      <a:lnTo>
                        <a:pt x="864" y="318"/>
                      </a:lnTo>
                      <a:lnTo>
                        <a:pt x="846" y="318"/>
                      </a:lnTo>
                      <a:lnTo>
                        <a:pt x="846" y="306"/>
                      </a:lnTo>
                      <a:lnTo>
                        <a:pt x="852" y="294"/>
                      </a:lnTo>
                      <a:lnTo>
                        <a:pt x="852" y="288"/>
                      </a:lnTo>
                      <a:lnTo>
                        <a:pt x="846" y="288"/>
                      </a:lnTo>
                      <a:lnTo>
                        <a:pt x="834" y="276"/>
                      </a:lnTo>
                      <a:lnTo>
                        <a:pt x="834" y="270"/>
                      </a:lnTo>
                      <a:lnTo>
                        <a:pt x="840" y="264"/>
                      </a:lnTo>
                      <a:lnTo>
                        <a:pt x="846" y="252"/>
                      </a:lnTo>
                      <a:lnTo>
                        <a:pt x="852" y="246"/>
                      </a:lnTo>
                      <a:lnTo>
                        <a:pt x="822" y="240"/>
                      </a:lnTo>
                      <a:lnTo>
                        <a:pt x="828" y="228"/>
                      </a:lnTo>
                      <a:lnTo>
                        <a:pt x="804" y="210"/>
                      </a:lnTo>
                      <a:lnTo>
                        <a:pt x="804" y="204"/>
                      </a:lnTo>
                      <a:lnTo>
                        <a:pt x="810" y="192"/>
                      </a:lnTo>
                      <a:lnTo>
                        <a:pt x="834" y="180"/>
                      </a:lnTo>
                      <a:lnTo>
                        <a:pt x="876" y="180"/>
                      </a:lnTo>
                      <a:lnTo>
                        <a:pt x="894" y="186"/>
                      </a:lnTo>
                      <a:lnTo>
                        <a:pt x="912" y="186"/>
                      </a:lnTo>
                      <a:lnTo>
                        <a:pt x="918" y="192"/>
                      </a:lnTo>
                      <a:lnTo>
                        <a:pt x="918" y="204"/>
                      </a:lnTo>
                      <a:lnTo>
                        <a:pt x="930" y="204"/>
                      </a:lnTo>
                      <a:lnTo>
                        <a:pt x="942" y="198"/>
                      </a:lnTo>
                      <a:lnTo>
                        <a:pt x="948" y="192"/>
                      </a:lnTo>
                      <a:lnTo>
                        <a:pt x="960" y="186"/>
                      </a:lnTo>
                      <a:lnTo>
                        <a:pt x="966" y="180"/>
                      </a:lnTo>
                      <a:lnTo>
                        <a:pt x="972" y="186"/>
                      </a:lnTo>
                      <a:lnTo>
                        <a:pt x="978" y="180"/>
                      </a:lnTo>
                      <a:lnTo>
                        <a:pt x="1002" y="180"/>
                      </a:lnTo>
                      <a:lnTo>
                        <a:pt x="1002" y="162"/>
                      </a:lnTo>
                      <a:lnTo>
                        <a:pt x="1026" y="156"/>
                      </a:lnTo>
                      <a:lnTo>
                        <a:pt x="1050" y="120"/>
                      </a:lnTo>
                      <a:lnTo>
                        <a:pt x="1008" y="12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573" name="Parcel Islands"/>
                <p:cNvSpPr>
                  <a:spLocks noEditPoints="1"/>
                </p:cNvSpPr>
                <p:nvPr/>
              </p:nvSpPr>
              <p:spPr bwMode="gray">
                <a:xfrm>
                  <a:off x="4656" y="1954"/>
                  <a:ext cx="24" cy="16"/>
                </a:xfrm>
                <a:custGeom>
                  <a:avLst/>
                  <a:gdLst>
                    <a:gd name="T0" fmla="*/ 2147483647 w 96"/>
                    <a:gd name="T1" fmla="*/ 2147483647 h 66"/>
                    <a:gd name="T2" fmla="*/ 2147483647 w 96"/>
                    <a:gd name="T3" fmla="*/ 2147483647 h 66"/>
                    <a:gd name="T4" fmla="*/ 0 w 96"/>
                    <a:gd name="T5" fmla="*/ 2147483647 h 66"/>
                    <a:gd name="T6" fmla="*/ 0 w 96"/>
                    <a:gd name="T7" fmla="*/ 2147483647 h 66"/>
                    <a:gd name="T8" fmla="*/ 2147483647 w 96"/>
                    <a:gd name="T9" fmla="*/ 2147483647 h 66"/>
                    <a:gd name="T10" fmla="*/ 2147483647 w 96"/>
                    <a:gd name="T11" fmla="*/ 2147483647 h 66"/>
                    <a:gd name="T12" fmla="*/ 2147483647 w 96"/>
                    <a:gd name="T13" fmla="*/ 2147483647 h 66"/>
                    <a:gd name="T14" fmla="*/ 2147483647 w 96"/>
                    <a:gd name="T15" fmla="*/ 2147483647 h 66"/>
                    <a:gd name="T16" fmla="*/ 2147483647 w 96"/>
                    <a:gd name="T17" fmla="*/ 2147483647 h 66"/>
                    <a:gd name="T18" fmla="*/ 2147483647 w 96"/>
                    <a:gd name="T19" fmla="*/ 0 h 66"/>
                    <a:gd name="T20" fmla="*/ 2147483647 w 96"/>
                    <a:gd name="T21" fmla="*/ 2147483647 h 66"/>
                    <a:gd name="T22" fmla="*/ 2147483647 w 96"/>
                    <a:gd name="T23" fmla="*/ 2147483647 h 66"/>
                    <a:gd name="T24" fmla="*/ 2147483647 w 96"/>
                    <a:gd name="T25" fmla="*/ 2147483647 h 66"/>
                    <a:gd name="T26" fmla="*/ 2147483647 w 96"/>
                    <a:gd name="T27" fmla="*/ 2147483647 h 66"/>
                    <a:gd name="T28" fmla="*/ 2147483647 w 96"/>
                    <a:gd name="T29" fmla="*/ 0 h 66"/>
                    <a:gd name="T30" fmla="*/ 2147483647 w 96"/>
                    <a:gd name="T31" fmla="*/ 0 h 66"/>
                    <a:gd name="T32" fmla="*/ 2147483647 w 96"/>
                    <a:gd name="T33" fmla="*/ 2147483647 h 66"/>
                    <a:gd name="T34" fmla="*/ 2147483647 w 96"/>
                    <a:gd name="T35" fmla="*/ 2147483647 h 66"/>
                    <a:gd name="T36" fmla="*/ 2147483647 w 96"/>
                    <a:gd name="T37" fmla="*/ 2147483647 h 66"/>
                    <a:gd name="T38" fmla="*/ 2147483647 w 96"/>
                    <a:gd name="T39" fmla="*/ 2147483647 h 66"/>
                    <a:gd name="T40" fmla="*/ 2147483647 w 96"/>
                    <a:gd name="T41" fmla="*/ 2147483647 h 66"/>
                    <a:gd name="T42" fmla="*/ 2147483647 w 96"/>
                    <a:gd name="T43" fmla="*/ 2147483647 h 66"/>
                    <a:gd name="T44" fmla="*/ 2147483647 w 96"/>
                    <a:gd name="T45" fmla="*/ 2147483647 h 6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96"/>
                    <a:gd name="T70" fmla="*/ 0 h 66"/>
                    <a:gd name="T71" fmla="*/ 96 w 96"/>
                    <a:gd name="T72" fmla="*/ 66 h 6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96" h="66">
                      <a:moveTo>
                        <a:pt x="12" y="42"/>
                      </a:moveTo>
                      <a:lnTo>
                        <a:pt x="6" y="42"/>
                      </a:lnTo>
                      <a:lnTo>
                        <a:pt x="0" y="48"/>
                      </a:lnTo>
                      <a:lnTo>
                        <a:pt x="0" y="60"/>
                      </a:lnTo>
                      <a:lnTo>
                        <a:pt x="6" y="66"/>
                      </a:lnTo>
                      <a:lnTo>
                        <a:pt x="12" y="66"/>
                      </a:lnTo>
                      <a:lnTo>
                        <a:pt x="24" y="54"/>
                      </a:lnTo>
                      <a:lnTo>
                        <a:pt x="24" y="42"/>
                      </a:lnTo>
                      <a:lnTo>
                        <a:pt x="12" y="42"/>
                      </a:lnTo>
                      <a:close/>
                      <a:moveTo>
                        <a:pt x="42" y="0"/>
                      </a:moveTo>
                      <a:lnTo>
                        <a:pt x="42" y="18"/>
                      </a:lnTo>
                      <a:lnTo>
                        <a:pt x="54" y="30"/>
                      </a:lnTo>
                      <a:lnTo>
                        <a:pt x="60" y="30"/>
                      </a:lnTo>
                      <a:lnTo>
                        <a:pt x="72" y="24"/>
                      </a:lnTo>
                      <a:lnTo>
                        <a:pt x="48" y="0"/>
                      </a:lnTo>
                      <a:lnTo>
                        <a:pt x="42" y="0"/>
                      </a:lnTo>
                      <a:close/>
                      <a:moveTo>
                        <a:pt x="96" y="36"/>
                      </a:moveTo>
                      <a:lnTo>
                        <a:pt x="78" y="36"/>
                      </a:lnTo>
                      <a:lnTo>
                        <a:pt x="72" y="42"/>
                      </a:lnTo>
                      <a:lnTo>
                        <a:pt x="72" y="54"/>
                      </a:lnTo>
                      <a:lnTo>
                        <a:pt x="84" y="60"/>
                      </a:lnTo>
                      <a:lnTo>
                        <a:pt x="96" y="48"/>
                      </a:lnTo>
                      <a:lnTo>
                        <a:pt x="96" y="36"/>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574" name="Oman"/>
                <p:cNvSpPr>
                  <a:spLocks/>
                </p:cNvSpPr>
                <p:nvPr/>
              </p:nvSpPr>
              <p:spPr bwMode="gray">
                <a:xfrm>
                  <a:off x="3588" y="1794"/>
                  <a:ext cx="138" cy="172"/>
                </a:xfrm>
                <a:custGeom>
                  <a:avLst/>
                  <a:gdLst>
                    <a:gd name="T0" fmla="*/ 2147483647 w 540"/>
                    <a:gd name="T1" fmla="*/ 2147483647 h 672"/>
                    <a:gd name="T2" fmla="*/ 2147483647 w 540"/>
                    <a:gd name="T3" fmla="*/ 2147483647 h 672"/>
                    <a:gd name="T4" fmla="*/ 2147483647 w 540"/>
                    <a:gd name="T5" fmla="*/ 2147483647 h 672"/>
                    <a:gd name="T6" fmla="*/ 2147483647 w 540"/>
                    <a:gd name="T7" fmla="*/ 2147483647 h 672"/>
                    <a:gd name="T8" fmla="*/ 2147483647 w 540"/>
                    <a:gd name="T9" fmla="*/ 2147483647 h 672"/>
                    <a:gd name="T10" fmla="*/ 2147483647 w 540"/>
                    <a:gd name="T11" fmla="*/ 2147483647 h 672"/>
                    <a:gd name="T12" fmla="*/ 2147483647 w 540"/>
                    <a:gd name="T13" fmla="*/ 2147483647 h 672"/>
                    <a:gd name="T14" fmla="*/ 2147483647 w 540"/>
                    <a:gd name="T15" fmla="*/ 2147483647 h 672"/>
                    <a:gd name="T16" fmla="*/ 2147483647 w 540"/>
                    <a:gd name="T17" fmla="*/ 2147483647 h 672"/>
                    <a:gd name="T18" fmla="*/ 2147483647 w 540"/>
                    <a:gd name="T19" fmla="*/ 2147483647 h 672"/>
                    <a:gd name="T20" fmla="*/ 2147483647 w 540"/>
                    <a:gd name="T21" fmla="*/ 2147483647 h 672"/>
                    <a:gd name="T22" fmla="*/ 2147483647 w 540"/>
                    <a:gd name="T23" fmla="*/ 2147483647 h 672"/>
                    <a:gd name="T24" fmla="*/ 2147483647 w 540"/>
                    <a:gd name="T25" fmla="*/ 2147483647 h 672"/>
                    <a:gd name="T26" fmla="*/ 2147483647 w 540"/>
                    <a:gd name="T27" fmla="*/ 2147483647 h 672"/>
                    <a:gd name="T28" fmla="*/ 2147483647 w 540"/>
                    <a:gd name="T29" fmla="*/ 2147483647 h 672"/>
                    <a:gd name="T30" fmla="*/ 2147483647 w 540"/>
                    <a:gd name="T31" fmla="*/ 2147483647 h 672"/>
                    <a:gd name="T32" fmla="*/ 2147483647 w 540"/>
                    <a:gd name="T33" fmla="*/ 2147483647 h 672"/>
                    <a:gd name="T34" fmla="*/ 2147483647 w 540"/>
                    <a:gd name="T35" fmla="*/ 2147483647 h 672"/>
                    <a:gd name="T36" fmla="*/ 2147483647 w 540"/>
                    <a:gd name="T37" fmla="*/ 2147483647 h 672"/>
                    <a:gd name="T38" fmla="*/ 2147483647 w 540"/>
                    <a:gd name="T39" fmla="*/ 2147483647 h 672"/>
                    <a:gd name="T40" fmla="*/ 2147483647 w 540"/>
                    <a:gd name="T41" fmla="*/ 2147483647 h 672"/>
                    <a:gd name="T42" fmla="*/ 2147483647 w 540"/>
                    <a:gd name="T43" fmla="*/ 2147483647 h 672"/>
                    <a:gd name="T44" fmla="*/ 2147483647 w 540"/>
                    <a:gd name="T45" fmla="*/ 2147483647 h 672"/>
                    <a:gd name="T46" fmla="*/ 2147483647 w 540"/>
                    <a:gd name="T47" fmla="*/ 2147483647 h 672"/>
                    <a:gd name="T48" fmla="*/ 2147483647 w 540"/>
                    <a:gd name="T49" fmla="*/ 2147483647 h 672"/>
                    <a:gd name="T50" fmla="*/ 2147483647 w 540"/>
                    <a:gd name="T51" fmla="*/ 0 h 672"/>
                    <a:gd name="T52" fmla="*/ 2147483647 w 540"/>
                    <a:gd name="T53" fmla="*/ 2147483647 h 672"/>
                    <a:gd name="T54" fmla="*/ 2147483647 w 540"/>
                    <a:gd name="T55" fmla="*/ 2147483647 h 672"/>
                    <a:gd name="T56" fmla="*/ 2147483647 w 540"/>
                    <a:gd name="T57" fmla="*/ 2147483647 h 672"/>
                    <a:gd name="T58" fmla="*/ 2147483647 w 540"/>
                    <a:gd name="T59" fmla="*/ 2147483647 h 672"/>
                    <a:gd name="T60" fmla="*/ 2147483647 w 540"/>
                    <a:gd name="T61" fmla="*/ 2147483647 h 672"/>
                    <a:gd name="T62" fmla="*/ 2147483647 w 540"/>
                    <a:gd name="T63" fmla="*/ 2147483647 h 672"/>
                    <a:gd name="T64" fmla="*/ 2147483647 w 540"/>
                    <a:gd name="T65" fmla="*/ 2147483647 h 672"/>
                    <a:gd name="T66" fmla="*/ 2147483647 w 540"/>
                    <a:gd name="T67" fmla="*/ 2147483647 h 672"/>
                    <a:gd name="T68" fmla="*/ 2147483647 w 540"/>
                    <a:gd name="T69" fmla="*/ 2147483647 h 672"/>
                    <a:gd name="T70" fmla="*/ 2147483647 w 540"/>
                    <a:gd name="T71" fmla="*/ 2147483647 h 672"/>
                    <a:gd name="T72" fmla="*/ 2147483647 w 540"/>
                    <a:gd name="T73" fmla="*/ 2147483647 h 672"/>
                    <a:gd name="T74" fmla="*/ 2147483647 w 540"/>
                    <a:gd name="T75" fmla="*/ 2147483647 h 672"/>
                    <a:gd name="T76" fmla="*/ 2147483647 w 540"/>
                    <a:gd name="T77" fmla="*/ 2147483647 h 672"/>
                    <a:gd name="T78" fmla="*/ 2147483647 w 540"/>
                    <a:gd name="T79" fmla="*/ 2147483647 h 672"/>
                    <a:gd name="T80" fmla="*/ 2147483647 w 540"/>
                    <a:gd name="T81" fmla="*/ 2147483647 h 672"/>
                    <a:gd name="T82" fmla="*/ 2147483647 w 540"/>
                    <a:gd name="T83" fmla="*/ 2147483647 h 672"/>
                    <a:gd name="T84" fmla="*/ 2147483647 w 540"/>
                    <a:gd name="T85" fmla="*/ 2147483647 h 672"/>
                    <a:gd name="T86" fmla="*/ 2147483647 w 540"/>
                    <a:gd name="T87" fmla="*/ 2147483647 h 67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540"/>
                    <a:gd name="T133" fmla="*/ 0 h 672"/>
                    <a:gd name="T134" fmla="*/ 540 w 540"/>
                    <a:gd name="T135" fmla="*/ 672 h 67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540" h="672">
                      <a:moveTo>
                        <a:pt x="258" y="564"/>
                      </a:moveTo>
                      <a:lnTo>
                        <a:pt x="276" y="564"/>
                      </a:lnTo>
                      <a:lnTo>
                        <a:pt x="288" y="558"/>
                      </a:lnTo>
                      <a:lnTo>
                        <a:pt x="306" y="552"/>
                      </a:lnTo>
                      <a:lnTo>
                        <a:pt x="330" y="540"/>
                      </a:lnTo>
                      <a:lnTo>
                        <a:pt x="336" y="528"/>
                      </a:lnTo>
                      <a:lnTo>
                        <a:pt x="342" y="510"/>
                      </a:lnTo>
                      <a:lnTo>
                        <a:pt x="342" y="498"/>
                      </a:lnTo>
                      <a:lnTo>
                        <a:pt x="348" y="498"/>
                      </a:lnTo>
                      <a:lnTo>
                        <a:pt x="354" y="492"/>
                      </a:lnTo>
                      <a:lnTo>
                        <a:pt x="366" y="486"/>
                      </a:lnTo>
                      <a:lnTo>
                        <a:pt x="384" y="480"/>
                      </a:lnTo>
                      <a:lnTo>
                        <a:pt x="408" y="456"/>
                      </a:lnTo>
                      <a:lnTo>
                        <a:pt x="414" y="444"/>
                      </a:lnTo>
                      <a:lnTo>
                        <a:pt x="414" y="426"/>
                      </a:lnTo>
                      <a:lnTo>
                        <a:pt x="420" y="408"/>
                      </a:lnTo>
                      <a:lnTo>
                        <a:pt x="420" y="378"/>
                      </a:lnTo>
                      <a:lnTo>
                        <a:pt x="426" y="372"/>
                      </a:lnTo>
                      <a:lnTo>
                        <a:pt x="432" y="372"/>
                      </a:lnTo>
                      <a:lnTo>
                        <a:pt x="444" y="378"/>
                      </a:lnTo>
                      <a:lnTo>
                        <a:pt x="450" y="384"/>
                      </a:lnTo>
                      <a:lnTo>
                        <a:pt x="462" y="384"/>
                      </a:lnTo>
                      <a:lnTo>
                        <a:pt x="468" y="378"/>
                      </a:lnTo>
                      <a:lnTo>
                        <a:pt x="480" y="354"/>
                      </a:lnTo>
                      <a:lnTo>
                        <a:pt x="480" y="330"/>
                      </a:lnTo>
                      <a:lnTo>
                        <a:pt x="534" y="276"/>
                      </a:lnTo>
                      <a:lnTo>
                        <a:pt x="534" y="264"/>
                      </a:lnTo>
                      <a:lnTo>
                        <a:pt x="540" y="252"/>
                      </a:lnTo>
                      <a:lnTo>
                        <a:pt x="540" y="204"/>
                      </a:lnTo>
                      <a:lnTo>
                        <a:pt x="528" y="192"/>
                      </a:lnTo>
                      <a:lnTo>
                        <a:pt x="510" y="192"/>
                      </a:lnTo>
                      <a:lnTo>
                        <a:pt x="510" y="186"/>
                      </a:lnTo>
                      <a:lnTo>
                        <a:pt x="492" y="168"/>
                      </a:lnTo>
                      <a:lnTo>
                        <a:pt x="486" y="150"/>
                      </a:lnTo>
                      <a:lnTo>
                        <a:pt x="462" y="126"/>
                      </a:lnTo>
                      <a:lnTo>
                        <a:pt x="456" y="114"/>
                      </a:lnTo>
                      <a:lnTo>
                        <a:pt x="432" y="96"/>
                      </a:lnTo>
                      <a:lnTo>
                        <a:pt x="396" y="84"/>
                      </a:lnTo>
                      <a:lnTo>
                        <a:pt x="366" y="78"/>
                      </a:lnTo>
                      <a:lnTo>
                        <a:pt x="348" y="78"/>
                      </a:lnTo>
                      <a:lnTo>
                        <a:pt x="342" y="72"/>
                      </a:lnTo>
                      <a:lnTo>
                        <a:pt x="330" y="72"/>
                      </a:lnTo>
                      <a:lnTo>
                        <a:pt x="318" y="60"/>
                      </a:lnTo>
                      <a:lnTo>
                        <a:pt x="294" y="48"/>
                      </a:lnTo>
                      <a:lnTo>
                        <a:pt x="288" y="36"/>
                      </a:lnTo>
                      <a:lnTo>
                        <a:pt x="288" y="30"/>
                      </a:lnTo>
                      <a:lnTo>
                        <a:pt x="282" y="18"/>
                      </a:lnTo>
                      <a:lnTo>
                        <a:pt x="276" y="12"/>
                      </a:lnTo>
                      <a:lnTo>
                        <a:pt x="252" y="18"/>
                      </a:lnTo>
                      <a:lnTo>
                        <a:pt x="246" y="6"/>
                      </a:lnTo>
                      <a:lnTo>
                        <a:pt x="246" y="0"/>
                      </a:lnTo>
                      <a:lnTo>
                        <a:pt x="240" y="0"/>
                      </a:lnTo>
                      <a:lnTo>
                        <a:pt x="234" y="6"/>
                      </a:lnTo>
                      <a:lnTo>
                        <a:pt x="234" y="12"/>
                      </a:lnTo>
                      <a:lnTo>
                        <a:pt x="228" y="24"/>
                      </a:lnTo>
                      <a:lnTo>
                        <a:pt x="228" y="54"/>
                      </a:lnTo>
                      <a:lnTo>
                        <a:pt x="246" y="72"/>
                      </a:lnTo>
                      <a:lnTo>
                        <a:pt x="246" y="78"/>
                      </a:lnTo>
                      <a:lnTo>
                        <a:pt x="240" y="78"/>
                      </a:lnTo>
                      <a:lnTo>
                        <a:pt x="240" y="72"/>
                      </a:lnTo>
                      <a:lnTo>
                        <a:pt x="228" y="72"/>
                      </a:lnTo>
                      <a:lnTo>
                        <a:pt x="228" y="78"/>
                      </a:lnTo>
                      <a:lnTo>
                        <a:pt x="222" y="84"/>
                      </a:lnTo>
                      <a:lnTo>
                        <a:pt x="222" y="96"/>
                      </a:lnTo>
                      <a:lnTo>
                        <a:pt x="216" y="108"/>
                      </a:lnTo>
                      <a:lnTo>
                        <a:pt x="216" y="120"/>
                      </a:lnTo>
                      <a:lnTo>
                        <a:pt x="210" y="132"/>
                      </a:lnTo>
                      <a:lnTo>
                        <a:pt x="204" y="138"/>
                      </a:lnTo>
                      <a:lnTo>
                        <a:pt x="198" y="150"/>
                      </a:lnTo>
                      <a:lnTo>
                        <a:pt x="192" y="156"/>
                      </a:lnTo>
                      <a:lnTo>
                        <a:pt x="192" y="168"/>
                      </a:lnTo>
                      <a:lnTo>
                        <a:pt x="210" y="204"/>
                      </a:lnTo>
                      <a:lnTo>
                        <a:pt x="216" y="210"/>
                      </a:lnTo>
                      <a:lnTo>
                        <a:pt x="216" y="222"/>
                      </a:lnTo>
                      <a:lnTo>
                        <a:pt x="222" y="228"/>
                      </a:lnTo>
                      <a:lnTo>
                        <a:pt x="234" y="234"/>
                      </a:lnTo>
                      <a:lnTo>
                        <a:pt x="240" y="240"/>
                      </a:lnTo>
                      <a:lnTo>
                        <a:pt x="204" y="414"/>
                      </a:lnTo>
                      <a:lnTo>
                        <a:pt x="0" y="486"/>
                      </a:lnTo>
                      <a:lnTo>
                        <a:pt x="84" y="672"/>
                      </a:lnTo>
                      <a:lnTo>
                        <a:pt x="114" y="660"/>
                      </a:lnTo>
                      <a:lnTo>
                        <a:pt x="198" y="636"/>
                      </a:lnTo>
                      <a:lnTo>
                        <a:pt x="228" y="624"/>
                      </a:lnTo>
                      <a:lnTo>
                        <a:pt x="246" y="618"/>
                      </a:lnTo>
                      <a:lnTo>
                        <a:pt x="252" y="606"/>
                      </a:lnTo>
                      <a:lnTo>
                        <a:pt x="252" y="594"/>
                      </a:lnTo>
                      <a:lnTo>
                        <a:pt x="258" y="582"/>
                      </a:lnTo>
                      <a:lnTo>
                        <a:pt x="258" y="564"/>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575" name="Norway"/>
                <p:cNvSpPr>
                  <a:spLocks noEditPoints="1"/>
                </p:cNvSpPr>
                <p:nvPr/>
              </p:nvSpPr>
              <p:spPr bwMode="gray">
                <a:xfrm>
                  <a:off x="2764" y="743"/>
                  <a:ext cx="348" cy="383"/>
                </a:xfrm>
                <a:custGeom>
                  <a:avLst/>
                  <a:gdLst>
                    <a:gd name="T0" fmla="*/ 2147483647 w 1362"/>
                    <a:gd name="T1" fmla="*/ 2147483647 h 1500"/>
                    <a:gd name="T2" fmla="*/ 2147483647 w 1362"/>
                    <a:gd name="T3" fmla="*/ 2147483647 h 1500"/>
                    <a:gd name="T4" fmla="*/ 2147483647 w 1362"/>
                    <a:gd name="T5" fmla="*/ 2147483647 h 1500"/>
                    <a:gd name="T6" fmla="*/ 2147483647 w 1362"/>
                    <a:gd name="T7" fmla="*/ 2147483647 h 1500"/>
                    <a:gd name="T8" fmla="*/ 2147483647 w 1362"/>
                    <a:gd name="T9" fmla="*/ 0 h 1500"/>
                    <a:gd name="T10" fmla="*/ 2147483647 w 1362"/>
                    <a:gd name="T11" fmla="*/ 2147483647 h 1500"/>
                    <a:gd name="T12" fmla="*/ 2147483647 w 1362"/>
                    <a:gd name="T13" fmla="*/ 2147483647 h 1500"/>
                    <a:gd name="T14" fmla="*/ 2147483647 w 1362"/>
                    <a:gd name="T15" fmla="*/ 2147483647 h 1500"/>
                    <a:gd name="T16" fmla="*/ 2147483647 w 1362"/>
                    <a:gd name="T17" fmla="*/ 2147483647 h 1500"/>
                    <a:gd name="T18" fmla="*/ 2147483647 w 1362"/>
                    <a:gd name="T19" fmla="*/ 2147483647 h 1500"/>
                    <a:gd name="T20" fmla="*/ 2147483647 w 1362"/>
                    <a:gd name="T21" fmla="*/ 2147483647 h 1500"/>
                    <a:gd name="T22" fmla="*/ 2147483647 w 1362"/>
                    <a:gd name="T23" fmla="*/ 2147483647 h 1500"/>
                    <a:gd name="T24" fmla="*/ 2147483647 w 1362"/>
                    <a:gd name="T25" fmla="*/ 2147483647 h 1500"/>
                    <a:gd name="T26" fmla="*/ 2147483647 w 1362"/>
                    <a:gd name="T27" fmla="*/ 2147483647 h 1500"/>
                    <a:gd name="T28" fmla="*/ 2147483647 w 1362"/>
                    <a:gd name="T29" fmla="*/ 2147483647 h 1500"/>
                    <a:gd name="T30" fmla="*/ 2147483647 w 1362"/>
                    <a:gd name="T31" fmla="*/ 2147483647 h 1500"/>
                    <a:gd name="T32" fmla="*/ 2147483647 w 1362"/>
                    <a:gd name="T33" fmla="*/ 2147483647 h 1500"/>
                    <a:gd name="T34" fmla="*/ 2147483647 w 1362"/>
                    <a:gd name="T35" fmla="*/ 2147483647 h 1500"/>
                    <a:gd name="T36" fmla="*/ 2147483647 w 1362"/>
                    <a:gd name="T37" fmla="*/ 2147483647 h 1500"/>
                    <a:gd name="T38" fmla="*/ 2147483647 w 1362"/>
                    <a:gd name="T39" fmla="*/ 2147483647 h 1500"/>
                    <a:gd name="T40" fmla="*/ 2147483647 w 1362"/>
                    <a:gd name="T41" fmla="*/ 2147483647 h 1500"/>
                    <a:gd name="T42" fmla="*/ 2147483647 w 1362"/>
                    <a:gd name="T43" fmla="*/ 2147483647 h 1500"/>
                    <a:gd name="T44" fmla="*/ 2147483647 w 1362"/>
                    <a:gd name="T45" fmla="*/ 2147483647 h 1500"/>
                    <a:gd name="T46" fmla="*/ 2147483647 w 1362"/>
                    <a:gd name="T47" fmla="*/ 2147483647 h 1500"/>
                    <a:gd name="T48" fmla="*/ 2147483647 w 1362"/>
                    <a:gd name="T49" fmla="*/ 2147483647 h 1500"/>
                    <a:gd name="T50" fmla="*/ 2147483647 w 1362"/>
                    <a:gd name="T51" fmla="*/ 2147483647 h 1500"/>
                    <a:gd name="T52" fmla="*/ 2147483647 w 1362"/>
                    <a:gd name="T53" fmla="*/ 2147483647 h 1500"/>
                    <a:gd name="T54" fmla="*/ 2147483647 w 1362"/>
                    <a:gd name="T55" fmla="*/ 2147483647 h 1500"/>
                    <a:gd name="T56" fmla="*/ 2147483647 w 1362"/>
                    <a:gd name="T57" fmla="*/ 2147483647 h 1500"/>
                    <a:gd name="T58" fmla="*/ 2147483647 w 1362"/>
                    <a:gd name="T59" fmla="*/ 2147483647 h 1500"/>
                    <a:gd name="T60" fmla="*/ 2147483647 w 1362"/>
                    <a:gd name="T61" fmla="*/ 2147483647 h 1500"/>
                    <a:gd name="T62" fmla="*/ 2147483647 w 1362"/>
                    <a:gd name="T63" fmla="*/ 2147483647 h 1500"/>
                    <a:gd name="T64" fmla="*/ 2147483647 w 1362"/>
                    <a:gd name="T65" fmla="*/ 2147483647 h 1500"/>
                    <a:gd name="T66" fmla="*/ 2147483647 w 1362"/>
                    <a:gd name="T67" fmla="*/ 2147483647 h 1500"/>
                    <a:gd name="T68" fmla="*/ 2147483647 w 1362"/>
                    <a:gd name="T69" fmla="*/ 2147483647 h 1500"/>
                    <a:gd name="T70" fmla="*/ 2147483647 w 1362"/>
                    <a:gd name="T71" fmla="*/ 2147483647 h 1500"/>
                    <a:gd name="T72" fmla="*/ 2147483647 w 1362"/>
                    <a:gd name="T73" fmla="*/ 2147483647 h 1500"/>
                    <a:gd name="T74" fmla="*/ 2147483647 w 1362"/>
                    <a:gd name="T75" fmla="*/ 2147483647 h 1500"/>
                    <a:gd name="T76" fmla="*/ 2147483647 w 1362"/>
                    <a:gd name="T77" fmla="*/ 2147483647 h 1500"/>
                    <a:gd name="T78" fmla="*/ 2147483647 w 1362"/>
                    <a:gd name="T79" fmla="*/ 2147483647 h 1500"/>
                    <a:gd name="T80" fmla="*/ 2147483647 w 1362"/>
                    <a:gd name="T81" fmla="*/ 2147483647 h 1500"/>
                    <a:gd name="T82" fmla="*/ 2147483647 w 1362"/>
                    <a:gd name="T83" fmla="*/ 2147483647 h 1500"/>
                    <a:gd name="T84" fmla="*/ 2147483647 w 1362"/>
                    <a:gd name="T85" fmla="*/ 2147483647 h 1500"/>
                    <a:gd name="T86" fmla="*/ 2147483647 w 1362"/>
                    <a:gd name="T87" fmla="*/ 2147483647 h 1500"/>
                    <a:gd name="T88" fmla="*/ 2147483647 w 1362"/>
                    <a:gd name="T89" fmla="*/ 2147483647 h 1500"/>
                    <a:gd name="T90" fmla="*/ 2147483647 w 1362"/>
                    <a:gd name="T91" fmla="*/ 2147483647 h 1500"/>
                    <a:gd name="T92" fmla="*/ 2147483647 w 1362"/>
                    <a:gd name="T93" fmla="*/ 2147483647 h 1500"/>
                    <a:gd name="T94" fmla="*/ 2147483647 w 1362"/>
                    <a:gd name="T95" fmla="*/ 2147483647 h 1500"/>
                    <a:gd name="T96" fmla="*/ 2147483647 w 1362"/>
                    <a:gd name="T97" fmla="*/ 2147483647 h 1500"/>
                    <a:gd name="T98" fmla="*/ 2147483647 w 1362"/>
                    <a:gd name="T99" fmla="*/ 2147483647 h 1500"/>
                    <a:gd name="T100" fmla="*/ 2147483647 w 1362"/>
                    <a:gd name="T101" fmla="*/ 2147483647 h 1500"/>
                    <a:gd name="T102" fmla="*/ 2147483647 w 1362"/>
                    <a:gd name="T103" fmla="*/ 2147483647 h 1500"/>
                    <a:gd name="T104" fmla="*/ 2147483647 w 1362"/>
                    <a:gd name="T105" fmla="*/ 2147483647 h 1500"/>
                    <a:gd name="T106" fmla="*/ 2147483647 w 1362"/>
                    <a:gd name="T107" fmla="*/ 2147483647 h 1500"/>
                    <a:gd name="T108" fmla="*/ 2147483647 w 1362"/>
                    <a:gd name="T109" fmla="*/ 2147483647 h 1500"/>
                    <a:gd name="T110" fmla="*/ 2147483647 w 1362"/>
                    <a:gd name="T111" fmla="*/ 2147483647 h 1500"/>
                    <a:gd name="T112" fmla="*/ 2147483647 w 1362"/>
                    <a:gd name="T113" fmla="*/ 2147483647 h 1500"/>
                    <a:gd name="T114" fmla="*/ 2147483647 w 1362"/>
                    <a:gd name="T115" fmla="*/ 2147483647 h 150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362"/>
                    <a:gd name="T175" fmla="*/ 0 h 1500"/>
                    <a:gd name="T176" fmla="*/ 1362 w 1362"/>
                    <a:gd name="T177" fmla="*/ 1500 h 150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362" h="1500">
                      <a:moveTo>
                        <a:pt x="324" y="120"/>
                      </a:moveTo>
                      <a:lnTo>
                        <a:pt x="336" y="126"/>
                      </a:lnTo>
                      <a:lnTo>
                        <a:pt x="354" y="132"/>
                      </a:lnTo>
                      <a:lnTo>
                        <a:pt x="378" y="132"/>
                      </a:lnTo>
                      <a:lnTo>
                        <a:pt x="294" y="90"/>
                      </a:lnTo>
                      <a:lnTo>
                        <a:pt x="294" y="102"/>
                      </a:lnTo>
                      <a:lnTo>
                        <a:pt x="306" y="108"/>
                      </a:lnTo>
                      <a:lnTo>
                        <a:pt x="312" y="114"/>
                      </a:lnTo>
                      <a:lnTo>
                        <a:pt x="324" y="120"/>
                      </a:lnTo>
                      <a:close/>
                      <a:moveTo>
                        <a:pt x="684" y="48"/>
                      </a:moveTo>
                      <a:lnTo>
                        <a:pt x="732" y="48"/>
                      </a:lnTo>
                      <a:lnTo>
                        <a:pt x="738" y="54"/>
                      </a:lnTo>
                      <a:lnTo>
                        <a:pt x="750" y="54"/>
                      </a:lnTo>
                      <a:lnTo>
                        <a:pt x="774" y="66"/>
                      </a:lnTo>
                      <a:lnTo>
                        <a:pt x="786" y="66"/>
                      </a:lnTo>
                      <a:lnTo>
                        <a:pt x="798" y="60"/>
                      </a:lnTo>
                      <a:lnTo>
                        <a:pt x="804" y="60"/>
                      </a:lnTo>
                      <a:lnTo>
                        <a:pt x="816" y="54"/>
                      </a:lnTo>
                      <a:lnTo>
                        <a:pt x="828" y="54"/>
                      </a:lnTo>
                      <a:lnTo>
                        <a:pt x="840" y="60"/>
                      </a:lnTo>
                      <a:lnTo>
                        <a:pt x="876" y="72"/>
                      </a:lnTo>
                      <a:lnTo>
                        <a:pt x="888" y="78"/>
                      </a:lnTo>
                      <a:lnTo>
                        <a:pt x="894" y="84"/>
                      </a:lnTo>
                      <a:lnTo>
                        <a:pt x="900" y="84"/>
                      </a:lnTo>
                      <a:lnTo>
                        <a:pt x="924" y="60"/>
                      </a:lnTo>
                      <a:lnTo>
                        <a:pt x="984" y="66"/>
                      </a:lnTo>
                      <a:lnTo>
                        <a:pt x="984" y="42"/>
                      </a:lnTo>
                      <a:lnTo>
                        <a:pt x="1014" y="42"/>
                      </a:lnTo>
                      <a:lnTo>
                        <a:pt x="1026" y="36"/>
                      </a:lnTo>
                      <a:lnTo>
                        <a:pt x="1032" y="24"/>
                      </a:lnTo>
                      <a:lnTo>
                        <a:pt x="1038" y="18"/>
                      </a:lnTo>
                      <a:lnTo>
                        <a:pt x="1032" y="12"/>
                      </a:lnTo>
                      <a:lnTo>
                        <a:pt x="1002" y="12"/>
                      </a:lnTo>
                      <a:lnTo>
                        <a:pt x="990" y="18"/>
                      </a:lnTo>
                      <a:lnTo>
                        <a:pt x="984" y="18"/>
                      </a:lnTo>
                      <a:lnTo>
                        <a:pt x="972" y="6"/>
                      </a:lnTo>
                      <a:lnTo>
                        <a:pt x="960" y="0"/>
                      </a:lnTo>
                      <a:lnTo>
                        <a:pt x="918" y="0"/>
                      </a:lnTo>
                      <a:lnTo>
                        <a:pt x="900" y="6"/>
                      </a:lnTo>
                      <a:lnTo>
                        <a:pt x="882" y="18"/>
                      </a:lnTo>
                      <a:lnTo>
                        <a:pt x="870" y="18"/>
                      </a:lnTo>
                      <a:lnTo>
                        <a:pt x="864" y="12"/>
                      </a:lnTo>
                      <a:lnTo>
                        <a:pt x="864" y="6"/>
                      </a:lnTo>
                      <a:lnTo>
                        <a:pt x="858" y="6"/>
                      </a:lnTo>
                      <a:lnTo>
                        <a:pt x="852" y="0"/>
                      </a:lnTo>
                      <a:lnTo>
                        <a:pt x="822" y="0"/>
                      </a:lnTo>
                      <a:lnTo>
                        <a:pt x="804" y="18"/>
                      </a:lnTo>
                      <a:lnTo>
                        <a:pt x="738" y="0"/>
                      </a:lnTo>
                      <a:lnTo>
                        <a:pt x="726" y="0"/>
                      </a:lnTo>
                      <a:lnTo>
                        <a:pt x="708" y="6"/>
                      </a:lnTo>
                      <a:lnTo>
                        <a:pt x="690" y="6"/>
                      </a:lnTo>
                      <a:lnTo>
                        <a:pt x="672" y="12"/>
                      </a:lnTo>
                      <a:lnTo>
                        <a:pt x="660" y="12"/>
                      </a:lnTo>
                      <a:lnTo>
                        <a:pt x="660" y="6"/>
                      </a:lnTo>
                      <a:lnTo>
                        <a:pt x="666" y="0"/>
                      </a:lnTo>
                      <a:lnTo>
                        <a:pt x="630" y="12"/>
                      </a:lnTo>
                      <a:lnTo>
                        <a:pt x="648" y="36"/>
                      </a:lnTo>
                      <a:lnTo>
                        <a:pt x="684" y="48"/>
                      </a:lnTo>
                      <a:close/>
                      <a:moveTo>
                        <a:pt x="324" y="66"/>
                      </a:moveTo>
                      <a:lnTo>
                        <a:pt x="342" y="66"/>
                      </a:lnTo>
                      <a:lnTo>
                        <a:pt x="348" y="72"/>
                      </a:lnTo>
                      <a:lnTo>
                        <a:pt x="360" y="72"/>
                      </a:lnTo>
                      <a:lnTo>
                        <a:pt x="360" y="78"/>
                      </a:lnTo>
                      <a:lnTo>
                        <a:pt x="342" y="96"/>
                      </a:lnTo>
                      <a:lnTo>
                        <a:pt x="336" y="96"/>
                      </a:lnTo>
                      <a:lnTo>
                        <a:pt x="378" y="114"/>
                      </a:lnTo>
                      <a:lnTo>
                        <a:pt x="390" y="120"/>
                      </a:lnTo>
                      <a:lnTo>
                        <a:pt x="396" y="126"/>
                      </a:lnTo>
                      <a:lnTo>
                        <a:pt x="414" y="126"/>
                      </a:lnTo>
                      <a:lnTo>
                        <a:pt x="426" y="132"/>
                      </a:lnTo>
                      <a:lnTo>
                        <a:pt x="438" y="132"/>
                      </a:lnTo>
                      <a:lnTo>
                        <a:pt x="462" y="108"/>
                      </a:lnTo>
                      <a:lnTo>
                        <a:pt x="504" y="96"/>
                      </a:lnTo>
                      <a:lnTo>
                        <a:pt x="534" y="120"/>
                      </a:lnTo>
                      <a:lnTo>
                        <a:pt x="528" y="120"/>
                      </a:lnTo>
                      <a:lnTo>
                        <a:pt x="516" y="126"/>
                      </a:lnTo>
                      <a:lnTo>
                        <a:pt x="504" y="126"/>
                      </a:lnTo>
                      <a:lnTo>
                        <a:pt x="480" y="132"/>
                      </a:lnTo>
                      <a:lnTo>
                        <a:pt x="468" y="138"/>
                      </a:lnTo>
                      <a:lnTo>
                        <a:pt x="456" y="150"/>
                      </a:lnTo>
                      <a:lnTo>
                        <a:pt x="486" y="150"/>
                      </a:lnTo>
                      <a:lnTo>
                        <a:pt x="498" y="156"/>
                      </a:lnTo>
                      <a:lnTo>
                        <a:pt x="522" y="156"/>
                      </a:lnTo>
                      <a:lnTo>
                        <a:pt x="516" y="162"/>
                      </a:lnTo>
                      <a:lnTo>
                        <a:pt x="504" y="162"/>
                      </a:lnTo>
                      <a:lnTo>
                        <a:pt x="486" y="168"/>
                      </a:lnTo>
                      <a:lnTo>
                        <a:pt x="474" y="174"/>
                      </a:lnTo>
                      <a:lnTo>
                        <a:pt x="468" y="180"/>
                      </a:lnTo>
                      <a:lnTo>
                        <a:pt x="462" y="180"/>
                      </a:lnTo>
                      <a:lnTo>
                        <a:pt x="516" y="198"/>
                      </a:lnTo>
                      <a:lnTo>
                        <a:pt x="522" y="198"/>
                      </a:lnTo>
                      <a:lnTo>
                        <a:pt x="528" y="204"/>
                      </a:lnTo>
                      <a:lnTo>
                        <a:pt x="540" y="210"/>
                      </a:lnTo>
                      <a:lnTo>
                        <a:pt x="558" y="210"/>
                      </a:lnTo>
                      <a:lnTo>
                        <a:pt x="576" y="216"/>
                      </a:lnTo>
                      <a:lnTo>
                        <a:pt x="594" y="210"/>
                      </a:lnTo>
                      <a:lnTo>
                        <a:pt x="606" y="204"/>
                      </a:lnTo>
                      <a:lnTo>
                        <a:pt x="612" y="204"/>
                      </a:lnTo>
                      <a:lnTo>
                        <a:pt x="618" y="198"/>
                      </a:lnTo>
                      <a:lnTo>
                        <a:pt x="612" y="192"/>
                      </a:lnTo>
                      <a:lnTo>
                        <a:pt x="612" y="186"/>
                      </a:lnTo>
                      <a:lnTo>
                        <a:pt x="606" y="180"/>
                      </a:lnTo>
                      <a:lnTo>
                        <a:pt x="606" y="174"/>
                      </a:lnTo>
                      <a:lnTo>
                        <a:pt x="612" y="168"/>
                      </a:lnTo>
                      <a:lnTo>
                        <a:pt x="618" y="168"/>
                      </a:lnTo>
                      <a:lnTo>
                        <a:pt x="630" y="162"/>
                      </a:lnTo>
                      <a:lnTo>
                        <a:pt x="648" y="162"/>
                      </a:lnTo>
                      <a:lnTo>
                        <a:pt x="648" y="144"/>
                      </a:lnTo>
                      <a:lnTo>
                        <a:pt x="678" y="132"/>
                      </a:lnTo>
                      <a:lnTo>
                        <a:pt x="690" y="102"/>
                      </a:lnTo>
                      <a:lnTo>
                        <a:pt x="714" y="114"/>
                      </a:lnTo>
                      <a:lnTo>
                        <a:pt x="738" y="102"/>
                      </a:lnTo>
                      <a:lnTo>
                        <a:pt x="750" y="114"/>
                      </a:lnTo>
                      <a:lnTo>
                        <a:pt x="762" y="120"/>
                      </a:lnTo>
                      <a:lnTo>
                        <a:pt x="780" y="126"/>
                      </a:lnTo>
                      <a:lnTo>
                        <a:pt x="792" y="138"/>
                      </a:lnTo>
                      <a:lnTo>
                        <a:pt x="792" y="144"/>
                      </a:lnTo>
                      <a:lnTo>
                        <a:pt x="786" y="150"/>
                      </a:lnTo>
                      <a:lnTo>
                        <a:pt x="786" y="162"/>
                      </a:lnTo>
                      <a:lnTo>
                        <a:pt x="774" y="174"/>
                      </a:lnTo>
                      <a:lnTo>
                        <a:pt x="828" y="174"/>
                      </a:lnTo>
                      <a:lnTo>
                        <a:pt x="834" y="180"/>
                      </a:lnTo>
                      <a:lnTo>
                        <a:pt x="846" y="186"/>
                      </a:lnTo>
                      <a:lnTo>
                        <a:pt x="852" y="192"/>
                      </a:lnTo>
                      <a:lnTo>
                        <a:pt x="858" y="192"/>
                      </a:lnTo>
                      <a:lnTo>
                        <a:pt x="864" y="186"/>
                      </a:lnTo>
                      <a:lnTo>
                        <a:pt x="876" y="186"/>
                      </a:lnTo>
                      <a:lnTo>
                        <a:pt x="894" y="174"/>
                      </a:lnTo>
                      <a:lnTo>
                        <a:pt x="906" y="168"/>
                      </a:lnTo>
                      <a:lnTo>
                        <a:pt x="924" y="162"/>
                      </a:lnTo>
                      <a:lnTo>
                        <a:pt x="936" y="156"/>
                      </a:lnTo>
                      <a:lnTo>
                        <a:pt x="942" y="150"/>
                      </a:lnTo>
                      <a:lnTo>
                        <a:pt x="942" y="144"/>
                      </a:lnTo>
                      <a:lnTo>
                        <a:pt x="936" y="144"/>
                      </a:lnTo>
                      <a:lnTo>
                        <a:pt x="924" y="138"/>
                      </a:lnTo>
                      <a:lnTo>
                        <a:pt x="888" y="138"/>
                      </a:lnTo>
                      <a:lnTo>
                        <a:pt x="882" y="120"/>
                      </a:lnTo>
                      <a:lnTo>
                        <a:pt x="828" y="114"/>
                      </a:lnTo>
                      <a:lnTo>
                        <a:pt x="828" y="96"/>
                      </a:lnTo>
                      <a:lnTo>
                        <a:pt x="798" y="102"/>
                      </a:lnTo>
                      <a:lnTo>
                        <a:pt x="798" y="84"/>
                      </a:lnTo>
                      <a:lnTo>
                        <a:pt x="726" y="84"/>
                      </a:lnTo>
                      <a:lnTo>
                        <a:pt x="720" y="72"/>
                      </a:lnTo>
                      <a:lnTo>
                        <a:pt x="684" y="72"/>
                      </a:lnTo>
                      <a:lnTo>
                        <a:pt x="678" y="60"/>
                      </a:lnTo>
                      <a:lnTo>
                        <a:pt x="654" y="48"/>
                      </a:lnTo>
                      <a:lnTo>
                        <a:pt x="624" y="48"/>
                      </a:lnTo>
                      <a:lnTo>
                        <a:pt x="624" y="30"/>
                      </a:lnTo>
                      <a:lnTo>
                        <a:pt x="618" y="30"/>
                      </a:lnTo>
                      <a:lnTo>
                        <a:pt x="612" y="24"/>
                      </a:lnTo>
                      <a:lnTo>
                        <a:pt x="540" y="24"/>
                      </a:lnTo>
                      <a:lnTo>
                        <a:pt x="534" y="30"/>
                      </a:lnTo>
                      <a:lnTo>
                        <a:pt x="534" y="36"/>
                      </a:lnTo>
                      <a:lnTo>
                        <a:pt x="540" y="42"/>
                      </a:lnTo>
                      <a:lnTo>
                        <a:pt x="546" y="54"/>
                      </a:lnTo>
                      <a:lnTo>
                        <a:pt x="564" y="72"/>
                      </a:lnTo>
                      <a:lnTo>
                        <a:pt x="552" y="66"/>
                      </a:lnTo>
                      <a:lnTo>
                        <a:pt x="546" y="60"/>
                      </a:lnTo>
                      <a:lnTo>
                        <a:pt x="528" y="48"/>
                      </a:lnTo>
                      <a:lnTo>
                        <a:pt x="492" y="30"/>
                      </a:lnTo>
                      <a:lnTo>
                        <a:pt x="480" y="30"/>
                      </a:lnTo>
                      <a:lnTo>
                        <a:pt x="474" y="36"/>
                      </a:lnTo>
                      <a:lnTo>
                        <a:pt x="468" y="48"/>
                      </a:lnTo>
                      <a:lnTo>
                        <a:pt x="462" y="54"/>
                      </a:lnTo>
                      <a:lnTo>
                        <a:pt x="450" y="54"/>
                      </a:lnTo>
                      <a:lnTo>
                        <a:pt x="438" y="48"/>
                      </a:lnTo>
                      <a:lnTo>
                        <a:pt x="420" y="48"/>
                      </a:lnTo>
                      <a:lnTo>
                        <a:pt x="420" y="42"/>
                      </a:lnTo>
                      <a:lnTo>
                        <a:pt x="426" y="42"/>
                      </a:lnTo>
                      <a:lnTo>
                        <a:pt x="438" y="30"/>
                      </a:lnTo>
                      <a:lnTo>
                        <a:pt x="384" y="30"/>
                      </a:lnTo>
                      <a:lnTo>
                        <a:pt x="372" y="42"/>
                      </a:lnTo>
                      <a:lnTo>
                        <a:pt x="366" y="30"/>
                      </a:lnTo>
                      <a:lnTo>
                        <a:pt x="354" y="30"/>
                      </a:lnTo>
                      <a:lnTo>
                        <a:pt x="318" y="48"/>
                      </a:lnTo>
                      <a:lnTo>
                        <a:pt x="318" y="60"/>
                      </a:lnTo>
                      <a:lnTo>
                        <a:pt x="324" y="66"/>
                      </a:lnTo>
                      <a:close/>
                      <a:moveTo>
                        <a:pt x="642" y="708"/>
                      </a:moveTo>
                      <a:lnTo>
                        <a:pt x="666" y="696"/>
                      </a:lnTo>
                      <a:lnTo>
                        <a:pt x="666" y="690"/>
                      </a:lnTo>
                      <a:lnTo>
                        <a:pt x="678" y="690"/>
                      </a:lnTo>
                      <a:lnTo>
                        <a:pt x="678" y="678"/>
                      </a:lnTo>
                      <a:lnTo>
                        <a:pt x="672" y="672"/>
                      </a:lnTo>
                      <a:lnTo>
                        <a:pt x="630" y="690"/>
                      </a:lnTo>
                      <a:lnTo>
                        <a:pt x="642" y="708"/>
                      </a:lnTo>
                      <a:close/>
                      <a:moveTo>
                        <a:pt x="774" y="648"/>
                      </a:moveTo>
                      <a:lnTo>
                        <a:pt x="780" y="642"/>
                      </a:lnTo>
                      <a:lnTo>
                        <a:pt x="786" y="642"/>
                      </a:lnTo>
                      <a:lnTo>
                        <a:pt x="792" y="636"/>
                      </a:lnTo>
                      <a:lnTo>
                        <a:pt x="792" y="630"/>
                      </a:lnTo>
                      <a:lnTo>
                        <a:pt x="786" y="624"/>
                      </a:lnTo>
                      <a:lnTo>
                        <a:pt x="774" y="624"/>
                      </a:lnTo>
                      <a:lnTo>
                        <a:pt x="768" y="630"/>
                      </a:lnTo>
                      <a:lnTo>
                        <a:pt x="768" y="642"/>
                      </a:lnTo>
                      <a:lnTo>
                        <a:pt x="774" y="648"/>
                      </a:lnTo>
                      <a:close/>
                      <a:moveTo>
                        <a:pt x="594" y="696"/>
                      </a:moveTo>
                      <a:lnTo>
                        <a:pt x="576" y="696"/>
                      </a:lnTo>
                      <a:lnTo>
                        <a:pt x="552" y="708"/>
                      </a:lnTo>
                      <a:lnTo>
                        <a:pt x="546" y="714"/>
                      </a:lnTo>
                      <a:lnTo>
                        <a:pt x="570" y="720"/>
                      </a:lnTo>
                      <a:lnTo>
                        <a:pt x="576" y="714"/>
                      </a:lnTo>
                      <a:lnTo>
                        <a:pt x="588" y="714"/>
                      </a:lnTo>
                      <a:lnTo>
                        <a:pt x="600" y="702"/>
                      </a:lnTo>
                      <a:lnTo>
                        <a:pt x="594" y="696"/>
                      </a:lnTo>
                      <a:close/>
                      <a:moveTo>
                        <a:pt x="918" y="612"/>
                      </a:moveTo>
                      <a:lnTo>
                        <a:pt x="936" y="618"/>
                      </a:lnTo>
                      <a:lnTo>
                        <a:pt x="942" y="606"/>
                      </a:lnTo>
                      <a:lnTo>
                        <a:pt x="948" y="600"/>
                      </a:lnTo>
                      <a:lnTo>
                        <a:pt x="948" y="594"/>
                      </a:lnTo>
                      <a:lnTo>
                        <a:pt x="918" y="594"/>
                      </a:lnTo>
                      <a:lnTo>
                        <a:pt x="918" y="612"/>
                      </a:lnTo>
                      <a:close/>
                      <a:moveTo>
                        <a:pt x="486" y="756"/>
                      </a:moveTo>
                      <a:lnTo>
                        <a:pt x="474" y="756"/>
                      </a:lnTo>
                      <a:lnTo>
                        <a:pt x="438" y="774"/>
                      </a:lnTo>
                      <a:lnTo>
                        <a:pt x="432" y="780"/>
                      </a:lnTo>
                      <a:lnTo>
                        <a:pt x="432" y="786"/>
                      </a:lnTo>
                      <a:lnTo>
                        <a:pt x="444" y="786"/>
                      </a:lnTo>
                      <a:lnTo>
                        <a:pt x="456" y="780"/>
                      </a:lnTo>
                      <a:lnTo>
                        <a:pt x="462" y="774"/>
                      </a:lnTo>
                      <a:lnTo>
                        <a:pt x="474" y="768"/>
                      </a:lnTo>
                      <a:lnTo>
                        <a:pt x="510" y="768"/>
                      </a:lnTo>
                      <a:lnTo>
                        <a:pt x="510" y="762"/>
                      </a:lnTo>
                      <a:lnTo>
                        <a:pt x="504" y="762"/>
                      </a:lnTo>
                      <a:lnTo>
                        <a:pt x="504" y="756"/>
                      </a:lnTo>
                      <a:lnTo>
                        <a:pt x="486" y="756"/>
                      </a:lnTo>
                      <a:close/>
                      <a:moveTo>
                        <a:pt x="1356" y="660"/>
                      </a:moveTo>
                      <a:lnTo>
                        <a:pt x="1326" y="666"/>
                      </a:lnTo>
                      <a:lnTo>
                        <a:pt x="1290" y="654"/>
                      </a:lnTo>
                      <a:lnTo>
                        <a:pt x="1260" y="642"/>
                      </a:lnTo>
                      <a:lnTo>
                        <a:pt x="1302" y="642"/>
                      </a:lnTo>
                      <a:lnTo>
                        <a:pt x="1326" y="630"/>
                      </a:lnTo>
                      <a:lnTo>
                        <a:pt x="1344" y="630"/>
                      </a:lnTo>
                      <a:lnTo>
                        <a:pt x="1350" y="624"/>
                      </a:lnTo>
                      <a:lnTo>
                        <a:pt x="1356" y="624"/>
                      </a:lnTo>
                      <a:lnTo>
                        <a:pt x="1344" y="618"/>
                      </a:lnTo>
                      <a:lnTo>
                        <a:pt x="1338" y="612"/>
                      </a:lnTo>
                      <a:lnTo>
                        <a:pt x="1320" y="606"/>
                      </a:lnTo>
                      <a:lnTo>
                        <a:pt x="1308" y="600"/>
                      </a:lnTo>
                      <a:lnTo>
                        <a:pt x="1284" y="600"/>
                      </a:lnTo>
                      <a:lnTo>
                        <a:pt x="1260" y="588"/>
                      </a:lnTo>
                      <a:lnTo>
                        <a:pt x="1254" y="588"/>
                      </a:lnTo>
                      <a:lnTo>
                        <a:pt x="1242" y="582"/>
                      </a:lnTo>
                      <a:lnTo>
                        <a:pt x="1242" y="588"/>
                      </a:lnTo>
                      <a:lnTo>
                        <a:pt x="1236" y="594"/>
                      </a:lnTo>
                      <a:lnTo>
                        <a:pt x="1236" y="600"/>
                      </a:lnTo>
                      <a:lnTo>
                        <a:pt x="1218" y="618"/>
                      </a:lnTo>
                      <a:lnTo>
                        <a:pt x="1206" y="618"/>
                      </a:lnTo>
                      <a:lnTo>
                        <a:pt x="1200" y="612"/>
                      </a:lnTo>
                      <a:lnTo>
                        <a:pt x="1224" y="588"/>
                      </a:lnTo>
                      <a:lnTo>
                        <a:pt x="1158" y="564"/>
                      </a:lnTo>
                      <a:lnTo>
                        <a:pt x="1158" y="576"/>
                      </a:lnTo>
                      <a:lnTo>
                        <a:pt x="1152" y="594"/>
                      </a:lnTo>
                      <a:lnTo>
                        <a:pt x="1134" y="630"/>
                      </a:lnTo>
                      <a:lnTo>
                        <a:pt x="1128" y="630"/>
                      </a:lnTo>
                      <a:lnTo>
                        <a:pt x="1122" y="624"/>
                      </a:lnTo>
                      <a:lnTo>
                        <a:pt x="1116" y="612"/>
                      </a:lnTo>
                      <a:lnTo>
                        <a:pt x="1116" y="594"/>
                      </a:lnTo>
                      <a:lnTo>
                        <a:pt x="1122" y="582"/>
                      </a:lnTo>
                      <a:lnTo>
                        <a:pt x="1116" y="594"/>
                      </a:lnTo>
                      <a:lnTo>
                        <a:pt x="1104" y="600"/>
                      </a:lnTo>
                      <a:lnTo>
                        <a:pt x="1080" y="624"/>
                      </a:lnTo>
                      <a:lnTo>
                        <a:pt x="1056" y="636"/>
                      </a:lnTo>
                      <a:lnTo>
                        <a:pt x="1050" y="636"/>
                      </a:lnTo>
                      <a:lnTo>
                        <a:pt x="1050" y="630"/>
                      </a:lnTo>
                      <a:lnTo>
                        <a:pt x="1056" y="618"/>
                      </a:lnTo>
                      <a:lnTo>
                        <a:pt x="1086" y="588"/>
                      </a:lnTo>
                      <a:lnTo>
                        <a:pt x="1092" y="576"/>
                      </a:lnTo>
                      <a:lnTo>
                        <a:pt x="1104" y="570"/>
                      </a:lnTo>
                      <a:lnTo>
                        <a:pt x="1068" y="570"/>
                      </a:lnTo>
                      <a:lnTo>
                        <a:pt x="1050" y="582"/>
                      </a:lnTo>
                      <a:lnTo>
                        <a:pt x="1026" y="582"/>
                      </a:lnTo>
                      <a:lnTo>
                        <a:pt x="984" y="606"/>
                      </a:lnTo>
                      <a:lnTo>
                        <a:pt x="960" y="606"/>
                      </a:lnTo>
                      <a:lnTo>
                        <a:pt x="954" y="636"/>
                      </a:lnTo>
                      <a:lnTo>
                        <a:pt x="918" y="624"/>
                      </a:lnTo>
                      <a:lnTo>
                        <a:pt x="882" y="630"/>
                      </a:lnTo>
                      <a:lnTo>
                        <a:pt x="894" y="660"/>
                      </a:lnTo>
                      <a:lnTo>
                        <a:pt x="846" y="648"/>
                      </a:lnTo>
                      <a:lnTo>
                        <a:pt x="828" y="654"/>
                      </a:lnTo>
                      <a:lnTo>
                        <a:pt x="834" y="678"/>
                      </a:lnTo>
                      <a:lnTo>
                        <a:pt x="792" y="690"/>
                      </a:lnTo>
                      <a:lnTo>
                        <a:pt x="792" y="654"/>
                      </a:lnTo>
                      <a:lnTo>
                        <a:pt x="762" y="654"/>
                      </a:lnTo>
                      <a:lnTo>
                        <a:pt x="774" y="678"/>
                      </a:lnTo>
                      <a:lnTo>
                        <a:pt x="750" y="660"/>
                      </a:lnTo>
                      <a:lnTo>
                        <a:pt x="750" y="690"/>
                      </a:lnTo>
                      <a:lnTo>
                        <a:pt x="726" y="690"/>
                      </a:lnTo>
                      <a:lnTo>
                        <a:pt x="726" y="660"/>
                      </a:lnTo>
                      <a:lnTo>
                        <a:pt x="738" y="654"/>
                      </a:lnTo>
                      <a:lnTo>
                        <a:pt x="744" y="648"/>
                      </a:lnTo>
                      <a:lnTo>
                        <a:pt x="708" y="642"/>
                      </a:lnTo>
                      <a:lnTo>
                        <a:pt x="708" y="684"/>
                      </a:lnTo>
                      <a:lnTo>
                        <a:pt x="678" y="696"/>
                      </a:lnTo>
                      <a:lnTo>
                        <a:pt x="696" y="708"/>
                      </a:lnTo>
                      <a:lnTo>
                        <a:pt x="660" y="714"/>
                      </a:lnTo>
                      <a:lnTo>
                        <a:pt x="672" y="726"/>
                      </a:lnTo>
                      <a:lnTo>
                        <a:pt x="630" y="726"/>
                      </a:lnTo>
                      <a:lnTo>
                        <a:pt x="630" y="738"/>
                      </a:lnTo>
                      <a:lnTo>
                        <a:pt x="660" y="750"/>
                      </a:lnTo>
                      <a:lnTo>
                        <a:pt x="654" y="762"/>
                      </a:lnTo>
                      <a:lnTo>
                        <a:pt x="618" y="744"/>
                      </a:lnTo>
                      <a:lnTo>
                        <a:pt x="600" y="750"/>
                      </a:lnTo>
                      <a:lnTo>
                        <a:pt x="624" y="762"/>
                      </a:lnTo>
                      <a:lnTo>
                        <a:pt x="606" y="780"/>
                      </a:lnTo>
                      <a:lnTo>
                        <a:pt x="594" y="762"/>
                      </a:lnTo>
                      <a:lnTo>
                        <a:pt x="576" y="768"/>
                      </a:lnTo>
                      <a:lnTo>
                        <a:pt x="576" y="780"/>
                      </a:lnTo>
                      <a:lnTo>
                        <a:pt x="546" y="780"/>
                      </a:lnTo>
                      <a:lnTo>
                        <a:pt x="540" y="792"/>
                      </a:lnTo>
                      <a:lnTo>
                        <a:pt x="564" y="804"/>
                      </a:lnTo>
                      <a:lnTo>
                        <a:pt x="564" y="822"/>
                      </a:lnTo>
                      <a:lnTo>
                        <a:pt x="528" y="810"/>
                      </a:lnTo>
                      <a:lnTo>
                        <a:pt x="522" y="822"/>
                      </a:lnTo>
                      <a:lnTo>
                        <a:pt x="552" y="834"/>
                      </a:lnTo>
                      <a:lnTo>
                        <a:pt x="504" y="834"/>
                      </a:lnTo>
                      <a:lnTo>
                        <a:pt x="504" y="852"/>
                      </a:lnTo>
                      <a:lnTo>
                        <a:pt x="492" y="846"/>
                      </a:lnTo>
                      <a:lnTo>
                        <a:pt x="486" y="846"/>
                      </a:lnTo>
                      <a:lnTo>
                        <a:pt x="474" y="852"/>
                      </a:lnTo>
                      <a:lnTo>
                        <a:pt x="468" y="858"/>
                      </a:lnTo>
                      <a:lnTo>
                        <a:pt x="456" y="858"/>
                      </a:lnTo>
                      <a:lnTo>
                        <a:pt x="456" y="870"/>
                      </a:lnTo>
                      <a:lnTo>
                        <a:pt x="462" y="876"/>
                      </a:lnTo>
                      <a:lnTo>
                        <a:pt x="456" y="876"/>
                      </a:lnTo>
                      <a:lnTo>
                        <a:pt x="450" y="882"/>
                      </a:lnTo>
                      <a:lnTo>
                        <a:pt x="444" y="882"/>
                      </a:lnTo>
                      <a:lnTo>
                        <a:pt x="444" y="900"/>
                      </a:lnTo>
                      <a:lnTo>
                        <a:pt x="480" y="900"/>
                      </a:lnTo>
                      <a:lnTo>
                        <a:pt x="468" y="912"/>
                      </a:lnTo>
                      <a:lnTo>
                        <a:pt x="432" y="906"/>
                      </a:lnTo>
                      <a:lnTo>
                        <a:pt x="420" y="912"/>
                      </a:lnTo>
                      <a:lnTo>
                        <a:pt x="414" y="918"/>
                      </a:lnTo>
                      <a:lnTo>
                        <a:pt x="414" y="930"/>
                      </a:lnTo>
                      <a:lnTo>
                        <a:pt x="420" y="936"/>
                      </a:lnTo>
                      <a:lnTo>
                        <a:pt x="420" y="948"/>
                      </a:lnTo>
                      <a:lnTo>
                        <a:pt x="408" y="954"/>
                      </a:lnTo>
                      <a:lnTo>
                        <a:pt x="390" y="954"/>
                      </a:lnTo>
                      <a:lnTo>
                        <a:pt x="390" y="972"/>
                      </a:lnTo>
                      <a:lnTo>
                        <a:pt x="408" y="990"/>
                      </a:lnTo>
                      <a:lnTo>
                        <a:pt x="408" y="996"/>
                      </a:lnTo>
                      <a:lnTo>
                        <a:pt x="402" y="1002"/>
                      </a:lnTo>
                      <a:lnTo>
                        <a:pt x="366" y="1002"/>
                      </a:lnTo>
                      <a:lnTo>
                        <a:pt x="360" y="1008"/>
                      </a:lnTo>
                      <a:lnTo>
                        <a:pt x="360" y="1026"/>
                      </a:lnTo>
                      <a:lnTo>
                        <a:pt x="354" y="1032"/>
                      </a:lnTo>
                      <a:lnTo>
                        <a:pt x="342" y="1032"/>
                      </a:lnTo>
                      <a:lnTo>
                        <a:pt x="336" y="1026"/>
                      </a:lnTo>
                      <a:lnTo>
                        <a:pt x="318" y="1026"/>
                      </a:lnTo>
                      <a:lnTo>
                        <a:pt x="294" y="1050"/>
                      </a:lnTo>
                      <a:lnTo>
                        <a:pt x="282" y="1050"/>
                      </a:lnTo>
                      <a:lnTo>
                        <a:pt x="270" y="1062"/>
                      </a:lnTo>
                      <a:lnTo>
                        <a:pt x="270" y="1068"/>
                      </a:lnTo>
                      <a:lnTo>
                        <a:pt x="276" y="1074"/>
                      </a:lnTo>
                      <a:lnTo>
                        <a:pt x="276" y="1080"/>
                      </a:lnTo>
                      <a:lnTo>
                        <a:pt x="264" y="1092"/>
                      </a:lnTo>
                      <a:lnTo>
                        <a:pt x="252" y="1092"/>
                      </a:lnTo>
                      <a:lnTo>
                        <a:pt x="246" y="1086"/>
                      </a:lnTo>
                      <a:lnTo>
                        <a:pt x="234" y="1080"/>
                      </a:lnTo>
                      <a:lnTo>
                        <a:pt x="234" y="1074"/>
                      </a:lnTo>
                      <a:lnTo>
                        <a:pt x="228" y="1074"/>
                      </a:lnTo>
                      <a:lnTo>
                        <a:pt x="204" y="1086"/>
                      </a:lnTo>
                      <a:lnTo>
                        <a:pt x="198" y="1092"/>
                      </a:lnTo>
                      <a:lnTo>
                        <a:pt x="180" y="1092"/>
                      </a:lnTo>
                      <a:lnTo>
                        <a:pt x="180" y="1110"/>
                      </a:lnTo>
                      <a:lnTo>
                        <a:pt x="186" y="1116"/>
                      </a:lnTo>
                      <a:lnTo>
                        <a:pt x="192" y="1116"/>
                      </a:lnTo>
                      <a:lnTo>
                        <a:pt x="192" y="1128"/>
                      </a:lnTo>
                      <a:lnTo>
                        <a:pt x="186" y="1128"/>
                      </a:lnTo>
                      <a:lnTo>
                        <a:pt x="174" y="1116"/>
                      </a:lnTo>
                      <a:lnTo>
                        <a:pt x="162" y="1116"/>
                      </a:lnTo>
                      <a:lnTo>
                        <a:pt x="156" y="1122"/>
                      </a:lnTo>
                      <a:lnTo>
                        <a:pt x="156" y="1134"/>
                      </a:lnTo>
                      <a:lnTo>
                        <a:pt x="168" y="1134"/>
                      </a:lnTo>
                      <a:lnTo>
                        <a:pt x="174" y="1140"/>
                      </a:lnTo>
                      <a:lnTo>
                        <a:pt x="180" y="1140"/>
                      </a:lnTo>
                      <a:lnTo>
                        <a:pt x="180" y="1152"/>
                      </a:lnTo>
                      <a:lnTo>
                        <a:pt x="138" y="1152"/>
                      </a:lnTo>
                      <a:lnTo>
                        <a:pt x="138" y="1146"/>
                      </a:lnTo>
                      <a:lnTo>
                        <a:pt x="132" y="1146"/>
                      </a:lnTo>
                      <a:lnTo>
                        <a:pt x="126" y="1158"/>
                      </a:lnTo>
                      <a:lnTo>
                        <a:pt x="126" y="1170"/>
                      </a:lnTo>
                      <a:lnTo>
                        <a:pt x="120" y="1164"/>
                      </a:lnTo>
                      <a:lnTo>
                        <a:pt x="102" y="1164"/>
                      </a:lnTo>
                      <a:lnTo>
                        <a:pt x="96" y="1158"/>
                      </a:lnTo>
                      <a:lnTo>
                        <a:pt x="90" y="1158"/>
                      </a:lnTo>
                      <a:lnTo>
                        <a:pt x="90" y="1164"/>
                      </a:lnTo>
                      <a:lnTo>
                        <a:pt x="96" y="1170"/>
                      </a:lnTo>
                      <a:lnTo>
                        <a:pt x="120" y="1182"/>
                      </a:lnTo>
                      <a:lnTo>
                        <a:pt x="132" y="1182"/>
                      </a:lnTo>
                      <a:lnTo>
                        <a:pt x="108" y="1200"/>
                      </a:lnTo>
                      <a:lnTo>
                        <a:pt x="108" y="1188"/>
                      </a:lnTo>
                      <a:lnTo>
                        <a:pt x="90" y="1188"/>
                      </a:lnTo>
                      <a:lnTo>
                        <a:pt x="84" y="1194"/>
                      </a:lnTo>
                      <a:lnTo>
                        <a:pt x="60" y="1182"/>
                      </a:lnTo>
                      <a:lnTo>
                        <a:pt x="54" y="1194"/>
                      </a:lnTo>
                      <a:lnTo>
                        <a:pt x="66" y="1200"/>
                      </a:lnTo>
                      <a:lnTo>
                        <a:pt x="30" y="1194"/>
                      </a:lnTo>
                      <a:lnTo>
                        <a:pt x="30" y="1212"/>
                      </a:lnTo>
                      <a:lnTo>
                        <a:pt x="78" y="1212"/>
                      </a:lnTo>
                      <a:lnTo>
                        <a:pt x="54" y="1218"/>
                      </a:lnTo>
                      <a:lnTo>
                        <a:pt x="18" y="1212"/>
                      </a:lnTo>
                      <a:lnTo>
                        <a:pt x="6" y="1224"/>
                      </a:lnTo>
                      <a:lnTo>
                        <a:pt x="6" y="1230"/>
                      </a:lnTo>
                      <a:lnTo>
                        <a:pt x="18" y="1242"/>
                      </a:lnTo>
                      <a:lnTo>
                        <a:pt x="36" y="1242"/>
                      </a:lnTo>
                      <a:lnTo>
                        <a:pt x="18" y="1248"/>
                      </a:lnTo>
                      <a:lnTo>
                        <a:pt x="12" y="1254"/>
                      </a:lnTo>
                      <a:lnTo>
                        <a:pt x="12" y="1260"/>
                      </a:lnTo>
                      <a:lnTo>
                        <a:pt x="66" y="1260"/>
                      </a:lnTo>
                      <a:lnTo>
                        <a:pt x="78" y="1272"/>
                      </a:lnTo>
                      <a:lnTo>
                        <a:pt x="96" y="1260"/>
                      </a:lnTo>
                      <a:lnTo>
                        <a:pt x="108" y="1272"/>
                      </a:lnTo>
                      <a:lnTo>
                        <a:pt x="138" y="1260"/>
                      </a:lnTo>
                      <a:lnTo>
                        <a:pt x="132" y="1266"/>
                      </a:lnTo>
                      <a:lnTo>
                        <a:pt x="126" y="1278"/>
                      </a:lnTo>
                      <a:lnTo>
                        <a:pt x="60" y="1278"/>
                      </a:lnTo>
                      <a:lnTo>
                        <a:pt x="54" y="1272"/>
                      </a:lnTo>
                      <a:lnTo>
                        <a:pt x="24" y="1272"/>
                      </a:lnTo>
                      <a:lnTo>
                        <a:pt x="12" y="1278"/>
                      </a:lnTo>
                      <a:lnTo>
                        <a:pt x="0" y="1278"/>
                      </a:lnTo>
                      <a:lnTo>
                        <a:pt x="6" y="1284"/>
                      </a:lnTo>
                      <a:lnTo>
                        <a:pt x="6" y="1296"/>
                      </a:lnTo>
                      <a:lnTo>
                        <a:pt x="12" y="1296"/>
                      </a:lnTo>
                      <a:lnTo>
                        <a:pt x="18" y="1302"/>
                      </a:lnTo>
                      <a:lnTo>
                        <a:pt x="30" y="1302"/>
                      </a:lnTo>
                      <a:lnTo>
                        <a:pt x="24" y="1308"/>
                      </a:lnTo>
                      <a:lnTo>
                        <a:pt x="18" y="1320"/>
                      </a:lnTo>
                      <a:lnTo>
                        <a:pt x="36" y="1338"/>
                      </a:lnTo>
                      <a:lnTo>
                        <a:pt x="48" y="1338"/>
                      </a:lnTo>
                      <a:lnTo>
                        <a:pt x="72" y="1320"/>
                      </a:lnTo>
                      <a:lnTo>
                        <a:pt x="102" y="1314"/>
                      </a:lnTo>
                      <a:lnTo>
                        <a:pt x="90" y="1338"/>
                      </a:lnTo>
                      <a:lnTo>
                        <a:pt x="78" y="1332"/>
                      </a:lnTo>
                      <a:lnTo>
                        <a:pt x="66" y="1350"/>
                      </a:lnTo>
                      <a:lnTo>
                        <a:pt x="30" y="1350"/>
                      </a:lnTo>
                      <a:lnTo>
                        <a:pt x="48" y="1368"/>
                      </a:lnTo>
                      <a:lnTo>
                        <a:pt x="24" y="1380"/>
                      </a:lnTo>
                      <a:lnTo>
                        <a:pt x="6" y="1380"/>
                      </a:lnTo>
                      <a:lnTo>
                        <a:pt x="6" y="1398"/>
                      </a:lnTo>
                      <a:lnTo>
                        <a:pt x="66" y="1398"/>
                      </a:lnTo>
                      <a:lnTo>
                        <a:pt x="54" y="1422"/>
                      </a:lnTo>
                      <a:lnTo>
                        <a:pt x="66" y="1422"/>
                      </a:lnTo>
                      <a:lnTo>
                        <a:pt x="54" y="1440"/>
                      </a:lnTo>
                      <a:lnTo>
                        <a:pt x="42" y="1434"/>
                      </a:lnTo>
                      <a:lnTo>
                        <a:pt x="36" y="1434"/>
                      </a:lnTo>
                      <a:lnTo>
                        <a:pt x="30" y="1428"/>
                      </a:lnTo>
                      <a:lnTo>
                        <a:pt x="18" y="1428"/>
                      </a:lnTo>
                      <a:lnTo>
                        <a:pt x="18" y="1440"/>
                      </a:lnTo>
                      <a:lnTo>
                        <a:pt x="24" y="1452"/>
                      </a:lnTo>
                      <a:lnTo>
                        <a:pt x="36" y="1464"/>
                      </a:lnTo>
                      <a:lnTo>
                        <a:pt x="84" y="1482"/>
                      </a:lnTo>
                      <a:lnTo>
                        <a:pt x="78" y="1488"/>
                      </a:lnTo>
                      <a:lnTo>
                        <a:pt x="84" y="1494"/>
                      </a:lnTo>
                      <a:lnTo>
                        <a:pt x="126" y="1494"/>
                      </a:lnTo>
                      <a:lnTo>
                        <a:pt x="132" y="1500"/>
                      </a:lnTo>
                      <a:lnTo>
                        <a:pt x="144" y="1500"/>
                      </a:lnTo>
                      <a:lnTo>
                        <a:pt x="192" y="1476"/>
                      </a:lnTo>
                      <a:lnTo>
                        <a:pt x="204" y="1464"/>
                      </a:lnTo>
                      <a:lnTo>
                        <a:pt x="216" y="1458"/>
                      </a:lnTo>
                      <a:lnTo>
                        <a:pt x="222" y="1452"/>
                      </a:lnTo>
                      <a:lnTo>
                        <a:pt x="258" y="1422"/>
                      </a:lnTo>
                      <a:lnTo>
                        <a:pt x="282" y="1422"/>
                      </a:lnTo>
                      <a:lnTo>
                        <a:pt x="294" y="1416"/>
                      </a:lnTo>
                      <a:lnTo>
                        <a:pt x="300" y="1410"/>
                      </a:lnTo>
                      <a:lnTo>
                        <a:pt x="300" y="1386"/>
                      </a:lnTo>
                      <a:lnTo>
                        <a:pt x="294" y="1380"/>
                      </a:lnTo>
                      <a:lnTo>
                        <a:pt x="294" y="1374"/>
                      </a:lnTo>
                      <a:lnTo>
                        <a:pt x="312" y="1368"/>
                      </a:lnTo>
                      <a:lnTo>
                        <a:pt x="306" y="1374"/>
                      </a:lnTo>
                      <a:lnTo>
                        <a:pt x="306" y="1380"/>
                      </a:lnTo>
                      <a:lnTo>
                        <a:pt x="300" y="1386"/>
                      </a:lnTo>
                      <a:lnTo>
                        <a:pt x="300" y="1392"/>
                      </a:lnTo>
                      <a:lnTo>
                        <a:pt x="312" y="1404"/>
                      </a:lnTo>
                      <a:lnTo>
                        <a:pt x="330" y="1410"/>
                      </a:lnTo>
                      <a:lnTo>
                        <a:pt x="342" y="1410"/>
                      </a:lnTo>
                      <a:lnTo>
                        <a:pt x="348" y="1416"/>
                      </a:lnTo>
                      <a:lnTo>
                        <a:pt x="354" y="1416"/>
                      </a:lnTo>
                      <a:lnTo>
                        <a:pt x="372" y="1434"/>
                      </a:lnTo>
                      <a:lnTo>
                        <a:pt x="378" y="1422"/>
                      </a:lnTo>
                      <a:lnTo>
                        <a:pt x="384" y="1416"/>
                      </a:lnTo>
                      <a:lnTo>
                        <a:pt x="384" y="1398"/>
                      </a:lnTo>
                      <a:lnTo>
                        <a:pt x="372" y="1386"/>
                      </a:lnTo>
                      <a:lnTo>
                        <a:pt x="372" y="1380"/>
                      </a:lnTo>
                      <a:lnTo>
                        <a:pt x="378" y="1374"/>
                      </a:lnTo>
                      <a:lnTo>
                        <a:pt x="384" y="1374"/>
                      </a:lnTo>
                      <a:lnTo>
                        <a:pt x="384" y="1368"/>
                      </a:lnTo>
                      <a:lnTo>
                        <a:pt x="378" y="1356"/>
                      </a:lnTo>
                      <a:lnTo>
                        <a:pt x="414" y="1356"/>
                      </a:lnTo>
                      <a:lnTo>
                        <a:pt x="420" y="1350"/>
                      </a:lnTo>
                      <a:lnTo>
                        <a:pt x="420" y="1326"/>
                      </a:lnTo>
                      <a:lnTo>
                        <a:pt x="426" y="1326"/>
                      </a:lnTo>
                      <a:lnTo>
                        <a:pt x="420" y="1314"/>
                      </a:lnTo>
                      <a:lnTo>
                        <a:pt x="420" y="1308"/>
                      </a:lnTo>
                      <a:lnTo>
                        <a:pt x="414" y="1302"/>
                      </a:lnTo>
                      <a:lnTo>
                        <a:pt x="414" y="1296"/>
                      </a:lnTo>
                      <a:lnTo>
                        <a:pt x="408" y="1284"/>
                      </a:lnTo>
                      <a:lnTo>
                        <a:pt x="402" y="1278"/>
                      </a:lnTo>
                      <a:lnTo>
                        <a:pt x="426" y="1272"/>
                      </a:lnTo>
                      <a:lnTo>
                        <a:pt x="438" y="1260"/>
                      </a:lnTo>
                      <a:lnTo>
                        <a:pt x="438" y="1248"/>
                      </a:lnTo>
                      <a:lnTo>
                        <a:pt x="420" y="1230"/>
                      </a:lnTo>
                      <a:lnTo>
                        <a:pt x="414" y="1230"/>
                      </a:lnTo>
                      <a:lnTo>
                        <a:pt x="402" y="1218"/>
                      </a:lnTo>
                      <a:lnTo>
                        <a:pt x="402" y="1200"/>
                      </a:lnTo>
                      <a:lnTo>
                        <a:pt x="408" y="1188"/>
                      </a:lnTo>
                      <a:lnTo>
                        <a:pt x="408" y="1176"/>
                      </a:lnTo>
                      <a:lnTo>
                        <a:pt x="384" y="1152"/>
                      </a:lnTo>
                      <a:lnTo>
                        <a:pt x="384" y="1140"/>
                      </a:lnTo>
                      <a:lnTo>
                        <a:pt x="390" y="1134"/>
                      </a:lnTo>
                      <a:lnTo>
                        <a:pt x="396" y="1134"/>
                      </a:lnTo>
                      <a:lnTo>
                        <a:pt x="402" y="1128"/>
                      </a:lnTo>
                      <a:lnTo>
                        <a:pt x="402" y="1122"/>
                      </a:lnTo>
                      <a:lnTo>
                        <a:pt x="396" y="1116"/>
                      </a:lnTo>
                      <a:lnTo>
                        <a:pt x="390" y="1116"/>
                      </a:lnTo>
                      <a:lnTo>
                        <a:pt x="384" y="1110"/>
                      </a:lnTo>
                      <a:lnTo>
                        <a:pt x="426" y="1068"/>
                      </a:lnTo>
                      <a:lnTo>
                        <a:pt x="438" y="1062"/>
                      </a:lnTo>
                      <a:lnTo>
                        <a:pt x="444" y="1056"/>
                      </a:lnTo>
                      <a:lnTo>
                        <a:pt x="456" y="1050"/>
                      </a:lnTo>
                      <a:lnTo>
                        <a:pt x="498" y="1050"/>
                      </a:lnTo>
                      <a:lnTo>
                        <a:pt x="504" y="1044"/>
                      </a:lnTo>
                      <a:lnTo>
                        <a:pt x="504" y="1038"/>
                      </a:lnTo>
                      <a:lnTo>
                        <a:pt x="486" y="1020"/>
                      </a:lnTo>
                      <a:lnTo>
                        <a:pt x="474" y="1014"/>
                      </a:lnTo>
                      <a:lnTo>
                        <a:pt x="486" y="1008"/>
                      </a:lnTo>
                      <a:lnTo>
                        <a:pt x="492" y="1008"/>
                      </a:lnTo>
                      <a:lnTo>
                        <a:pt x="522" y="978"/>
                      </a:lnTo>
                      <a:lnTo>
                        <a:pt x="528" y="936"/>
                      </a:lnTo>
                      <a:lnTo>
                        <a:pt x="528" y="900"/>
                      </a:lnTo>
                      <a:lnTo>
                        <a:pt x="546" y="912"/>
                      </a:lnTo>
                      <a:lnTo>
                        <a:pt x="558" y="906"/>
                      </a:lnTo>
                      <a:lnTo>
                        <a:pt x="564" y="906"/>
                      </a:lnTo>
                      <a:lnTo>
                        <a:pt x="570" y="900"/>
                      </a:lnTo>
                      <a:lnTo>
                        <a:pt x="576" y="900"/>
                      </a:lnTo>
                      <a:lnTo>
                        <a:pt x="576" y="894"/>
                      </a:lnTo>
                      <a:lnTo>
                        <a:pt x="570" y="888"/>
                      </a:lnTo>
                      <a:lnTo>
                        <a:pt x="570" y="882"/>
                      </a:lnTo>
                      <a:lnTo>
                        <a:pt x="564" y="876"/>
                      </a:lnTo>
                      <a:lnTo>
                        <a:pt x="582" y="876"/>
                      </a:lnTo>
                      <a:lnTo>
                        <a:pt x="588" y="870"/>
                      </a:lnTo>
                      <a:lnTo>
                        <a:pt x="588" y="864"/>
                      </a:lnTo>
                      <a:lnTo>
                        <a:pt x="594" y="858"/>
                      </a:lnTo>
                      <a:lnTo>
                        <a:pt x="606" y="852"/>
                      </a:lnTo>
                      <a:lnTo>
                        <a:pt x="612" y="852"/>
                      </a:lnTo>
                      <a:lnTo>
                        <a:pt x="618" y="834"/>
                      </a:lnTo>
                      <a:lnTo>
                        <a:pt x="612" y="828"/>
                      </a:lnTo>
                      <a:lnTo>
                        <a:pt x="600" y="822"/>
                      </a:lnTo>
                      <a:lnTo>
                        <a:pt x="600" y="810"/>
                      </a:lnTo>
                      <a:lnTo>
                        <a:pt x="606" y="810"/>
                      </a:lnTo>
                      <a:lnTo>
                        <a:pt x="618" y="804"/>
                      </a:lnTo>
                      <a:lnTo>
                        <a:pt x="636" y="786"/>
                      </a:lnTo>
                      <a:lnTo>
                        <a:pt x="678" y="780"/>
                      </a:lnTo>
                      <a:lnTo>
                        <a:pt x="696" y="780"/>
                      </a:lnTo>
                      <a:lnTo>
                        <a:pt x="702" y="774"/>
                      </a:lnTo>
                      <a:lnTo>
                        <a:pt x="702" y="744"/>
                      </a:lnTo>
                      <a:lnTo>
                        <a:pt x="714" y="732"/>
                      </a:lnTo>
                      <a:lnTo>
                        <a:pt x="720" y="738"/>
                      </a:lnTo>
                      <a:lnTo>
                        <a:pt x="720" y="750"/>
                      </a:lnTo>
                      <a:lnTo>
                        <a:pt x="744" y="744"/>
                      </a:lnTo>
                      <a:lnTo>
                        <a:pt x="768" y="750"/>
                      </a:lnTo>
                      <a:lnTo>
                        <a:pt x="792" y="750"/>
                      </a:lnTo>
                      <a:lnTo>
                        <a:pt x="798" y="756"/>
                      </a:lnTo>
                      <a:lnTo>
                        <a:pt x="810" y="756"/>
                      </a:lnTo>
                      <a:lnTo>
                        <a:pt x="816" y="750"/>
                      </a:lnTo>
                      <a:lnTo>
                        <a:pt x="810" y="750"/>
                      </a:lnTo>
                      <a:lnTo>
                        <a:pt x="798" y="738"/>
                      </a:lnTo>
                      <a:lnTo>
                        <a:pt x="798" y="732"/>
                      </a:lnTo>
                      <a:lnTo>
                        <a:pt x="810" y="732"/>
                      </a:lnTo>
                      <a:lnTo>
                        <a:pt x="810" y="708"/>
                      </a:lnTo>
                      <a:lnTo>
                        <a:pt x="840" y="714"/>
                      </a:lnTo>
                      <a:lnTo>
                        <a:pt x="834" y="708"/>
                      </a:lnTo>
                      <a:lnTo>
                        <a:pt x="840" y="702"/>
                      </a:lnTo>
                      <a:lnTo>
                        <a:pt x="858" y="708"/>
                      </a:lnTo>
                      <a:lnTo>
                        <a:pt x="858" y="696"/>
                      </a:lnTo>
                      <a:lnTo>
                        <a:pt x="864" y="690"/>
                      </a:lnTo>
                      <a:lnTo>
                        <a:pt x="882" y="690"/>
                      </a:lnTo>
                      <a:lnTo>
                        <a:pt x="888" y="696"/>
                      </a:lnTo>
                      <a:lnTo>
                        <a:pt x="894" y="708"/>
                      </a:lnTo>
                      <a:lnTo>
                        <a:pt x="906" y="714"/>
                      </a:lnTo>
                      <a:lnTo>
                        <a:pt x="918" y="726"/>
                      </a:lnTo>
                      <a:lnTo>
                        <a:pt x="930" y="726"/>
                      </a:lnTo>
                      <a:lnTo>
                        <a:pt x="942" y="732"/>
                      </a:lnTo>
                      <a:lnTo>
                        <a:pt x="960" y="732"/>
                      </a:lnTo>
                      <a:lnTo>
                        <a:pt x="966" y="738"/>
                      </a:lnTo>
                      <a:lnTo>
                        <a:pt x="978" y="738"/>
                      </a:lnTo>
                      <a:lnTo>
                        <a:pt x="990" y="732"/>
                      </a:lnTo>
                      <a:lnTo>
                        <a:pt x="996" y="726"/>
                      </a:lnTo>
                      <a:lnTo>
                        <a:pt x="1026" y="726"/>
                      </a:lnTo>
                      <a:lnTo>
                        <a:pt x="1038" y="732"/>
                      </a:lnTo>
                      <a:lnTo>
                        <a:pt x="1044" y="738"/>
                      </a:lnTo>
                      <a:lnTo>
                        <a:pt x="1062" y="738"/>
                      </a:lnTo>
                      <a:lnTo>
                        <a:pt x="1062" y="726"/>
                      </a:lnTo>
                      <a:lnTo>
                        <a:pt x="1068" y="720"/>
                      </a:lnTo>
                      <a:lnTo>
                        <a:pt x="1068" y="714"/>
                      </a:lnTo>
                      <a:lnTo>
                        <a:pt x="1092" y="714"/>
                      </a:lnTo>
                      <a:lnTo>
                        <a:pt x="1092" y="678"/>
                      </a:lnTo>
                      <a:lnTo>
                        <a:pt x="1098" y="672"/>
                      </a:lnTo>
                      <a:lnTo>
                        <a:pt x="1098" y="660"/>
                      </a:lnTo>
                      <a:lnTo>
                        <a:pt x="1110" y="654"/>
                      </a:lnTo>
                      <a:lnTo>
                        <a:pt x="1116" y="654"/>
                      </a:lnTo>
                      <a:lnTo>
                        <a:pt x="1128" y="648"/>
                      </a:lnTo>
                      <a:lnTo>
                        <a:pt x="1158" y="648"/>
                      </a:lnTo>
                      <a:lnTo>
                        <a:pt x="1170" y="642"/>
                      </a:lnTo>
                      <a:lnTo>
                        <a:pt x="1206" y="642"/>
                      </a:lnTo>
                      <a:lnTo>
                        <a:pt x="1206" y="654"/>
                      </a:lnTo>
                      <a:lnTo>
                        <a:pt x="1242" y="660"/>
                      </a:lnTo>
                      <a:lnTo>
                        <a:pt x="1248" y="660"/>
                      </a:lnTo>
                      <a:lnTo>
                        <a:pt x="1260" y="672"/>
                      </a:lnTo>
                      <a:lnTo>
                        <a:pt x="1266" y="684"/>
                      </a:lnTo>
                      <a:lnTo>
                        <a:pt x="1266" y="702"/>
                      </a:lnTo>
                      <a:lnTo>
                        <a:pt x="1260" y="702"/>
                      </a:lnTo>
                      <a:lnTo>
                        <a:pt x="1260" y="696"/>
                      </a:lnTo>
                      <a:lnTo>
                        <a:pt x="1254" y="696"/>
                      </a:lnTo>
                      <a:lnTo>
                        <a:pt x="1254" y="708"/>
                      </a:lnTo>
                      <a:lnTo>
                        <a:pt x="1278" y="708"/>
                      </a:lnTo>
                      <a:lnTo>
                        <a:pt x="1284" y="696"/>
                      </a:lnTo>
                      <a:lnTo>
                        <a:pt x="1284" y="690"/>
                      </a:lnTo>
                      <a:lnTo>
                        <a:pt x="1308" y="684"/>
                      </a:lnTo>
                      <a:lnTo>
                        <a:pt x="1314" y="672"/>
                      </a:lnTo>
                      <a:lnTo>
                        <a:pt x="1350" y="672"/>
                      </a:lnTo>
                      <a:lnTo>
                        <a:pt x="1362" y="660"/>
                      </a:lnTo>
                      <a:lnTo>
                        <a:pt x="1356" y="660"/>
                      </a:lnTo>
                      <a:close/>
                      <a:moveTo>
                        <a:pt x="564" y="726"/>
                      </a:moveTo>
                      <a:lnTo>
                        <a:pt x="540" y="738"/>
                      </a:lnTo>
                      <a:lnTo>
                        <a:pt x="546" y="756"/>
                      </a:lnTo>
                      <a:lnTo>
                        <a:pt x="576" y="756"/>
                      </a:lnTo>
                      <a:lnTo>
                        <a:pt x="570" y="738"/>
                      </a:lnTo>
                      <a:lnTo>
                        <a:pt x="564" y="726"/>
                      </a:lnTo>
                      <a:close/>
                      <a:moveTo>
                        <a:pt x="522" y="714"/>
                      </a:moveTo>
                      <a:lnTo>
                        <a:pt x="516" y="720"/>
                      </a:lnTo>
                      <a:lnTo>
                        <a:pt x="510" y="732"/>
                      </a:lnTo>
                      <a:lnTo>
                        <a:pt x="510" y="750"/>
                      </a:lnTo>
                      <a:lnTo>
                        <a:pt x="528" y="768"/>
                      </a:lnTo>
                      <a:lnTo>
                        <a:pt x="528" y="756"/>
                      </a:lnTo>
                      <a:lnTo>
                        <a:pt x="534" y="744"/>
                      </a:lnTo>
                      <a:lnTo>
                        <a:pt x="534" y="720"/>
                      </a:lnTo>
                      <a:lnTo>
                        <a:pt x="528" y="714"/>
                      </a:lnTo>
                      <a:lnTo>
                        <a:pt x="522" y="714"/>
                      </a:lnTo>
                      <a:close/>
                      <a:moveTo>
                        <a:pt x="606" y="738"/>
                      </a:moveTo>
                      <a:lnTo>
                        <a:pt x="618" y="732"/>
                      </a:lnTo>
                      <a:lnTo>
                        <a:pt x="624" y="732"/>
                      </a:lnTo>
                      <a:lnTo>
                        <a:pt x="630" y="726"/>
                      </a:lnTo>
                      <a:lnTo>
                        <a:pt x="618" y="720"/>
                      </a:lnTo>
                      <a:lnTo>
                        <a:pt x="588" y="720"/>
                      </a:lnTo>
                      <a:lnTo>
                        <a:pt x="576" y="732"/>
                      </a:lnTo>
                      <a:lnTo>
                        <a:pt x="582" y="744"/>
                      </a:lnTo>
                      <a:lnTo>
                        <a:pt x="606" y="738"/>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576" name="Nigeria"/>
                <p:cNvSpPr>
                  <a:spLocks/>
                </p:cNvSpPr>
                <p:nvPr/>
              </p:nvSpPr>
              <p:spPr bwMode="gray">
                <a:xfrm>
                  <a:off x="2703" y="2024"/>
                  <a:ext cx="214" cy="197"/>
                </a:xfrm>
                <a:custGeom>
                  <a:avLst/>
                  <a:gdLst>
                    <a:gd name="T0" fmla="*/ 2147483647 w 840"/>
                    <a:gd name="T1" fmla="*/ 2147483647 h 768"/>
                    <a:gd name="T2" fmla="*/ 2147483647 w 840"/>
                    <a:gd name="T3" fmla="*/ 2147483647 h 768"/>
                    <a:gd name="T4" fmla="*/ 2147483647 w 840"/>
                    <a:gd name="T5" fmla="*/ 2147483647 h 768"/>
                    <a:gd name="T6" fmla="*/ 2147483647 w 840"/>
                    <a:gd name="T7" fmla="*/ 2147483647 h 768"/>
                    <a:gd name="T8" fmla="*/ 2147483647 w 840"/>
                    <a:gd name="T9" fmla="*/ 2147483647 h 768"/>
                    <a:gd name="T10" fmla="*/ 2147483647 w 840"/>
                    <a:gd name="T11" fmla="*/ 2147483647 h 768"/>
                    <a:gd name="T12" fmla="*/ 2147483647 w 840"/>
                    <a:gd name="T13" fmla="*/ 2147483647 h 768"/>
                    <a:gd name="T14" fmla="*/ 2147483647 w 840"/>
                    <a:gd name="T15" fmla="*/ 2147483647 h 768"/>
                    <a:gd name="T16" fmla="*/ 2147483647 w 840"/>
                    <a:gd name="T17" fmla="*/ 2147483647 h 768"/>
                    <a:gd name="T18" fmla="*/ 2147483647 w 840"/>
                    <a:gd name="T19" fmla="*/ 2147483647 h 768"/>
                    <a:gd name="T20" fmla="*/ 2147483647 w 840"/>
                    <a:gd name="T21" fmla="*/ 2147483647 h 768"/>
                    <a:gd name="T22" fmla="*/ 2147483647 w 840"/>
                    <a:gd name="T23" fmla="*/ 2147483647 h 768"/>
                    <a:gd name="T24" fmla="*/ 2147483647 w 840"/>
                    <a:gd name="T25" fmla="*/ 2147483647 h 768"/>
                    <a:gd name="T26" fmla="*/ 2147483647 w 840"/>
                    <a:gd name="T27" fmla="*/ 2147483647 h 768"/>
                    <a:gd name="T28" fmla="*/ 2147483647 w 840"/>
                    <a:gd name="T29" fmla="*/ 2147483647 h 768"/>
                    <a:gd name="T30" fmla="*/ 2147483647 w 840"/>
                    <a:gd name="T31" fmla="*/ 2147483647 h 768"/>
                    <a:gd name="T32" fmla="*/ 2147483647 w 840"/>
                    <a:gd name="T33" fmla="*/ 2147483647 h 768"/>
                    <a:gd name="T34" fmla="*/ 2147483647 w 840"/>
                    <a:gd name="T35" fmla="*/ 2147483647 h 768"/>
                    <a:gd name="T36" fmla="*/ 2147483647 w 840"/>
                    <a:gd name="T37" fmla="*/ 2147483647 h 768"/>
                    <a:gd name="T38" fmla="*/ 2147483647 w 840"/>
                    <a:gd name="T39" fmla="*/ 2147483647 h 768"/>
                    <a:gd name="T40" fmla="*/ 2147483647 w 840"/>
                    <a:gd name="T41" fmla="*/ 2147483647 h 768"/>
                    <a:gd name="T42" fmla="*/ 2147483647 w 840"/>
                    <a:gd name="T43" fmla="*/ 2147483647 h 768"/>
                    <a:gd name="T44" fmla="*/ 2147483647 w 840"/>
                    <a:gd name="T45" fmla="*/ 2147483647 h 768"/>
                    <a:gd name="T46" fmla="*/ 2147483647 w 840"/>
                    <a:gd name="T47" fmla="*/ 2147483647 h 768"/>
                    <a:gd name="T48" fmla="*/ 2147483647 w 840"/>
                    <a:gd name="T49" fmla="*/ 2147483647 h 768"/>
                    <a:gd name="T50" fmla="*/ 2147483647 w 840"/>
                    <a:gd name="T51" fmla="*/ 2147483647 h 768"/>
                    <a:gd name="T52" fmla="*/ 2147483647 w 840"/>
                    <a:gd name="T53" fmla="*/ 2147483647 h 768"/>
                    <a:gd name="T54" fmla="*/ 2147483647 w 840"/>
                    <a:gd name="T55" fmla="*/ 2147483647 h 768"/>
                    <a:gd name="T56" fmla="*/ 2147483647 w 840"/>
                    <a:gd name="T57" fmla="*/ 2147483647 h 768"/>
                    <a:gd name="T58" fmla="*/ 2147483647 w 840"/>
                    <a:gd name="T59" fmla="*/ 2147483647 h 768"/>
                    <a:gd name="T60" fmla="*/ 2147483647 w 840"/>
                    <a:gd name="T61" fmla="*/ 2147483647 h 768"/>
                    <a:gd name="T62" fmla="*/ 2147483647 w 840"/>
                    <a:gd name="T63" fmla="*/ 2147483647 h 768"/>
                    <a:gd name="T64" fmla="*/ 2147483647 w 840"/>
                    <a:gd name="T65" fmla="*/ 2147483647 h 768"/>
                    <a:gd name="T66" fmla="*/ 2147483647 w 840"/>
                    <a:gd name="T67" fmla="*/ 2147483647 h 768"/>
                    <a:gd name="T68" fmla="*/ 2147483647 w 840"/>
                    <a:gd name="T69" fmla="*/ 2147483647 h 768"/>
                    <a:gd name="T70" fmla="*/ 2147483647 w 840"/>
                    <a:gd name="T71" fmla="*/ 2147483647 h 768"/>
                    <a:gd name="T72" fmla="*/ 2147483647 w 840"/>
                    <a:gd name="T73" fmla="*/ 2147483647 h 768"/>
                    <a:gd name="T74" fmla="*/ 2147483647 w 840"/>
                    <a:gd name="T75" fmla="*/ 2147483647 h 768"/>
                    <a:gd name="T76" fmla="*/ 2147483647 w 840"/>
                    <a:gd name="T77" fmla="*/ 2147483647 h 768"/>
                    <a:gd name="T78" fmla="*/ 2147483647 w 840"/>
                    <a:gd name="T79" fmla="*/ 2147483647 h 768"/>
                    <a:gd name="T80" fmla="*/ 2147483647 w 840"/>
                    <a:gd name="T81" fmla="*/ 2147483647 h 768"/>
                    <a:gd name="T82" fmla="*/ 2147483647 w 840"/>
                    <a:gd name="T83" fmla="*/ 2147483647 h 768"/>
                    <a:gd name="T84" fmla="*/ 2147483647 w 840"/>
                    <a:gd name="T85" fmla="*/ 2147483647 h 768"/>
                    <a:gd name="T86" fmla="*/ 2147483647 w 840"/>
                    <a:gd name="T87" fmla="*/ 2147483647 h 768"/>
                    <a:gd name="T88" fmla="*/ 2147483647 w 840"/>
                    <a:gd name="T89" fmla="*/ 2147483647 h 768"/>
                    <a:gd name="T90" fmla="*/ 2147483647 w 840"/>
                    <a:gd name="T91" fmla="*/ 2147483647 h 768"/>
                    <a:gd name="T92" fmla="*/ 2147483647 w 840"/>
                    <a:gd name="T93" fmla="*/ 2147483647 h 768"/>
                    <a:gd name="T94" fmla="*/ 2147483647 w 840"/>
                    <a:gd name="T95" fmla="*/ 2147483647 h 768"/>
                    <a:gd name="T96" fmla="*/ 2147483647 w 840"/>
                    <a:gd name="T97" fmla="*/ 2147483647 h 768"/>
                    <a:gd name="T98" fmla="*/ 2147483647 w 840"/>
                    <a:gd name="T99" fmla="*/ 2147483647 h 768"/>
                    <a:gd name="T100" fmla="*/ 2147483647 w 840"/>
                    <a:gd name="T101" fmla="*/ 2147483647 h 768"/>
                    <a:gd name="T102" fmla="*/ 2147483647 w 840"/>
                    <a:gd name="T103" fmla="*/ 2147483647 h 768"/>
                    <a:gd name="T104" fmla="*/ 2147483647 w 840"/>
                    <a:gd name="T105" fmla="*/ 2147483647 h 768"/>
                    <a:gd name="T106" fmla="*/ 2147483647 w 840"/>
                    <a:gd name="T107" fmla="*/ 2147483647 h 768"/>
                    <a:gd name="T108" fmla="*/ 2147483647 w 840"/>
                    <a:gd name="T109" fmla="*/ 2147483647 h 768"/>
                    <a:gd name="T110" fmla="*/ 2147483647 w 840"/>
                    <a:gd name="T111" fmla="*/ 2147483647 h 768"/>
                    <a:gd name="T112" fmla="*/ 2147483647 w 840"/>
                    <a:gd name="T113" fmla="*/ 2147483647 h 768"/>
                    <a:gd name="T114" fmla="*/ 2147483647 w 840"/>
                    <a:gd name="T115" fmla="*/ 2147483647 h 768"/>
                    <a:gd name="T116" fmla="*/ 2147483647 w 840"/>
                    <a:gd name="T117" fmla="*/ 2147483647 h 768"/>
                    <a:gd name="T118" fmla="*/ 2147483647 w 840"/>
                    <a:gd name="T119" fmla="*/ 2147483647 h 76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40"/>
                    <a:gd name="T181" fmla="*/ 0 h 768"/>
                    <a:gd name="T182" fmla="*/ 840 w 840"/>
                    <a:gd name="T183" fmla="*/ 768 h 76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40" h="768">
                      <a:moveTo>
                        <a:pt x="420" y="738"/>
                      </a:moveTo>
                      <a:lnTo>
                        <a:pt x="420" y="732"/>
                      </a:lnTo>
                      <a:lnTo>
                        <a:pt x="426" y="726"/>
                      </a:lnTo>
                      <a:lnTo>
                        <a:pt x="426" y="714"/>
                      </a:lnTo>
                      <a:lnTo>
                        <a:pt x="432" y="702"/>
                      </a:lnTo>
                      <a:lnTo>
                        <a:pt x="432" y="648"/>
                      </a:lnTo>
                      <a:lnTo>
                        <a:pt x="498" y="594"/>
                      </a:lnTo>
                      <a:lnTo>
                        <a:pt x="498" y="588"/>
                      </a:lnTo>
                      <a:lnTo>
                        <a:pt x="504" y="582"/>
                      </a:lnTo>
                      <a:lnTo>
                        <a:pt x="516" y="558"/>
                      </a:lnTo>
                      <a:lnTo>
                        <a:pt x="522" y="552"/>
                      </a:lnTo>
                      <a:lnTo>
                        <a:pt x="528" y="552"/>
                      </a:lnTo>
                      <a:lnTo>
                        <a:pt x="534" y="558"/>
                      </a:lnTo>
                      <a:lnTo>
                        <a:pt x="546" y="564"/>
                      </a:lnTo>
                      <a:lnTo>
                        <a:pt x="552" y="564"/>
                      </a:lnTo>
                      <a:lnTo>
                        <a:pt x="558" y="558"/>
                      </a:lnTo>
                      <a:lnTo>
                        <a:pt x="558" y="546"/>
                      </a:lnTo>
                      <a:lnTo>
                        <a:pt x="552" y="540"/>
                      </a:lnTo>
                      <a:lnTo>
                        <a:pt x="564" y="540"/>
                      </a:lnTo>
                      <a:lnTo>
                        <a:pt x="570" y="552"/>
                      </a:lnTo>
                      <a:lnTo>
                        <a:pt x="582" y="564"/>
                      </a:lnTo>
                      <a:lnTo>
                        <a:pt x="588" y="576"/>
                      </a:lnTo>
                      <a:lnTo>
                        <a:pt x="588" y="582"/>
                      </a:lnTo>
                      <a:lnTo>
                        <a:pt x="594" y="594"/>
                      </a:lnTo>
                      <a:lnTo>
                        <a:pt x="600" y="600"/>
                      </a:lnTo>
                      <a:lnTo>
                        <a:pt x="606" y="600"/>
                      </a:lnTo>
                      <a:lnTo>
                        <a:pt x="624" y="582"/>
                      </a:lnTo>
                      <a:lnTo>
                        <a:pt x="624" y="570"/>
                      </a:lnTo>
                      <a:lnTo>
                        <a:pt x="630" y="558"/>
                      </a:lnTo>
                      <a:lnTo>
                        <a:pt x="642" y="552"/>
                      </a:lnTo>
                      <a:lnTo>
                        <a:pt x="648" y="546"/>
                      </a:lnTo>
                      <a:lnTo>
                        <a:pt x="648" y="516"/>
                      </a:lnTo>
                      <a:lnTo>
                        <a:pt x="672" y="486"/>
                      </a:lnTo>
                      <a:lnTo>
                        <a:pt x="684" y="438"/>
                      </a:lnTo>
                      <a:lnTo>
                        <a:pt x="696" y="432"/>
                      </a:lnTo>
                      <a:lnTo>
                        <a:pt x="702" y="426"/>
                      </a:lnTo>
                      <a:lnTo>
                        <a:pt x="714" y="420"/>
                      </a:lnTo>
                      <a:lnTo>
                        <a:pt x="720" y="414"/>
                      </a:lnTo>
                      <a:lnTo>
                        <a:pt x="720" y="402"/>
                      </a:lnTo>
                      <a:lnTo>
                        <a:pt x="726" y="384"/>
                      </a:lnTo>
                      <a:lnTo>
                        <a:pt x="726" y="354"/>
                      </a:lnTo>
                      <a:lnTo>
                        <a:pt x="744" y="354"/>
                      </a:lnTo>
                      <a:lnTo>
                        <a:pt x="750" y="348"/>
                      </a:lnTo>
                      <a:lnTo>
                        <a:pt x="756" y="330"/>
                      </a:lnTo>
                      <a:lnTo>
                        <a:pt x="756" y="300"/>
                      </a:lnTo>
                      <a:lnTo>
                        <a:pt x="762" y="294"/>
                      </a:lnTo>
                      <a:lnTo>
                        <a:pt x="768" y="264"/>
                      </a:lnTo>
                      <a:lnTo>
                        <a:pt x="774" y="252"/>
                      </a:lnTo>
                      <a:lnTo>
                        <a:pt x="786" y="240"/>
                      </a:lnTo>
                      <a:lnTo>
                        <a:pt x="786" y="234"/>
                      </a:lnTo>
                      <a:lnTo>
                        <a:pt x="792" y="228"/>
                      </a:lnTo>
                      <a:lnTo>
                        <a:pt x="792" y="222"/>
                      </a:lnTo>
                      <a:lnTo>
                        <a:pt x="798" y="216"/>
                      </a:lnTo>
                      <a:lnTo>
                        <a:pt x="798" y="210"/>
                      </a:lnTo>
                      <a:lnTo>
                        <a:pt x="810" y="210"/>
                      </a:lnTo>
                      <a:lnTo>
                        <a:pt x="822" y="204"/>
                      </a:lnTo>
                      <a:lnTo>
                        <a:pt x="840" y="186"/>
                      </a:lnTo>
                      <a:lnTo>
                        <a:pt x="840" y="174"/>
                      </a:lnTo>
                      <a:lnTo>
                        <a:pt x="834" y="168"/>
                      </a:lnTo>
                      <a:lnTo>
                        <a:pt x="834" y="162"/>
                      </a:lnTo>
                      <a:lnTo>
                        <a:pt x="840" y="156"/>
                      </a:lnTo>
                      <a:lnTo>
                        <a:pt x="840" y="126"/>
                      </a:lnTo>
                      <a:lnTo>
                        <a:pt x="810" y="126"/>
                      </a:lnTo>
                      <a:lnTo>
                        <a:pt x="810" y="120"/>
                      </a:lnTo>
                      <a:lnTo>
                        <a:pt x="804" y="108"/>
                      </a:lnTo>
                      <a:lnTo>
                        <a:pt x="804" y="60"/>
                      </a:lnTo>
                      <a:lnTo>
                        <a:pt x="774" y="12"/>
                      </a:lnTo>
                      <a:lnTo>
                        <a:pt x="756" y="12"/>
                      </a:lnTo>
                      <a:lnTo>
                        <a:pt x="750" y="18"/>
                      </a:lnTo>
                      <a:lnTo>
                        <a:pt x="750" y="24"/>
                      </a:lnTo>
                      <a:lnTo>
                        <a:pt x="744" y="30"/>
                      </a:lnTo>
                      <a:lnTo>
                        <a:pt x="744" y="36"/>
                      </a:lnTo>
                      <a:lnTo>
                        <a:pt x="720" y="36"/>
                      </a:lnTo>
                      <a:lnTo>
                        <a:pt x="714" y="42"/>
                      </a:lnTo>
                      <a:lnTo>
                        <a:pt x="702" y="48"/>
                      </a:lnTo>
                      <a:lnTo>
                        <a:pt x="696" y="54"/>
                      </a:lnTo>
                      <a:lnTo>
                        <a:pt x="684" y="60"/>
                      </a:lnTo>
                      <a:lnTo>
                        <a:pt x="654" y="60"/>
                      </a:lnTo>
                      <a:lnTo>
                        <a:pt x="648" y="54"/>
                      </a:lnTo>
                      <a:lnTo>
                        <a:pt x="636" y="48"/>
                      </a:lnTo>
                      <a:lnTo>
                        <a:pt x="600" y="36"/>
                      </a:lnTo>
                      <a:lnTo>
                        <a:pt x="546" y="36"/>
                      </a:lnTo>
                      <a:lnTo>
                        <a:pt x="528" y="42"/>
                      </a:lnTo>
                      <a:lnTo>
                        <a:pt x="516" y="54"/>
                      </a:lnTo>
                      <a:lnTo>
                        <a:pt x="504" y="60"/>
                      </a:lnTo>
                      <a:lnTo>
                        <a:pt x="492" y="84"/>
                      </a:lnTo>
                      <a:lnTo>
                        <a:pt x="486" y="90"/>
                      </a:lnTo>
                      <a:lnTo>
                        <a:pt x="480" y="90"/>
                      </a:lnTo>
                      <a:lnTo>
                        <a:pt x="468" y="84"/>
                      </a:lnTo>
                      <a:lnTo>
                        <a:pt x="438" y="84"/>
                      </a:lnTo>
                      <a:lnTo>
                        <a:pt x="414" y="72"/>
                      </a:lnTo>
                      <a:lnTo>
                        <a:pt x="402" y="60"/>
                      </a:lnTo>
                      <a:lnTo>
                        <a:pt x="390" y="54"/>
                      </a:lnTo>
                      <a:lnTo>
                        <a:pt x="384" y="48"/>
                      </a:lnTo>
                      <a:lnTo>
                        <a:pt x="372" y="42"/>
                      </a:lnTo>
                      <a:lnTo>
                        <a:pt x="360" y="42"/>
                      </a:lnTo>
                      <a:lnTo>
                        <a:pt x="336" y="54"/>
                      </a:lnTo>
                      <a:lnTo>
                        <a:pt x="324" y="66"/>
                      </a:lnTo>
                      <a:lnTo>
                        <a:pt x="312" y="72"/>
                      </a:lnTo>
                      <a:lnTo>
                        <a:pt x="306" y="72"/>
                      </a:lnTo>
                      <a:lnTo>
                        <a:pt x="294" y="66"/>
                      </a:lnTo>
                      <a:lnTo>
                        <a:pt x="288" y="60"/>
                      </a:lnTo>
                      <a:lnTo>
                        <a:pt x="288" y="54"/>
                      </a:lnTo>
                      <a:lnTo>
                        <a:pt x="282" y="48"/>
                      </a:lnTo>
                      <a:lnTo>
                        <a:pt x="282" y="42"/>
                      </a:lnTo>
                      <a:lnTo>
                        <a:pt x="258" y="18"/>
                      </a:lnTo>
                      <a:lnTo>
                        <a:pt x="222" y="18"/>
                      </a:lnTo>
                      <a:lnTo>
                        <a:pt x="222" y="12"/>
                      </a:lnTo>
                      <a:lnTo>
                        <a:pt x="210" y="0"/>
                      </a:lnTo>
                      <a:lnTo>
                        <a:pt x="198" y="0"/>
                      </a:lnTo>
                      <a:lnTo>
                        <a:pt x="186" y="6"/>
                      </a:lnTo>
                      <a:lnTo>
                        <a:pt x="180" y="6"/>
                      </a:lnTo>
                      <a:lnTo>
                        <a:pt x="180" y="12"/>
                      </a:lnTo>
                      <a:lnTo>
                        <a:pt x="126" y="12"/>
                      </a:lnTo>
                      <a:lnTo>
                        <a:pt x="102" y="36"/>
                      </a:lnTo>
                      <a:lnTo>
                        <a:pt x="102" y="60"/>
                      </a:lnTo>
                      <a:lnTo>
                        <a:pt x="96" y="78"/>
                      </a:lnTo>
                      <a:lnTo>
                        <a:pt x="90" y="90"/>
                      </a:lnTo>
                      <a:lnTo>
                        <a:pt x="84" y="96"/>
                      </a:lnTo>
                      <a:lnTo>
                        <a:pt x="78" y="108"/>
                      </a:lnTo>
                      <a:lnTo>
                        <a:pt x="72" y="114"/>
                      </a:lnTo>
                      <a:lnTo>
                        <a:pt x="66" y="114"/>
                      </a:lnTo>
                      <a:lnTo>
                        <a:pt x="66" y="168"/>
                      </a:lnTo>
                      <a:lnTo>
                        <a:pt x="60" y="180"/>
                      </a:lnTo>
                      <a:lnTo>
                        <a:pt x="60" y="186"/>
                      </a:lnTo>
                      <a:lnTo>
                        <a:pt x="54" y="192"/>
                      </a:lnTo>
                      <a:lnTo>
                        <a:pt x="66" y="216"/>
                      </a:lnTo>
                      <a:lnTo>
                        <a:pt x="72" y="222"/>
                      </a:lnTo>
                      <a:lnTo>
                        <a:pt x="78" y="234"/>
                      </a:lnTo>
                      <a:lnTo>
                        <a:pt x="78" y="246"/>
                      </a:lnTo>
                      <a:lnTo>
                        <a:pt x="84" y="252"/>
                      </a:lnTo>
                      <a:lnTo>
                        <a:pt x="84" y="264"/>
                      </a:lnTo>
                      <a:lnTo>
                        <a:pt x="78" y="270"/>
                      </a:lnTo>
                      <a:lnTo>
                        <a:pt x="72" y="270"/>
                      </a:lnTo>
                      <a:lnTo>
                        <a:pt x="60" y="276"/>
                      </a:lnTo>
                      <a:lnTo>
                        <a:pt x="60" y="318"/>
                      </a:lnTo>
                      <a:lnTo>
                        <a:pt x="48" y="324"/>
                      </a:lnTo>
                      <a:lnTo>
                        <a:pt x="42" y="336"/>
                      </a:lnTo>
                      <a:lnTo>
                        <a:pt x="36" y="342"/>
                      </a:lnTo>
                      <a:lnTo>
                        <a:pt x="36" y="372"/>
                      </a:lnTo>
                      <a:lnTo>
                        <a:pt x="24" y="396"/>
                      </a:lnTo>
                      <a:lnTo>
                        <a:pt x="6" y="396"/>
                      </a:lnTo>
                      <a:lnTo>
                        <a:pt x="0" y="426"/>
                      </a:lnTo>
                      <a:lnTo>
                        <a:pt x="6" y="462"/>
                      </a:lnTo>
                      <a:lnTo>
                        <a:pt x="0" y="492"/>
                      </a:lnTo>
                      <a:lnTo>
                        <a:pt x="0" y="606"/>
                      </a:lnTo>
                      <a:lnTo>
                        <a:pt x="6" y="612"/>
                      </a:lnTo>
                      <a:lnTo>
                        <a:pt x="30" y="612"/>
                      </a:lnTo>
                      <a:lnTo>
                        <a:pt x="54" y="600"/>
                      </a:lnTo>
                      <a:lnTo>
                        <a:pt x="60" y="594"/>
                      </a:lnTo>
                      <a:lnTo>
                        <a:pt x="66" y="600"/>
                      </a:lnTo>
                      <a:lnTo>
                        <a:pt x="108" y="600"/>
                      </a:lnTo>
                      <a:lnTo>
                        <a:pt x="126" y="606"/>
                      </a:lnTo>
                      <a:lnTo>
                        <a:pt x="138" y="618"/>
                      </a:lnTo>
                      <a:lnTo>
                        <a:pt x="150" y="636"/>
                      </a:lnTo>
                      <a:lnTo>
                        <a:pt x="156" y="648"/>
                      </a:lnTo>
                      <a:lnTo>
                        <a:pt x="168" y="660"/>
                      </a:lnTo>
                      <a:lnTo>
                        <a:pt x="186" y="660"/>
                      </a:lnTo>
                      <a:lnTo>
                        <a:pt x="180" y="666"/>
                      </a:lnTo>
                      <a:lnTo>
                        <a:pt x="180" y="678"/>
                      </a:lnTo>
                      <a:lnTo>
                        <a:pt x="174" y="684"/>
                      </a:lnTo>
                      <a:lnTo>
                        <a:pt x="186" y="684"/>
                      </a:lnTo>
                      <a:lnTo>
                        <a:pt x="198" y="678"/>
                      </a:lnTo>
                      <a:lnTo>
                        <a:pt x="198" y="684"/>
                      </a:lnTo>
                      <a:lnTo>
                        <a:pt x="192" y="690"/>
                      </a:lnTo>
                      <a:lnTo>
                        <a:pt x="186" y="702"/>
                      </a:lnTo>
                      <a:lnTo>
                        <a:pt x="186" y="714"/>
                      </a:lnTo>
                      <a:lnTo>
                        <a:pt x="204" y="750"/>
                      </a:lnTo>
                      <a:lnTo>
                        <a:pt x="216" y="762"/>
                      </a:lnTo>
                      <a:lnTo>
                        <a:pt x="234" y="768"/>
                      </a:lnTo>
                      <a:lnTo>
                        <a:pt x="270" y="768"/>
                      </a:lnTo>
                      <a:lnTo>
                        <a:pt x="276" y="762"/>
                      </a:lnTo>
                      <a:lnTo>
                        <a:pt x="282" y="762"/>
                      </a:lnTo>
                      <a:lnTo>
                        <a:pt x="288" y="738"/>
                      </a:lnTo>
                      <a:lnTo>
                        <a:pt x="312" y="750"/>
                      </a:lnTo>
                      <a:lnTo>
                        <a:pt x="336" y="744"/>
                      </a:lnTo>
                      <a:lnTo>
                        <a:pt x="354" y="756"/>
                      </a:lnTo>
                      <a:lnTo>
                        <a:pt x="396" y="756"/>
                      </a:lnTo>
                      <a:lnTo>
                        <a:pt x="396" y="732"/>
                      </a:lnTo>
                      <a:lnTo>
                        <a:pt x="420" y="732"/>
                      </a:lnTo>
                      <a:lnTo>
                        <a:pt x="420" y="738"/>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577" name="Niger"/>
                <p:cNvSpPr>
                  <a:spLocks/>
                </p:cNvSpPr>
                <p:nvPr/>
              </p:nvSpPr>
              <p:spPr bwMode="gray">
                <a:xfrm>
                  <a:off x="2658" y="1826"/>
                  <a:ext cx="284" cy="241"/>
                </a:xfrm>
                <a:custGeom>
                  <a:avLst/>
                  <a:gdLst>
                    <a:gd name="T0" fmla="*/ 2147483647 w 1110"/>
                    <a:gd name="T1" fmla="*/ 2147483647 h 942"/>
                    <a:gd name="T2" fmla="*/ 2147483647 w 1110"/>
                    <a:gd name="T3" fmla="*/ 2147483647 h 942"/>
                    <a:gd name="T4" fmla="*/ 2147483647 w 1110"/>
                    <a:gd name="T5" fmla="*/ 2147483647 h 942"/>
                    <a:gd name="T6" fmla="*/ 2147483647 w 1110"/>
                    <a:gd name="T7" fmla="*/ 2147483647 h 942"/>
                    <a:gd name="T8" fmla="*/ 2147483647 w 1110"/>
                    <a:gd name="T9" fmla="*/ 2147483647 h 942"/>
                    <a:gd name="T10" fmla="*/ 2147483647 w 1110"/>
                    <a:gd name="T11" fmla="*/ 2147483647 h 942"/>
                    <a:gd name="T12" fmla="*/ 2147483647 w 1110"/>
                    <a:gd name="T13" fmla="*/ 2147483647 h 942"/>
                    <a:gd name="T14" fmla="*/ 2147483647 w 1110"/>
                    <a:gd name="T15" fmla="*/ 2147483647 h 942"/>
                    <a:gd name="T16" fmla="*/ 2147483647 w 1110"/>
                    <a:gd name="T17" fmla="*/ 2147483647 h 942"/>
                    <a:gd name="T18" fmla="*/ 2147483647 w 1110"/>
                    <a:gd name="T19" fmla="*/ 2147483647 h 942"/>
                    <a:gd name="T20" fmla="*/ 2147483647 w 1110"/>
                    <a:gd name="T21" fmla="*/ 2147483647 h 942"/>
                    <a:gd name="T22" fmla="*/ 2147483647 w 1110"/>
                    <a:gd name="T23" fmla="*/ 2147483647 h 942"/>
                    <a:gd name="T24" fmla="*/ 2147483647 w 1110"/>
                    <a:gd name="T25" fmla="*/ 2147483647 h 942"/>
                    <a:gd name="T26" fmla="*/ 2147483647 w 1110"/>
                    <a:gd name="T27" fmla="*/ 2147483647 h 942"/>
                    <a:gd name="T28" fmla="*/ 2147483647 w 1110"/>
                    <a:gd name="T29" fmla="*/ 2147483647 h 942"/>
                    <a:gd name="T30" fmla="*/ 2147483647 w 1110"/>
                    <a:gd name="T31" fmla="*/ 2147483647 h 942"/>
                    <a:gd name="T32" fmla="*/ 2147483647 w 1110"/>
                    <a:gd name="T33" fmla="*/ 2147483647 h 942"/>
                    <a:gd name="T34" fmla="*/ 2147483647 w 1110"/>
                    <a:gd name="T35" fmla="*/ 2147483647 h 942"/>
                    <a:gd name="T36" fmla="*/ 2147483647 w 1110"/>
                    <a:gd name="T37" fmla="*/ 2147483647 h 942"/>
                    <a:gd name="T38" fmla="*/ 2147483647 w 1110"/>
                    <a:gd name="T39" fmla="*/ 2147483647 h 942"/>
                    <a:gd name="T40" fmla="*/ 2147483647 w 1110"/>
                    <a:gd name="T41" fmla="*/ 2147483647 h 942"/>
                    <a:gd name="T42" fmla="*/ 2147483647 w 1110"/>
                    <a:gd name="T43" fmla="*/ 2147483647 h 942"/>
                    <a:gd name="T44" fmla="*/ 2147483647 w 1110"/>
                    <a:gd name="T45" fmla="*/ 2147483647 h 942"/>
                    <a:gd name="T46" fmla="*/ 2147483647 w 1110"/>
                    <a:gd name="T47" fmla="*/ 2147483647 h 942"/>
                    <a:gd name="T48" fmla="*/ 2147483647 w 1110"/>
                    <a:gd name="T49" fmla="*/ 2147483647 h 942"/>
                    <a:gd name="T50" fmla="*/ 2147483647 w 1110"/>
                    <a:gd name="T51" fmla="*/ 2147483647 h 942"/>
                    <a:gd name="T52" fmla="*/ 2147483647 w 1110"/>
                    <a:gd name="T53" fmla="*/ 2147483647 h 942"/>
                    <a:gd name="T54" fmla="*/ 2147483647 w 1110"/>
                    <a:gd name="T55" fmla="*/ 2147483647 h 942"/>
                    <a:gd name="T56" fmla="*/ 2147483647 w 1110"/>
                    <a:gd name="T57" fmla="*/ 2147483647 h 942"/>
                    <a:gd name="T58" fmla="*/ 2147483647 w 1110"/>
                    <a:gd name="T59" fmla="*/ 2147483647 h 942"/>
                    <a:gd name="T60" fmla="*/ 2147483647 w 1110"/>
                    <a:gd name="T61" fmla="*/ 2147483647 h 942"/>
                    <a:gd name="T62" fmla="*/ 2147483647 w 1110"/>
                    <a:gd name="T63" fmla="*/ 2147483647 h 942"/>
                    <a:gd name="T64" fmla="*/ 2147483647 w 1110"/>
                    <a:gd name="T65" fmla="*/ 2147483647 h 942"/>
                    <a:gd name="T66" fmla="*/ 2147483647 w 1110"/>
                    <a:gd name="T67" fmla="*/ 2147483647 h 942"/>
                    <a:gd name="T68" fmla="*/ 2147483647 w 1110"/>
                    <a:gd name="T69" fmla="*/ 2147483647 h 942"/>
                    <a:gd name="T70" fmla="*/ 2147483647 w 1110"/>
                    <a:gd name="T71" fmla="*/ 2147483647 h 942"/>
                    <a:gd name="T72" fmla="*/ 2147483647 w 1110"/>
                    <a:gd name="T73" fmla="*/ 2147483647 h 942"/>
                    <a:gd name="T74" fmla="*/ 2147483647 w 1110"/>
                    <a:gd name="T75" fmla="*/ 2147483647 h 942"/>
                    <a:gd name="T76" fmla="*/ 2147483647 w 1110"/>
                    <a:gd name="T77" fmla="*/ 2147483647 h 942"/>
                    <a:gd name="T78" fmla="*/ 2147483647 w 1110"/>
                    <a:gd name="T79" fmla="*/ 2147483647 h 942"/>
                    <a:gd name="T80" fmla="*/ 2147483647 w 1110"/>
                    <a:gd name="T81" fmla="*/ 2147483647 h 942"/>
                    <a:gd name="T82" fmla="*/ 2147483647 w 1110"/>
                    <a:gd name="T83" fmla="*/ 2147483647 h 942"/>
                    <a:gd name="T84" fmla="*/ 2147483647 w 1110"/>
                    <a:gd name="T85" fmla="*/ 2147483647 h 942"/>
                    <a:gd name="T86" fmla="*/ 2147483647 w 1110"/>
                    <a:gd name="T87" fmla="*/ 2147483647 h 942"/>
                    <a:gd name="T88" fmla="*/ 2147483647 w 1110"/>
                    <a:gd name="T89" fmla="*/ 2147483647 h 942"/>
                    <a:gd name="T90" fmla="*/ 2147483647 w 1110"/>
                    <a:gd name="T91" fmla="*/ 2147483647 h 942"/>
                    <a:gd name="T92" fmla="*/ 2147483647 w 1110"/>
                    <a:gd name="T93" fmla="*/ 2147483647 h 942"/>
                    <a:gd name="T94" fmla="*/ 2147483647 w 1110"/>
                    <a:gd name="T95" fmla="*/ 2147483647 h 942"/>
                    <a:gd name="T96" fmla="*/ 2147483647 w 1110"/>
                    <a:gd name="T97" fmla="*/ 2147483647 h 942"/>
                    <a:gd name="T98" fmla="*/ 0 w 1110"/>
                    <a:gd name="T99" fmla="*/ 2147483647 h 942"/>
                    <a:gd name="T100" fmla="*/ 2147483647 w 1110"/>
                    <a:gd name="T101" fmla="*/ 2147483647 h 94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110"/>
                    <a:gd name="T154" fmla="*/ 0 h 942"/>
                    <a:gd name="T155" fmla="*/ 1110 w 1110"/>
                    <a:gd name="T156" fmla="*/ 942 h 942"/>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110" h="942">
                      <a:moveTo>
                        <a:pt x="54" y="792"/>
                      </a:moveTo>
                      <a:lnTo>
                        <a:pt x="54" y="810"/>
                      </a:lnTo>
                      <a:lnTo>
                        <a:pt x="66" y="810"/>
                      </a:lnTo>
                      <a:lnTo>
                        <a:pt x="48" y="828"/>
                      </a:lnTo>
                      <a:lnTo>
                        <a:pt x="48" y="834"/>
                      </a:lnTo>
                      <a:lnTo>
                        <a:pt x="72" y="858"/>
                      </a:lnTo>
                      <a:lnTo>
                        <a:pt x="84" y="864"/>
                      </a:lnTo>
                      <a:lnTo>
                        <a:pt x="90" y="876"/>
                      </a:lnTo>
                      <a:lnTo>
                        <a:pt x="108" y="876"/>
                      </a:lnTo>
                      <a:lnTo>
                        <a:pt x="120" y="864"/>
                      </a:lnTo>
                      <a:lnTo>
                        <a:pt x="132" y="864"/>
                      </a:lnTo>
                      <a:lnTo>
                        <a:pt x="144" y="876"/>
                      </a:lnTo>
                      <a:lnTo>
                        <a:pt x="150" y="888"/>
                      </a:lnTo>
                      <a:lnTo>
                        <a:pt x="126" y="894"/>
                      </a:lnTo>
                      <a:lnTo>
                        <a:pt x="150" y="930"/>
                      </a:lnTo>
                      <a:lnTo>
                        <a:pt x="150" y="906"/>
                      </a:lnTo>
                      <a:lnTo>
                        <a:pt x="180" y="894"/>
                      </a:lnTo>
                      <a:lnTo>
                        <a:pt x="192" y="906"/>
                      </a:lnTo>
                      <a:lnTo>
                        <a:pt x="198" y="918"/>
                      </a:lnTo>
                      <a:lnTo>
                        <a:pt x="204" y="924"/>
                      </a:lnTo>
                      <a:lnTo>
                        <a:pt x="210" y="924"/>
                      </a:lnTo>
                      <a:lnTo>
                        <a:pt x="216" y="930"/>
                      </a:lnTo>
                      <a:lnTo>
                        <a:pt x="222" y="930"/>
                      </a:lnTo>
                      <a:lnTo>
                        <a:pt x="234" y="936"/>
                      </a:lnTo>
                      <a:lnTo>
                        <a:pt x="240" y="942"/>
                      </a:lnTo>
                      <a:lnTo>
                        <a:pt x="240" y="888"/>
                      </a:lnTo>
                      <a:lnTo>
                        <a:pt x="246" y="888"/>
                      </a:lnTo>
                      <a:lnTo>
                        <a:pt x="252" y="882"/>
                      </a:lnTo>
                      <a:lnTo>
                        <a:pt x="258" y="870"/>
                      </a:lnTo>
                      <a:lnTo>
                        <a:pt x="264" y="864"/>
                      </a:lnTo>
                      <a:lnTo>
                        <a:pt x="270" y="852"/>
                      </a:lnTo>
                      <a:lnTo>
                        <a:pt x="276" y="834"/>
                      </a:lnTo>
                      <a:lnTo>
                        <a:pt x="276" y="810"/>
                      </a:lnTo>
                      <a:lnTo>
                        <a:pt x="300" y="786"/>
                      </a:lnTo>
                      <a:lnTo>
                        <a:pt x="354" y="786"/>
                      </a:lnTo>
                      <a:lnTo>
                        <a:pt x="354" y="780"/>
                      </a:lnTo>
                      <a:lnTo>
                        <a:pt x="360" y="780"/>
                      </a:lnTo>
                      <a:lnTo>
                        <a:pt x="372" y="774"/>
                      </a:lnTo>
                      <a:lnTo>
                        <a:pt x="384" y="774"/>
                      </a:lnTo>
                      <a:lnTo>
                        <a:pt x="396" y="786"/>
                      </a:lnTo>
                      <a:lnTo>
                        <a:pt x="396" y="792"/>
                      </a:lnTo>
                      <a:lnTo>
                        <a:pt x="432" y="792"/>
                      </a:lnTo>
                      <a:lnTo>
                        <a:pt x="456" y="816"/>
                      </a:lnTo>
                      <a:lnTo>
                        <a:pt x="456" y="822"/>
                      </a:lnTo>
                      <a:lnTo>
                        <a:pt x="462" y="828"/>
                      </a:lnTo>
                      <a:lnTo>
                        <a:pt x="462" y="834"/>
                      </a:lnTo>
                      <a:lnTo>
                        <a:pt x="468" y="840"/>
                      </a:lnTo>
                      <a:lnTo>
                        <a:pt x="480" y="846"/>
                      </a:lnTo>
                      <a:lnTo>
                        <a:pt x="486" y="846"/>
                      </a:lnTo>
                      <a:lnTo>
                        <a:pt x="498" y="840"/>
                      </a:lnTo>
                      <a:lnTo>
                        <a:pt x="510" y="828"/>
                      </a:lnTo>
                      <a:lnTo>
                        <a:pt x="534" y="816"/>
                      </a:lnTo>
                      <a:lnTo>
                        <a:pt x="546" y="816"/>
                      </a:lnTo>
                      <a:lnTo>
                        <a:pt x="558" y="822"/>
                      </a:lnTo>
                      <a:lnTo>
                        <a:pt x="564" y="828"/>
                      </a:lnTo>
                      <a:lnTo>
                        <a:pt x="576" y="834"/>
                      </a:lnTo>
                      <a:lnTo>
                        <a:pt x="588" y="846"/>
                      </a:lnTo>
                      <a:lnTo>
                        <a:pt x="612" y="858"/>
                      </a:lnTo>
                      <a:lnTo>
                        <a:pt x="642" y="858"/>
                      </a:lnTo>
                      <a:lnTo>
                        <a:pt x="654" y="864"/>
                      </a:lnTo>
                      <a:lnTo>
                        <a:pt x="660" y="864"/>
                      </a:lnTo>
                      <a:lnTo>
                        <a:pt x="666" y="858"/>
                      </a:lnTo>
                      <a:lnTo>
                        <a:pt x="678" y="834"/>
                      </a:lnTo>
                      <a:lnTo>
                        <a:pt x="690" y="828"/>
                      </a:lnTo>
                      <a:lnTo>
                        <a:pt x="702" y="816"/>
                      </a:lnTo>
                      <a:lnTo>
                        <a:pt x="720" y="810"/>
                      </a:lnTo>
                      <a:lnTo>
                        <a:pt x="774" y="810"/>
                      </a:lnTo>
                      <a:lnTo>
                        <a:pt x="810" y="822"/>
                      </a:lnTo>
                      <a:lnTo>
                        <a:pt x="822" y="828"/>
                      </a:lnTo>
                      <a:lnTo>
                        <a:pt x="828" y="834"/>
                      </a:lnTo>
                      <a:lnTo>
                        <a:pt x="858" y="834"/>
                      </a:lnTo>
                      <a:lnTo>
                        <a:pt x="870" y="828"/>
                      </a:lnTo>
                      <a:lnTo>
                        <a:pt x="876" y="822"/>
                      </a:lnTo>
                      <a:lnTo>
                        <a:pt x="888" y="816"/>
                      </a:lnTo>
                      <a:lnTo>
                        <a:pt x="894" y="810"/>
                      </a:lnTo>
                      <a:lnTo>
                        <a:pt x="918" y="810"/>
                      </a:lnTo>
                      <a:lnTo>
                        <a:pt x="918" y="804"/>
                      </a:lnTo>
                      <a:lnTo>
                        <a:pt x="924" y="798"/>
                      </a:lnTo>
                      <a:lnTo>
                        <a:pt x="924" y="792"/>
                      </a:lnTo>
                      <a:lnTo>
                        <a:pt x="930" y="786"/>
                      </a:lnTo>
                      <a:lnTo>
                        <a:pt x="936" y="786"/>
                      </a:lnTo>
                      <a:lnTo>
                        <a:pt x="930" y="726"/>
                      </a:lnTo>
                      <a:lnTo>
                        <a:pt x="948" y="720"/>
                      </a:lnTo>
                      <a:lnTo>
                        <a:pt x="948" y="714"/>
                      </a:lnTo>
                      <a:lnTo>
                        <a:pt x="954" y="708"/>
                      </a:lnTo>
                      <a:lnTo>
                        <a:pt x="954" y="696"/>
                      </a:lnTo>
                      <a:lnTo>
                        <a:pt x="960" y="678"/>
                      </a:lnTo>
                      <a:lnTo>
                        <a:pt x="966" y="666"/>
                      </a:lnTo>
                      <a:lnTo>
                        <a:pt x="978" y="648"/>
                      </a:lnTo>
                      <a:lnTo>
                        <a:pt x="984" y="636"/>
                      </a:lnTo>
                      <a:lnTo>
                        <a:pt x="1002" y="618"/>
                      </a:lnTo>
                      <a:lnTo>
                        <a:pt x="1026" y="588"/>
                      </a:lnTo>
                      <a:lnTo>
                        <a:pt x="1050" y="564"/>
                      </a:lnTo>
                      <a:lnTo>
                        <a:pt x="1068" y="540"/>
                      </a:lnTo>
                      <a:lnTo>
                        <a:pt x="1074" y="534"/>
                      </a:lnTo>
                      <a:lnTo>
                        <a:pt x="1092" y="288"/>
                      </a:lnTo>
                      <a:lnTo>
                        <a:pt x="1110" y="252"/>
                      </a:lnTo>
                      <a:lnTo>
                        <a:pt x="1080" y="216"/>
                      </a:lnTo>
                      <a:lnTo>
                        <a:pt x="1074" y="192"/>
                      </a:lnTo>
                      <a:lnTo>
                        <a:pt x="1044" y="156"/>
                      </a:lnTo>
                      <a:lnTo>
                        <a:pt x="1056" y="108"/>
                      </a:lnTo>
                      <a:lnTo>
                        <a:pt x="1038" y="42"/>
                      </a:lnTo>
                      <a:lnTo>
                        <a:pt x="1020" y="48"/>
                      </a:lnTo>
                      <a:lnTo>
                        <a:pt x="1002" y="60"/>
                      </a:lnTo>
                      <a:lnTo>
                        <a:pt x="990" y="66"/>
                      </a:lnTo>
                      <a:lnTo>
                        <a:pt x="984" y="66"/>
                      </a:lnTo>
                      <a:lnTo>
                        <a:pt x="978" y="60"/>
                      </a:lnTo>
                      <a:lnTo>
                        <a:pt x="966" y="54"/>
                      </a:lnTo>
                      <a:lnTo>
                        <a:pt x="960" y="42"/>
                      </a:lnTo>
                      <a:lnTo>
                        <a:pt x="954" y="36"/>
                      </a:lnTo>
                      <a:lnTo>
                        <a:pt x="942" y="30"/>
                      </a:lnTo>
                      <a:lnTo>
                        <a:pt x="936" y="24"/>
                      </a:lnTo>
                      <a:lnTo>
                        <a:pt x="930" y="24"/>
                      </a:lnTo>
                      <a:lnTo>
                        <a:pt x="918" y="18"/>
                      </a:lnTo>
                      <a:lnTo>
                        <a:pt x="900" y="12"/>
                      </a:lnTo>
                      <a:lnTo>
                        <a:pt x="888" y="12"/>
                      </a:lnTo>
                      <a:lnTo>
                        <a:pt x="876" y="6"/>
                      </a:lnTo>
                      <a:lnTo>
                        <a:pt x="864" y="6"/>
                      </a:lnTo>
                      <a:lnTo>
                        <a:pt x="828" y="0"/>
                      </a:lnTo>
                      <a:lnTo>
                        <a:pt x="816" y="6"/>
                      </a:lnTo>
                      <a:lnTo>
                        <a:pt x="786" y="30"/>
                      </a:lnTo>
                      <a:lnTo>
                        <a:pt x="738" y="66"/>
                      </a:lnTo>
                      <a:lnTo>
                        <a:pt x="684" y="102"/>
                      </a:lnTo>
                      <a:lnTo>
                        <a:pt x="624" y="144"/>
                      </a:lnTo>
                      <a:lnTo>
                        <a:pt x="576" y="180"/>
                      </a:lnTo>
                      <a:lnTo>
                        <a:pt x="534" y="210"/>
                      </a:lnTo>
                      <a:lnTo>
                        <a:pt x="510" y="222"/>
                      </a:lnTo>
                      <a:lnTo>
                        <a:pt x="480" y="246"/>
                      </a:lnTo>
                      <a:lnTo>
                        <a:pt x="450" y="282"/>
                      </a:lnTo>
                      <a:lnTo>
                        <a:pt x="414" y="312"/>
                      </a:lnTo>
                      <a:lnTo>
                        <a:pt x="390" y="330"/>
                      </a:lnTo>
                      <a:lnTo>
                        <a:pt x="366" y="336"/>
                      </a:lnTo>
                      <a:lnTo>
                        <a:pt x="324" y="342"/>
                      </a:lnTo>
                      <a:lnTo>
                        <a:pt x="282" y="354"/>
                      </a:lnTo>
                      <a:lnTo>
                        <a:pt x="282" y="558"/>
                      </a:lnTo>
                      <a:lnTo>
                        <a:pt x="264" y="582"/>
                      </a:lnTo>
                      <a:lnTo>
                        <a:pt x="264" y="594"/>
                      </a:lnTo>
                      <a:lnTo>
                        <a:pt x="258" y="606"/>
                      </a:lnTo>
                      <a:lnTo>
                        <a:pt x="258" y="624"/>
                      </a:lnTo>
                      <a:lnTo>
                        <a:pt x="252" y="636"/>
                      </a:lnTo>
                      <a:lnTo>
                        <a:pt x="240" y="642"/>
                      </a:lnTo>
                      <a:lnTo>
                        <a:pt x="222" y="648"/>
                      </a:lnTo>
                      <a:lnTo>
                        <a:pt x="198" y="648"/>
                      </a:lnTo>
                      <a:lnTo>
                        <a:pt x="186" y="654"/>
                      </a:lnTo>
                      <a:lnTo>
                        <a:pt x="138" y="648"/>
                      </a:lnTo>
                      <a:lnTo>
                        <a:pt x="138" y="666"/>
                      </a:lnTo>
                      <a:lnTo>
                        <a:pt x="72" y="660"/>
                      </a:lnTo>
                      <a:lnTo>
                        <a:pt x="48" y="678"/>
                      </a:lnTo>
                      <a:lnTo>
                        <a:pt x="0" y="690"/>
                      </a:lnTo>
                      <a:lnTo>
                        <a:pt x="0" y="726"/>
                      </a:lnTo>
                      <a:lnTo>
                        <a:pt x="6" y="738"/>
                      </a:lnTo>
                      <a:lnTo>
                        <a:pt x="6" y="762"/>
                      </a:lnTo>
                      <a:lnTo>
                        <a:pt x="18" y="786"/>
                      </a:lnTo>
                      <a:lnTo>
                        <a:pt x="30" y="792"/>
                      </a:lnTo>
                      <a:lnTo>
                        <a:pt x="54" y="792"/>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578" name="Nicaragua"/>
                <p:cNvSpPr>
                  <a:spLocks/>
                </p:cNvSpPr>
                <p:nvPr/>
              </p:nvSpPr>
              <p:spPr bwMode="gray">
                <a:xfrm>
                  <a:off x="1070" y="2004"/>
                  <a:ext cx="83" cy="85"/>
                </a:xfrm>
                <a:custGeom>
                  <a:avLst/>
                  <a:gdLst>
                    <a:gd name="T0" fmla="*/ 2147483647 w 324"/>
                    <a:gd name="T1" fmla="*/ 2147483647 h 330"/>
                    <a:gd name="T2" fmla="*/ 2147483647 w 324"/>
                    <a:gd name="T3" fmla="*/ 0 h 330"/>
                    <a:gd name="T4" fmla="*/ 2147483647 w 324"/>
                    <a:gd name="T5" fmla="*/ 2147483647 h 330"/>
                    <a:gd name="T6" fmla="*/ 2147483647 w 324"/>
                    <a:gd name="T7" fmla="*/ 2147483647 h 330"/>
                    <a:gd name="T8" fmla="*/ 2147483647 w 324"/>
                    <a:gd name="T9" fmla="*/ 0 h 330"/>
                    <a:gd name="T10" fmla="*/ 2147483647 w 324"/>
                    <a:gd name="T11" fmla="*/ 2147483647 h 330"/>
                    <a:gd name="T12" fmla="*/ 2147483647 w 324"/>
                    <a:gd name="T13" fmla="*/ 2147483647 h 330"/>
                    <a:gd name="T14" fmla="*/ 2147483647 w 324"/>
                    <a:gd name="T15" fmla="*/ 2147483647 h 330"/>
                    <a:gd name="T16" fmla="*/ 2147483647 w 324"/>
                    <a:gd name="T17" fmla="*/ 2147483647 h 330"/>
                    <a:gd name="T18" fmla="*/ 2147483647 w 324"/>
                    <a:gd name="T19" fmla="*/ 2147483647 h 330"/>
                    <a:gd name="T20" fmla="*/ 2147483647 w 324"/>
                    <a:gd name="T21" fmla="*/ 2147483647 h 330"/>
                    <a:gd name="T22" fmla="*/ 2147483647 w 324"/>
                    <a:gd name="T23" fmla="*/ 2147483647 h 330"/>
                    <a:gd name="T24" fmla="*/ 2147483647 w 324"/>
                    <a:gd name="T25" fmla="*/ 2147483647 h 330"/>
                    <a:gd name="T26" fmla="*/ 2147483647 w 324"/>
                    <a:gd name="T27" fmla="*/ 2147483647 h 330"/>
                    <a:gd name="T28" fmla="*/ 2147483647 w 324"/>
                    <a:gd name="T29" fmla="*/ 2147483647 h 330"/>
                    <a:gd name="T30" fmla="*/ 2147483647 w 324"/>
                    <a:gd name="T31" fmla="*/ 2147483647 h 330"/>
                    <a:gd name="T32" fmla="*/ 2147483647 w 324"/>
                    <a:gd name="T33" fmla="*/ 2147483647 h 330"/>
                    <a:gd name="T34" fmla="*/ 2147483647 w 324"/>
                    <a:gd name="T35" fmla="*/ 2147483647 h 330"/>
                    <a:gd name="T36" fmla="*/ 2147483647 w 324"/>
                    <a:gd name="T37" fmla="*/ 2147483647 h 330"/>
                    <a:gd name="T38" fmla="*/ 2147483647 w 324"/>
                    <a:gd name="T39" fmla="*/ 2147483647 h 330"/>
                    <a:gd name="T40" fmla="*/ 2147483647 w 324"/>
                    <a:gd name="T41" fmla="*/ 2147483647 h 330"/>
                    <a:gd name="T42" fmla="*/ 2147483647 w 324"/>
                    <a:gd name="T43" fmla="*/ 2147483647 h 330"/>
                    <a:gd name="T44" fmla="*/ 2147483647 w 324"/>
                    <a:gd name="T45" fmla="*/ 2147483647 h 330"/>
                    <a:gd name="T46" fmla="*/ 2147483647 w 324"/>
                    <a:gd name="T47" fmla="*/ 2147483647 h 330"/>
                    <a:gd name="T48" fmla="*/ 2147483647 w 324"/>
                    <a:gd name="T49" fmla="*/ 2147483647 h 330"/>
                    <a:gd name="T50" fmla="*/ 2147483647 w 324"/>
                    <a:gd name="T51" fmla="*/ 2147483647 h 330"/>
                    <a:gd name="T52" fmla="*/ 2147483647 w 324"/>
                    <a:gd name="T53" fmla="*/ 2147483647 h 330"/>
                    <a:gd name="T54" fmla="*/ 2147483647 w 324"/>
                    <a:gd name="T55" fmla="*/ 2147483647 h 330"/>
                    <a:gd name="T56" fmla="*/ 2147483647 w 324"/>
                    <a:gd name="T57" fmla="*/ 2147483647 h 330"/>
                    <a:gd name="T58" fmla="*/ 2147483647 w 324"/>
                    <a:gd name="T59" fmla="*/ 2147483647 h 330"/>
                    <a:gd name="T60" fmla="*/ 2147483647 w 324"/>
                    <a:gd name="T61" fmla="*/ 2147483647 h 330"/>
                    <a:gd name="T62" fmla="*/ 2147483647 w 324"/>
                    <a:gd name="T63" fmla="*/ 2147483647 h 330"/>
                    <a:gd name="T64" fmla="*/ 2147483647 w 324"/>
                    <a:gd name="T65" fmla="*/ 2147483647 h 330"/>
                    <a:gd name="T66" fmla="*/ 2147483647 w 324"/>
                    <a:gd name="T67" fmla="*/ 2147483647 h 330"/>
                    <a:gd name="T68" fmla="*/ 2147483647 w 324"/>
                    <a:gd name="T69" fmla="*/ 2147483647 h 330"/>
                    <a:gd name="T70" fmla="*/ 2147483647 w 324"/>
                    <a:gd name="T71" fmla="*/ 2147483647 h 330"/>
                    <a:gd name="T72" fmla="*/ 2147483647 w 324"/>
                    <a:gd name="T73" fmla="*/ 2147483647 h 330"/>
                    <a:gd name="T74" fmla="*/ 2147483647 w 324"/>
                    <a:gd name="T75" fmla="*/ 2147483647 h 330"/>
                    <a:gd name="T76" fmla="*/ 2147483647 w 324"/>
                    <a:gd name="T77" fmla="*/ 2147483647 h 330"/>
                    <a:gd name="T78" fmla="*/ 2147483647 w 324"/>
                    <a:gd name="T79" fmla="*/ 2147483647 h 330"/>
                    <a:gd name="T80" fmla="*/ 2147483647 w 324"/>
                    <a:gd name="T81" fmla="*/ 2147483647 h 33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24"/>
                    <a:gd name="T124" fmla="*/ 0 h 330"/>
                    <a:gd name="T125" fmla="*/ 324 w 324"/>
                    <a:gd name="T126" fmla="*/ 330 h 330"/>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24" h="330">
                      <a:moveTo>
                        <a:pt x="324" y="18"/>
                      </a:moveTo>
                      <a:lnTo>
                        <a:pt x="318" y="12"/>
                      </a:lnTo>
                      <a:lnTo>
                        <a:pt x="318" y="6"/>
                      </a:lnTo>
                      <a:lnTo>
                        <a:pt x="312" y="0"/>
                      </a:lnTo>
                      <a:lnTo>
                        <a:pt x="264" y="0"/>
                      </a:lnTo>
                      <a:lnTo>
                        <a:pt x="264" y="6"/>
                      </a:lnTo>
                      <a:lnTo>
                        <a:pt x="252" y="18"/>
                      </a:lnTo>
                      <a:lnTo>
                        <a:pt x="240" y="18"/>
                      </a:lnTo>
                      <a:lnTo>
                        <a:pt x="222" y="0"/>
                      </a:lnTo>
                      <a:lnTo>
                        <a:pt x="210" y="0"/>
                      </a:lnTo>
                      <a:lnTo>
                        <a:pt x="198" y="12"/>
                      </a:lnTo>
                      <a:lnTo>
                        <a:pt x="198" y="30"/>
                      </a:lnTo>
                      <a:lnTo>
                        <a:pt x="180" y="30"/>
                      </a:lnTo>
                      <a:lnTo>
                        <a:pt x="168" y="54"/>
                      </a:lnTo>
                      <a:lnTo>
                        <a:pt x="144" y="78"/>
                      </a:lnTo>
                      <a:lnTo>
                        <a:pt x="126" y="78"/>
                      </a:lnTo>
                      <a:lnTo>
                        <a:pt x="120" y="72"/>
                      </a:lnTo>
                      <a:lnTo>
                        <a:pt x="120" y="66"/>
                      </a:lnTo>
                      <a:lnTo>
                        <a:pt x="108" y="66"/>
                      </a:lnTo>
                      <a:lnTo>
                        <a:pt x="102" y="72"/>
                      </a:lnTo>
                      <a:lnTo>
                        <a:pt x="96" y="84"/>
                      </a:lnTo>
                      <a:lnTo>
                        <a:pt x="60" y="84"/>
                      </a:lnTo>
                      <a:lnTo>
                        <a:pt x="54" y="90"/>
                      </a:lnTo>
                      <a:lnTo>
                        <a:pt x="54" y="102"/>
                      </a:lnTo>
                      <a:lnTo>
                        <a:pt x="60" y="108"/>
                      </a:lnTo>
                      <a:lnTo>
                        <a:pt x="60" y="120"/>
                      </a:lnTo>
                      <a:lnTo>
                        <a:pt x="66" y="126"/>
                      </a:lnTo>
                      <a:lnTo>
                        <a:pt x="48" y="126"/>
                      </a:lnTo>
                      <a:lnTo>
                        <a:pt x="48" y="144"/>
                      </a:lnTo>
                      <a:lnTo>
                        <a:pt x="36" y="150"/>
                      </a:lnTo>
                      <a:lnTo>
                        <a:pt x="0" y="150"/>
                      </a:lnTo>
                      <a:lnTo>
                        <a:pt x="48" y="204"/>
                      </a:lnTo>
                      <a:lnTo>
                        <a:pt x="48" y="210"/>
                      </a:lnTo>
                      <a:lnTo>
                        <a:pt x="54" y="216"/>
                      </a:lnTo>
                      <a:lnTo>
                        <a:pt x="54" y="228"/>
                      </a:lnTo>
                      <a:lnTo>
                        <a:pt x="66" y="252"/>
                      </a:lnTo>
                      <a:lnTo>
                        <a:pt x="72" y="258"/>
                      </a:lnTo>
                      <a:lnTo>
                        <a:pt x="96" y="270"/>
                      </a:lnTo>
                      <a:lnTo>
                        <a:pt x="108" y="282"/>
                      </a:lnTo>
                      <a:lnTo>
                        <a:pt x="114" y="294"/>
                      </a:lnTo>
                      <a:lnTo>
                        <a:pt x="138" y="294"/>
                      </a:lnTo>
                      <a:lnTo>
                        <a:pt x="132" y="294"/>
                      </a:lnTo>
                      <a:lnTo>
                        <a:pt x="120" y="282"/>
                      </a:lnTo>
                      <a:lnTo>
                        <a:pt x="120" y="276"/>
                      </a:lnTo>
                      <a:lnTo>
                        <a:pt x="126" y="270"/>
                      </a:lnTo>
                      <a:lnTo>
                        <a:pt x="138" y="270"/>
                      </a:lnTo>
                      <a:lnTo>
                        <a:pt x="138" y="264"/>
                      </a:lnTo>
                      <a:lnTo>
                        <a:pt x="132" y="258"/>
                      </a:lnTo>
                      <a:lnTo>
                        <a:pt x="126" y="258"/>
                      </a:lnTo>
                      <a:lnTo>
                        <a:pt x="120" y="264"/>
                      </a:lnTo>
                      <a:lnTo>
                        <a:pt x="114" y="264"/>
                      </a:lnTo>
                      <a:lnTo>
                        <a:pt x="114" y="222"/>
                      </a:lnTo>
                      <a:lnTo>
                        <a:pt x="120" y="222"/>
                      </a:lnTo>
                      <a:lnTo>
                        <a:pt x="132" y="228"/>
                      </a:lnTo>
                      <a:lnTo>
                        <a:pt x="144" y="240"/>
                      </a:lnTo>
                      <a:lnTo>
                        <a:pt x="156" y="246"/>
                      </a:lnTo>
                      <a:lnTo>
                        <a:pt x="180" y="270"/>
                      </a:lnTo>
                      <a:lnTo>
                        <a:pt x="192" y="306"/>
                      </a:lnTo>
                      <a:lnTo>
                        <a:pt x="210" y="306"/>
                      </a:lnTo>
                      <a:lnTo>
                        <a:pt x="216" y="312"/>
                      </a:lnTo>
                      <a:lnTo>
                        <a:pt x="222" y="312"/>
                      </a:lnTo>
                      <a:lnTo>
                        <a:pt x="222" y="318"/>
                      </a:lnTo>
                      <a:lnTo>
                        <a:pt x="234" y="330"/>
                      </a:lnTo>
                      <a:lnTo>
                        <a:pt x="270" y="330"/>
                      </a:lnTo>
                      <a:lnTo>
                        <a:pt x="270" y="324"/>
                      </a:lnTo>
                      <a:lnTo>
                        <a:pt x="258" y="312"/>
                      </a:lnTo>
                      <a:lnTo>
                        <a:pt x="252" y="300"/>
                      </a:lnTo>
                      <a:lnTo>
                        <a:pt x="252" y="276"/>
                      </a:lnTo>
                      <a:lnTo>
                        <a:pt x="264" y="264"/>
                      </a:lnTo>
                      <a:lnTo>
                        <a:pt x="270" y="264"/>
                      </a:lnTo>
                      <a:lnTo>
                        <a:pt x="270" y="246"/>
                      </a:lnTo>
                      <a:lnTo>
                        <a:pt x="264" y="234"/>
                      </a:lnTo>
                      <a:lnTo>
                        <a:pt x="264" y="222"/>
                      </a:lnTo>
                      <a:lnTo>
                        <a:pt x="270" y="174"/>
                      </a:lnTo>
                      <a:lnTo>
                        <a:pt x="282" y="192"/>
                      </a:lnTo>
                      <a:lnTo>
                        <a:pt x="288" y="108"/>
                      </a:lnTo>
                      <a:lnTo>
                        <a:pt x="288" y="102"/>
                      </a:lnTo>
                      <a:lnTo>
                        <a:pt x="294" y="96"/>
                      </a:lnTo>
                      <a:lnTo>
                        <a:pt x="306" y="72"/>
                      </a:lnTo>
                      <a:lnTo>
                        <a:pt x="312" y="66"/>
                      </a:lnTo>
                      <a:lnTo>
                        <a:pt x="324" y="42"/>
                      </a:lnTo>
                      <a:lnTo>
                        <a:pt x="324" y="18"/>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579" name="New Zealand"/>
                <p:cNvSpPr>
                  <a:spLocks noEditPoints="1"/>
                </p:cNvSpPr>
                <p:nvPr/>
              </p:nvSpPr>
              <p:spPr bwMode="gray">
                <a:xfrm>
                  <a:off x="5368" y="3017"/>
                  <a:ext cx="325" cy="251"/>
                </a:xfrm>
                <a:custGeom>
                  <a:avLst/>
                  <a:gdLst>
                    <a:gd name="T0" fmla="*/ 2147483647 w 1272"/>
                    <a:gd name="T1" fmla="*/ 2147483647 h 984"/>
                    <a:gd name="T2" fmla="*/ 2147483647 w 1272"/>
                    <a:gd name="T3" fmla="*/ 2147483647 h 984"/>
                    <a:gd name="T4" fmla="*/ 2147483647 w 1272"/>
                    <a:gd name="T5" fmla="*/ 2147483647 h 984"/>
                    <a:gd name="T6" fmla="*/ 2147483647 w 1272"/>
                    <a:gd name="T7" fmla="*/ 2147483647 h 984"/>
                    <a:gd name="T8" fmla="*/ 2147483647 w 1272"/>
                    <a:gd name="T9" fmla="*/ 2147483647 h 984"/>
                    <a:gd name="T10" fmla="*/ 2147483647 w 1272"/>
                    <a:gd name="T11" fmla="*/ 2147483647 h 984"/>
                    <a:gd name="T12" fmla="*/ 2147483647 w 1272"/>
                    <a:gd name="T13" fmla="*/ 2147483647 h 984"/>
                    <a:gd name="T14" fmla="*/ 2147483647 w 1272"/>
                    <a:gd name="T15" fmla="*/ 2147483647 h 984"/>
                    <a:gd name="T16" fmla="*/ 2147483647 w 1272"/>
                    <a:gd name="T17" fmla="*/ 2147483647 h 984"/>
                    <a:gd name="T18" fmla="*/ 2147483647 w 1272"/>
                    <a:gd name="T19" fmla="*/ 2147483647 h 984"/>
                    <a:gd name="T20" fmla="*/ 2147483647 w 1272"/>
                    <a:gd name="T21" fmla="*/ 2147483647 h 984"/>
                    <a:gd name="T22" fmla="*/ 2147483647 w 1272"/>
                    <a:gd name="T23" fmla="*/ 2147483647 h 984"/>
                    <a:gd name="T24" fmla="*/ 2147483647 w 1272"/>
                    <a:gd name="T25" fmla="*/ 2147483647 h 984"/>
                    <a:gd name="T26" fmla="*/ 2147483647 w 1272"/>
                    <a:gd name="T27" fmla="*/ 2147483647 h 984"/>
                    <a:gd name="T28" fmla="*/ 2147483647 w 1272"/>
                    <a:gd name="T29" fmla="*/ 2147483647 h 984"/>
                    <a:gd name="T30" fmla="*/ 2147483647 w 1272"/>
                    <a:gd name="T31" fmla="*/ 2147483647 h 984"/>
                    <a:gd name="T32" fmla="*/ 2147483647 w 1272"/>
                    <a:gd name="T33" fmla="*/ 2147483647 h 984"/>
                    <a:gd name="T34" fmla="*/ 2147483647 w 1272"/>
                    <a:gd name="T35" fmla="*/ 2147483647 h 984"/>
                    <a:gd name="T36" fmla="*/ 2147483647 w 1272"/>
                    <a:gd name="T37" fmla="*/ 2147483647 h 984"/>
                    <a:gd name="T38" fmla="*/ 2147483647 w 1272"/>
                    <a:gd name="T39" fmla="*/ 2147483647 h 984"/>
                    <a:gd name="T40" fmla="*/ 2147483647 w 1272"/>
                    <a:gd name="T41" fmla="*/ 2147483647 h 984"/>
                    <a:gd name="T42" fmla="*/ 2147483647 w 1272"/>
                    <a:gd name="T43" fmla="*/ 2147483647 h 984"/>
                    <a:gd name="T44" fmla="*/ 2147483647 w 1272"/>
                    <a:gd name="T45" fmla="*/ 2147483647 h 984"/>
                    <a:gd name="T46" fmla="*/ 2147483647 w 1272"/>
                    <a:gd name="T47" fmla="*/ 2147483647 h 984"/>
                    <a:gd name="T48" fmla="*/ 2147483647 w 1272"/>
                    <a:gd name="T49" fmla="*/ 2147483647 h 984"/>
                    <a:gd name="T50" fmla="*/ 2147483647 w 1272"/>
                    <a:gd name="T51" fmla="*/ 2147483647 h 984"/>
                    <a:gd name="T52" fmla="*/ 2147483647 w 1272"/>
                    <a:gd name="T53" fmla="*/ 2147483647 h 984"/>
                    <a:gd name="T54" fmla="*/ 2147483647 w 1272"/>
                    <a:gd name="T55" fmla="*/ 2147483647 h 984"/>
                    <a:gd name="T56" fmla="*/ 2147483647 w 1272"/>
                    <a:gd name="T57" fmla="*/ 2147483647 h 984"/>
                    <a:gd name="T58" fmla="*/ 2147483647 w 1272"/>
                    <a:gd name="T59" fmla="*/ 2147483647 h 984"/>
                    <a:gd name="T60" fmla="*/ 2147483647 w 1272"/>
                    <a:gd name="T61" fmla="*/ 2147483647 h 984"/>
                    <a:gd name="T62" fmla="*/ 2147483647 w 1272"/>
                    <a:gd name="T63" fmla="*/ 2147483647 h 984"/>
                    <a:gd name="T64" fmla="*/ 2147483647 w 1272"/>
                    <a:gd name="T65" fmla="*/ 2147483647 h 984"/>
                    <a:gd name="T66" fmla="*/ 2147483647 w 1272"/>
                    <a:gd name="T67" fmla="*/ 2147483647 h 984"/>
                    <a:gd name="T68" fmla="*/ 2147483647 w 1272"/>
                    <a:gd name="T69" fmla="*/ 2147483647 h 984"/>
                    <a:gd name="T70" fmla="*/ 2147483647 w 1272"/>
                    <a:gd name="T71" fmla="*/ 2147483647 h 984"/>
                    <a:gd name="T72" fmla="*/ 2147483647 w 1272"/>
                    <a:gd name="T73" fmla="*/ 2147483647 h 984"/>
                    <a:gd name="T74" fmla="*/ 2147483647 w 1272"/>
                    <a:gd name="T75" fmla="*/ 2147483647 h 984"/>
                    <a:gd name="T76" fmla="*/ 2147483647 w 1272"/>
                    <a:gd name="T77" fmla="*/ 2147483647 h 984"/>
                    <a:gd name="T78" fmla="*/ 2147483647 w 1272"/>
                    <a:gd name="T79" fmla="*/ 2147483647 h 984"/>
                    <a:gd name="T80" fmla="*/ 2147483647 w 1272"/>
                    <a:gd name="T81" fmla="*/ 2147483647 h 984"/>
                    <a:gd name="T82" fmla="*/ 2147483647 w 1272"/>
                    <a:gd name="T83" fmla="*/ 2147483647 h 984"/>
                    <a:gd name="T84" fmla="*/ 2147483647 w 1272"/>
                    <a:gd name="T85" fmla="*/ 2147483647 h 984"/>
                    <a:gd name="T86" fmla="*/ 2147483647 w 1272"/>
                    <a:gd name="T87" fmla="*/ 2147483647 h 984"/>
                    <a:gd name="T88" fmla="*/ 2147483647 w 1272"/>
                    <a:gd name="T89" fmla="*/ 2147483647 h 984"/>
                    <a:gd name="T90" fmla="*/ 2147483647 w 1272"/>
                    <a:gd name="T91" fmla="*/ 2147483647 h 984"/>
                    <a:gd name="T92" fmla="*/ 2147483647 w 1272"/>
                    <a:gd name="T93" fmla="*/ 2147483647 h 984"/>
                    <a:gd name="T94" fmla="*/ 2147483647 w 1272"/>
                    <a:gd name="T95" fmla="*/ 2147483647 h 984"/>
                    <a:gd name="T96" fmla="*/ 2147483647 w 1272"/>
                    <a:gd name="T97" fmla="*/ 2147483647 h 984"/>
                    <a:gd name="T98" fmla="*/ 2147483647 w 1272"/>
                    <a:gd name="T99" fmla="*/ 2147483647 h 984"/>
                    <a:gd name="T100" fmla="*/ 2147483647 w 1272"/>
                    <a:gd name="T101" fmla="*/ 2147483647 h 984"/>
                    <a:gd name="T102" fmla="*/ 2147483647 w 1272"/>
                    <a:gd name="T103" fmla="*/ 2147483647 h 984"/>
                    <a:gd name="T104" fmla="*/ 2147483647 w 1272"/>
                    <a:gd name="T105" fmla="*/ 2147483647 h 984"/>
                    <a:gd name="T106" fmla="*/ 2147483647 w 1272"/>
                    <a:gd name="T107" fmla="*/ 2147483647 h 984"/>
                    <a:gd name="T108" fmla="*/ 2147483647 w 1272"/>
                    <a:gd name="T109" fmla="*/ 2147483647 h 984"/>
                    <a:gd name="T110" fmla="*/ 2147483647 w 1272"/>
                    <a:gd name="T111" fmla="*/ 2147483647 h 984"/>
                    <a:gd name="T112" fmla="*/ 2147483647 w 1272"/>
                    <a:gd name="T113" fmla="*/ 2147483647 h 984"/>
                    <a:gd name="T114" fmla="*/ 2147483647 w 1272"/>
                    <a:gd name="T115" fmla="*/ 2147483647 h 984"/>
                    <a:gd name="T116" fmla="*/ 2147483647 w 1272"/>
                    <a:gd name="T117" fmla="*/ 2147483647 h 984"/>
                    <a:gd name="T118" fmla="*/ 2147483647 w 1272"/>
                    <a:gd name="T119" fmla="*/ 2147483647 h 984"/>
                    <a:gd name="T120" fmla="*/ 2147483647 w 1272"/>
                    <a:gd name="T121" fmla="*/ 2147483647 h 98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272"/>
                    <a:gd name="T184" fmla="*/ 0 h 984"/>
                    <a:gd name="T185" fmla="*/ 1272 w 1272"/>
                    <a:gd name="T186" fmla="*/ 984 h 98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272" h="984">
                      <a:moveTo>
                        <a:pt x="750" y="564"/>
                      </a:moveTo>
                      <a:lnTo>
                        <a:pt x="738" y="564"/>
                      </a:lnTo>
                      <a:lnTo>
                        <a:pt x="744" y="528"/>
                      </a:lnTo>
                      <a:lnTo>
                        <a:pt x="720" y="546"/>
                      </a:lnTo>
                      <a:lnTo>
                        <a:pt x="726" y="540"/>
                      </a:lnTo>
                      <a:lnTo>
                        <a:pt x="726" y="504"/>
                      </a:lnTo>
                      <a:lnTo>
                        <a:pt x="708" y="504"/>
                      </a:lnTo>
                      <a:lnTo>
                        <a:pt x="702" y="510"/>
                      </a:lnTo>
                      <a:lnTo>
                        <a:pt x="696" y="522"/>
                      </a:lnTo>
                      <a:lnTo>
                        <a:pt x="690" y="528"/>
                      </a:lnTo>
                      <a:lnTo>
                        <a:pt x="672" y="540"/>
                      </a:lnTo>
                      <a:lnTo>
                        <a:pt x="660" y="546"/>
                      </a:lnTo>
                      <a:lnTo>
                        <a:pt x="654" y="558"/>
                      </a:lnTo>
                      <a:lnTo>
                        <a:pt x="642" y="570"/>
                      </a:lnTo>
                      <a:lnTo>
                        <a:pt x="630" y="576"/>
                      </a:lnTo>
                      <a:lnTo>
                        <a:pt x="618" y="588"/>
                      </a:lnTo>
                      <a:lnTo>
                        <a:pt x="606" y="588"/>
                      </a:lnTo>
                      <a:lnTo>
                        <a:pt x="588" y="600"/>
                      </a:lnTo>
                      <a:lnTo>
                        <a:pt x="576" y="606"/>
                      </a:lnTo>
                      <a:lnTo>
                        <a:pt x="546" y="636"/>
                      </a:lnTo>
                      <a:lnTo>
                        <a:pt x="540" y="648"/>
                      </a:lnTo>
                      <a:lnTo>
                        <a:pt x="534" y="648"/>
                      </a:lnTo>
                      <a:lnTo>
                        <a:pt x="528" y="654"/>
                      </a:lnTo>
                      <a:lnTo>
                        <a:pt x="510" y="660"/>
                      </a:lnTo>
                      <a:lnTo>
                        <a:pt x="498" y="666"/>
                      </a:lnTo>
                      <a:lnTo>
                        <a:pt x="462" y="678"/>
                      </a:lnTo>
                      <a:lnTo>
                        <a:pt x="438" y="690"/>
                      </a:lnTo>
                      <a:lnTo>
                        <a:pt x="426" y="702"/>
                      </a:lnTo>
                      <a:lnTo>
                        <a:pt x="414" y="708"/>
                      </a:lnTo>
                      <a:lnTo>
                        <a:pt x="408" y="720"/>
                      </a:lnTo>
                      <a:lnTo>
                        <a:pt x="396" y="726"/>
                      </a:lnTo>
                      <a:lnTo>
                        <a:pt x="378" y="726"/>
                      </a:lnTo>
                      <a:lnTo>
                        <a:pt x="366" y="732"/>
                      </a:lnTo>
                      <a:lnTo>
                        <a:pt x="312" y="750"/>
                      </a:lnTo>
                      <a:lnTo>
                        <a:pt x="288" y="762"/>
                      </a:lnTo>
                      <a:lnTo>
                        <a:pt x="270" y="774"/>
                      </a:lnTo>
                      <a:lnTo>
                        <a:pt x="246" y="786"/>
                      </a:lnTo>
                      <a:lnTo>
                        <a:pt x="222" y="792"/>
                      </a:lnTo>
                      <a:lnTo>
                        <a:pt x="198" y="804"/>
                      </a:lnTo>
                      <a:lnTo>
                        <a:pt x="180" y="810"/>
                      </a:lnTo>
                      <a:lnTo>
                        <a:pt x="174" y="816"/>
                      </a:lnTo>
                      <a:lnTo>
                        <a:pt x="168" y="828"/>
                      </a:lnTo>
                      <a:lnTo>
                        <a:pt x="168" y="846"/>
                      </a:lnTo>
                      <a:lnTo>
                        <a:pt x="156" y="834"/>
                      </a:lnTo>
                      <a:lnTo>
                        <a:pt x="150" y="834"/>
                      </a:lnTo>
                      <a:lnTo>
                        <a:pt x="144" y="840"/>
                      </a:lnTo>
                      <a:lnTo>
                        <a:pt x="120" y="852"/>
                      </a:lnTo>
                      <a:lnTo>
                        <a:pt x="108" y="864"/>
                      </a:lnTo>
                      <a:lnTo>
                        <a:pt x="72" y="882"/>
                      </a:lnTo>
                      <a:lnTo>
                        <a:pt x="66" y="882"/>
                      </a:lnTo>
                      <a:lnTo>
                        <a:pt x="54" y="888"/>
                      </a:lnTo>
                      <a:lnTo>
                        <a:pt x="36" y="888"/>
                      </a:lnTo>
                      <a:lnTo>
                        <a:pt x="18" y="894"/>
                      </a:lnTo>
                      <a:lnTo>
                        <a:pt x="12" y="906"/>
                      </a:lnTo>
                      <a:lnTo>
                        <a:pt x="0" y="912"/>
                      </a:lnTo>
                      <a:lnTo>
                        <a:pt x="18" y="912"/>
                      </a:lnTo>
                      <a:lnTo>
                        <a:pt x="24" y="918"/>
                      </a:lnTo>
                      <a:lnTo>
                        <a:pt x="30" y="918"/>
                      </a:lnTo>
                      <a:lnTo>
                        <a:pt x="24" y="924"/>
                      </a:lnTo>
                      <a:lnTo>
                        <a:pt x="24" y="942"/>
                      </a:lnTo>
                      <a:lnTo>
                        <a:pt x="30" y="948"/>
                      </a:lnTo>
                      <a:lnTo>
                        <a:pt x="42" y="948"/>
                      </a:lnTo>
                      <a:lnTo>
                        <a:pt x="54" y="942"/>
                      </a:lnTo>
                      <a:lnTo>
                        <a:pt x="60" y="936"/>
                      </a:lnTo>
                      <a:lnTo>
                        <a:pt x="72" y="948"/>
                      </a:lnTo>
                      <a:lnTo>
                        <a:pt x="96" y="948"/>
                      </a:lnTo>
                      <a:lnTo>
                        <a:pt x="102" y="954"/>
                      </a:lnTo>
                      <a:lnTo>
                        <a:pt x="132" y="954"/>
                      </a:lnTo>
                      <a:lnTo>
                        <a:pt x="150" y="972"/>
                      </a:lnTo>
                      <a:lnTo>
                        <a:pt x="180" y="966"/>
                      </a:lnTo>
                      <a:lnTo>
                        <a:pt x="192" y="972"/>
                      </a:lnTo>
                      <a:lnTo>
                        <a:pt x="198" y="978"/>
                      </a:lnTo>
                      <a:lnTo>
                        <a:pt x="216" y="984"/>
                      </a:lnTo>
                      <a:lnTo>
                        <a:pt x="228" y="984"/>
                      </a:lnTo>
                      <a:lnTo>
                        <a:pt x="252" y="972"/>
                      </a:lnTo>
                      <a:lnTo>
                        <a:pt x="264" y="948"/>
                      </a:lnTo>
                      <a:lnTo>
                        <a:pt x="288" y="936"/>
                      </a:lnTo>
                      <a:lnTo>
                        <a:pt x="312" y="936"/>
                      </a:lnTo>
                      <a:lnTo>
                        <a:pt x="336" y="924"/>
                      </a:lnTo>
                      <a:lnTo>
                        <a:pt x="342" y="912"/>
                      </a:lnTo>
                      <a:lnTo>
                        <a:pt x="342" y="894"/>
                      </a:lnTo>
                      <a:lnTo>
                        <a:pt x="348" y="882"/>
                      </a:lnTo>
                      <a:lnTo>
                        <a:pt x="372" y="870"/>
                      </a:lnTo>
                      <a:lnTo>
                        <a:pt x="396" y="870"/>
                      </a:lnTo>
                      <a:lnTo>
                        <a:pt x="408" y="858"/>
                      </a:lnTo>
                      <a:lnTo>
                        <a:pt x="408" y="846"/>
                      </a:lnTo>
                      <a:lnTo>
                        <a:pt x="402" y="840"/>
                      </a:lnTo>
                      <a:lnTo>
                        <a:pt x="420" y="840"/>
                      </a:lnTo>
                      <a:lnTo>
                        <a:pt x="480" y="792"/>
                      </a:lnTo>
                      <a:lnTo>
                        <a:pt x="462" y="774"/>
                      </a:lnTo>
                      <a:lnTo>
                        <a:pt x="504" y="792"/>
                      </a:lnTo>
                      <a:lnTo>
                        <a:pt x="504" y="774"/>
                      </a:lnTo>
                      <a:lnTo>
                        <a:pt x="510" y="768"/>
                      </a:lnTo>
                      <a:lnTo>
                        <a:pt x="540" y="768"/>
                      </a:lnTo>
                      <a:lnTo>
                        <a:pt x="546" y="774"/>
                      </a:lnTo>
                      <a:lnTo>
                        <a:pt x="558" y="780"/>
                      </a:lnTo>
                      <a:lnTo>
                        <a:pt x="570" y="780"/>
                      </a:lnTo>
                      <a:lnTo>
                        <a:pt x="576" y="774"/>
                      </a:lnTo>
                      <a:lnTo>
                        <a:pt x="576" y="768"/>
                      </a:lnTo>
                      <a:lnTo>
                        <a:pt x="582" y="762"/>
                      </a:lnTo>
                      <a:lnTo>
                        <a:pt x="582" y="756"/>
                      </a:lnTo>
                      <a:lnTo>
                        <a:pt x="570" y="744"/>
                      </a:lnTo>
                      <a:lnTo>
                        <a:pt x="612" y="702"/>
                      </a:lnTo>
                      <a:lnTo>
                        <a:pt x="618" y="702"/>
                      </a:lnTo>
                      <a:lnTo>
                        <a:pt x="624" y="696"/>
                      </a:lnTo>
                      <a:lnTo>
                        <a:pt x="660" y="678"/>
                      </a:lnTo>
                      <a:lnTo>
                        <a:pt x="666" y="666"/>
                      </a:lnTo>
                      <a:lnTo>
                        <a:pt x="672" y="660"/>
                      </a:lnTo>
                      <a:lnTo>
                        <a:pt x="672" y="654"/>
                      </a:lnTo>
                      <a:lnTo>
                        <a:pt x="696" y="654"/>
                      </a:lnTo>
                      <a:lnTo>
                        <a:pt x="708" y="648"/>
                      </a:lnTo>
                      <a:lnTo>
                        <a:pt x="738" y="618"/>
                      </a:lnTo>
                      <a:lnTo>
                        <a:pt x="738" y="612"/>
                      </a:lnTo>
                      <a:lnTo>
                        <a:pt x="744" y="612"/>
                      </a:lnTo>
                      <a:lnTo>
                        <a:pt x="750" y="606"/>
                      </a:lnTo>
                      <a:lnTo>
                        <a:pt x="768" y="594"/>
                      </a:lnTo>
                      <a:lnTo>
                        <a:pt x="780" y="582"/>
                      </a:lnTo>
                      <a:lnTo>
                        <a:pt x="786" y="570"/>
                      </a:lnTo>
                      <a:lnTo>
                        <a:pt x="786" y="546"/>
                      </a:lnTo>
                      <a:lnTo>
                        <a:pt x="780" y="540"/>
                      </a:lnTo>
                      <a:lnTo>
                        <a:pt x="780" y="534"/>
                      </a:lnTo>
                      <a:lnTo>
                        <a:pt x="750" y="564"/>
                      </a:lnTo>
                      <a:close/>
                      <a:moveTo>
                        <a:pt x="1224" y="324"/>
                      </a:moveTo>
                      <a:lnTo>
                        <a:pt x="1236" y="318"/>
                      </a:lnTo>
                      <a:lnTo>
                        <a:pt x="1242" y="318"/>
                      </a:lnTo>
                      <a:lnTo>
                        <a:pt x="1266" y="306"/>
                      </a:lnTo>
                      <a:lnTo>
                        <a:pt x="1272" y="300"/>
                      </a:lnTo>
                      <a:lnTo>
                        <a:pt x="1272" y="282"/>
                      </a:lnTo>
                      <a:lnTo>
                        <a:pt x="1266" y="270"/>
                      </a:lnTo>
                      <a:lnTo>
                        <a:pt x="1260" y="264"/>
                      </a:lnTo>
                      <a:lnTo>
                        <a:pt x="1248" y="264"/>
                      </a:lnTo>
                      <a:lnTo>
                        <a:pt x="1236" y="276"/>
                      </a:lnTo>
                      <a:lnTo>
                        <a:pt x="1236" y="282"/>
                      </a:lnTo>
                      <a:lnTo>
                        <a:pt x="1224" y="282"/>
                      </a:lnTo>
                      <a:lnTo>
                        <a:pt x="1212" y="276"/>
                      </a:lnTo>
                      <a:lnTo>
                        <a:pt x="1200" y="276"/>
                      </a:lnTo>
                      <a:lnTo>
                        <a:pt x="1194" y="282"/>
                      </a:lnTo>
                      <a:lnTo>
                        <a:pt x="1176" y="288"/>
                      </a:lnTo>
                      <a:lnTo>
                        <a:pt x="1158" y="288"/>
                      </a:lnTo>
                      <a:lnTo>
                        <a:pt x="1146" y="276"/>
                      </a:lnTo>
                      <a:lnTo>
                        <a:pt x="1146" y="222"/>
                      </a:lnTo>
                      <a:lnTo>
                        <a:pt x="1170" y="180"/>
                      </a:lnTo>
                      <a:lnTo>
                        <a:pt x="1170" y="174"/>
                      </a:lnTo>
                      <a:lnTo>
                        <a:pt x="1164" y="162"/>
                      </a:lnTo>
                      <a:lnTo>
                        <a:pt x="1158" y="156"/>
                      </a:lnTo>
                      <a:lnTo>
                        <a:pt x="1146" y="156"/>
                      </a:lnTo>
                      <a:lnTo>
                        <a:pt x="1140" y="168"/>
                      </a:lnTo>
                      <a:lnTo>
                        <a:pt x="1134" y="174"/>
                      </a:lnTo>
                      <a:lnTo>
                        <a:pt x="1134" y="204"/>
                      </a:lnTo>
                      <a:lnTo>
                        <a:pt x="1128" y="216"/>
                      </a:lnTo>
                      <a:lnTo>
                        <a:pt x="1116" y="222"/>
                      </a:lnTo>
                      <a:lnTo>
                        <a:pt x="1116" y="192"/>
                      </a:lnTo>
                      <a:lnTo>
                        <a:pt x="1092" y="174"/>
                      </a:lnTo>
                      <a:lnTo>
                        <a:pt x="1104" y="150"/>
                      </a:lnTo>
                      <a:lnTo>
                        <a:pt x="1116" y="138"/>
                      </a:lnTo>
                      <a:lnTo>
                        <a:pt x="1122" y="126"/>
                      </a:lnTo>
                      <a:lnTo>
                        <a:pt x="1128" y="108"/>
                      </a:lnTo>
                      <a:lnTo>
                        <a:pt x="1128" y="84"/>
                      </a:lnTo>
                      <a:lnTo>
                        <a:pt x="1116" y="78"/>
                      </a:lnTo>
                      <a:lnTo>
                        <a:pt x="1110" y="72"/>
                      </a:lnTo>
                      <a:lnTo>
                        <a:pt x="1098" y="66"/>
                      </a:lnTo>
                      <a:lnTo>
                        <a:pt x="1092" y="60"/>
                      </a:lnTo>
                      <a:lnTo>
                        <a:pt x="1080" y="60"/>
                      </a:lnTo>
                      <a:lnTo>
                        <a:pt x="1086" y="42"/>
                      </a:lnTo>
                      <a:lnTo>
                        <a:pt x="1062" y="42"/>
                      </a:lnTo>
                      <a:lnTo>
                        <a:pt x="1044" y="18"/>
                      </a:lnTo>
                      <a:lnTo>
                        <a:pt x="1050" y="0"/>
                      </a:lnTo>
                      <a:lnTo>
                        <a:pt x="1020" y="18"/>
                      </a:lnTo>
                      <a:lnTo>
                        <a:pt x="1044" y="54"/>
                      </a:lnTo>
                      <a:lnTo>
                        <a:pt x="1032" y="90"/>
                      </a:lnTo>
                      <a:lnTo>
                        <a:pt x="1056" y="102"/>
                      </a:lnTo>
                      <a:lnTo>
                        <a:pt x="1044" y="108"/>
                      </a:lnTo>
                      <a:lnTo>
                        <a:pt x="1044" y="126"/>
                      </a:lnTo>
                      <a:lnTo>
                        <a:pt x="1068" y="132"/>
                      </a:lnTo>
                      <a:lnTo>
                        <a:pt x="1044" y="150"/>
                      </a:lnTo>
                      <a:lnTo>
                        <a:pt x="1062" y="156"/>
                      </a:lnTo>
                      <a:lnTo>
                        <a:pt x="1062" y="168"/>
                      </a:lnTo>
                      <a:lnTo>
                        <a:pt x="1056" y="174"/>
                      </a:lnTo>
                      <a:lnTo>
                        <a:pt x="1056" y="192"/>
                      </a:lnTo>
                      <a:lnTo>
                        <a:pt x="1068" y="198"/>
                      </a:lnTo>
                      <a:lnTo>
                        <a:pt x="1074" y="204"/>
                      </a:lnTo>
                      <a:lnTo>
                        <a:pt x="1056" y="210"/>
                      </a:lnTo>
                      <a:lnTo>
                        <a:pt x="1044" y="222"/>
                      </a:lnTo>
                      <a:lnTo>
                        <a:pt x="1062" y="234"/>
                      </a:lnTo>
                      <a:lnTo>
                        <a:pt x="1038" y="258"/>
                      </a:lnTo>
                      <a:lnTo>
                        <a:pt x="1032" y="270"/>
                      </a:lnTo>
                      <a:lnTo>
                        <a:pt x="1026" y="276"/>
                      </a:lnTo>
                      <a:lnTo>
                        <a:pt x="1026" y="288"/>
                      </a:lnTo>
                      <a:lnTo>
                        <a:pt x="1038" y="300"/>
                      </a:lnTo>
                      <a:lnTo>
                        <a:pt x="1026" y="300"/>
                      </a:lnTo>
                      <a:lnTo>
                        <a:pt x="1014" y="306"/>
                      </a:lnTo>
                      <a:lnTo>
                        <a:pt x="1002" y="306"/>
                      </a:lnTo>
                      <a:lnTo>
                        <a:pt x="978" y="318"/>
                      </a:lnTo>
                      <a:lnTo>
                        <a:pt x="948" y="348"/>
                      </a:lnTo>
                      <a:lnTo>
                        <a:pt x="930" y="360"/>
                      </a:lnTo>
                      <a:lnTo>
                        <a:pt x="894" y="372"/>
                      </a:lnTo>
                      <a:lnTo>
                        <a:pt x="870" y="384"/>
                      </a:lnTo>
                      <a:lnTo>
                        <a:pt x="858" y="396"/>
                      </a:lnTo>
                      <a:lnTo>
                        <a:pt x="858" y="432"/>
                      </a:lnTo>
                      <a:lnTo>
                        <a:pt x="864" y="444"/>
                      </a:lnTo>
                      <a:lnTo>
                        <a:pt x="870" y="450"/>
                      </a:lnTo>
                      <a:lnTo>
                        <a:pt x="870" y="456"/>
                      </a:lnTo>
                      <a:lnTo>
                        <a:pt x="924" y="456"/>
                      </a:lnTo>
                      <a:lnTo>
                        <a:pt x="924" y="474"/>
                      </a:lnTo>
                      <a:lnTo>
                        <a:pt x="918" y="486"/>
                      </a:lnTo>
                      <a:lnTo>
                        <a:pt x="918" y="522"/>
                      </a:lnTo>
                      <a:lnTo>
                        <a:pt x="894" y="534"/>
                      </a:lnTo>
                      <a:lnTo>
                        <a:pt x="882" y="534"/>
                      </a:lnTo>
                      <a:lnTo>
                        <a:pt x="864" y="540"/>
                      </a:lnTo>
                      <a:lnTo>
                        <a:pt x="852" y="546"/>
                      </a:lnTo>
                      <a:lnTo>
                        <a:pt x="852" y="558"/>
                      </a:lnTo>
                      <a:lnTo>
                        <a:pt x="840" y="570"/>
                      </a:lnTo>
                      <a:lnTo>
                        <a:pt x="852" y="576"/>
                      </a:lnTo>
                      <a:lnTo>
                        <a:pt x="858" y="582"/>
                      </a:lnTo>
                      <a:lnTo>
                        <a:pt x="876" y="588"/>
                      </a:lnTo>
                      <a:lnTo>
                        <a:pt x="888" y="588"/>
                      </a:lnTo>
                      <a:lnTo>
                        <a:pt x="912" y="576"/>
                      </a:lnTo>
                      <a:lnTo>
                        <a:pt x="924" y="558"/>
                      </a:lnTo>
                      <a:lnTo>
                        <a:pt x="972" y="510"/>
                      </a:lnTo>
                      <a:lnTo>
                        <a:pt x="996" y="498"/>
                      </a:lnTo>
                      <a:lnTo>
                        <a:pt x="1014" y="492"/>
                      </a:lnTo>
                      <a:lnTo>
                        <a:pt x="1026" y="486"/>
                      </a:lnTo>
                      <a:lnTo>
                        <a:pt x="1032" y="480"/>
                      </a:lnTo>
                      <a:lnTo>
                        <a:pt x="1038" y="480"/>
                      </a:lnTo>
                      <a:lnTo>
                        <a:pt x="1044" y="474"/>
                      </a:lnTo>
                      <a:lnTo>
                        <a:pt x="1050" y="462"/>
                      </a:lnTo>
                      <a:lnTo>
                        <a:pt x="1056" y="462"/>
                      </a:lnTo>
                      <a:lnTo>
                        <a:pt x="1062" y="456"/>
                      </a:lnTo>
                      <a:lnTo>
                        <a:pt x="1074" y="450"/>
                      </a:lnTo>
                      <a:lnTo>
                        <a:pt x="1080" y="444"/>
                      </a:lnTo>
                      <a:lnTo>
                        <a:pt x="1080" y="420"/>
                      </a:lnTo>
                      <a:lnTo>
                        <a:pt x="1074" y="414"/>
                      </a:lnTo>
                      <a:lnTo>
                        <a:pt x="1080" y="414"/>
                      </a:lnTo>
                      <a:lnTo>
                        <a:pt x="1086" y="408"/>
                      </a:lnTo>
                      <a:lnTo>
                        <a:pt x="1110" y="396"/>
                      </a:lnTo>
                      <a:lnTo>
                        <a:pt x="1140" y="396"/>
                      </a:lnTo>
                      <a:lnTo>
                        <a:pt x="1152" y="402"/>
                      </a:lnTo>
                      <a:lnTo>
                        <a:pt x="1164" y="402"/>
                      </a:lnTo>
                      <a:lnTo>
                        <a:pt x="1176" y="390"/>
                      </a:lnTo>
                      <a:lnTo>
                        <a:pt x="1176" y="360"/>
                      </a:lnTo>
                      <a:lnTo>
                        <a:pt x="1200" y="360"/>
                      </a:lnTo>
                      <a:lnTo>
                        <a:pt x="1212" y="354"/>
                      </a:lnTo>
                      <a:lnTo>
                        <a:pt x="1218" y="354"/>
                      </a:lnTo>
                      <a:lnTo>
                        <a:pt x="1224" y="348"/>
                      </a:lnTo>
                      <a:lnTo>
                        <a:pt x="1224" y="324"/>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580" name="Newfoundland"/>
                <p:cNvSpPr>
                  <a:spLocks/>
                </p:cNvSpPr>
                <p:nvPr/>
              </p:nvSpPr>
              <p:spPr bwMode="gray">
                <a:xfrm>
                  <a:off x="1722" y="1254"/>
                  <a:ext cx="109" cy="98"/>
                </a:xfrm>
                <a:custGeom>
                  <a:avLst/>
                  <a:gdLst>
                    <a:gd name="T0" fmla="*/ 2147483647 w 426"/>
                    <a:gd name="T1" fmla="*/ 2147483647 h 384"/>
                    <a:gd name="T2" fmla="*/ 2147483647 w 426"/>
                    <a:gd name="T3" fmla="*/ 2147483647 h 384"/>
                    <a:gd name="T4" fmla="*/ 2147483647 w 426"/>
                    <a:gd name="T5" fmla="*/ 0 h 384"/>
                    <a:gd name="T6" fmla="*/ 2147483647 w 426"/>
                    <a:gd name="T7" fmla="*/ 2147483647 h 384"/>
                    <a:gd name="T8" fmla="*/ 2147483647 w 426"/>
                    <a:gd name="T9" fmla="*/ 2147483647 h 384"/>
                    <a:gd name="T10" fmla="*/ 2147483647 w 426"/>
                    <a:gd name="T11" fmla="*/ 2147483647 h 384"/>
                    <a:gd name="T12" fmla="*/ 2147483647 w 426"/>
                    <a:gd name="T13" fmla="*/ 2147483647 h 384"/>
                    <a:gd name="T14" fmla="*/ 2147483647 w 426"/>
                    <a:gd name="T15" fmla="*/ 2147483647 h 384"/>
                    <a:gd name="T16" fmla="*/ 2147483647 w 426"/>
                    <a:gd name="T17" fmla="*/ 2147483647 h 384"/>
                    <a:gd name="T18" fmla="*/ 2147483647 w 426"/>
                    <a:gd name="T19" fmla="*/ 2147483647 h 384"/>
                    <a:gd name="T20" fmla="*/ 2147483647 w 426"/>
                    <a:gd name="T21" fmla="*/ 2147483647 h 384"/>
                    <a:gd name="T22" fmla="*/ 2147483647 w 426"/>
                    <a:gd name="T23" fmla="*/ 2147483647 h 384"/>
                    <a:gd name="T24" fmla="*/ 2147483647 w 426"/>
                    <a:gd name="T25" fmla="*/ 2147483647 h 384"/>
                    <a:gd name="T26" fmla="*/ 2147483647 w 426"/>
                    <a:gd name="T27" fmla="*/ 2147483647 h 384"/>
                    <a:gd name="T28" fmla="*/ 2147483647 w 426"/>
                    <a:gd name="T29" fmla="*/ 2147483647 h 384"/>
                    <a:gd name="T30" fmla="*/ 2147483647 w 426"/>
                    <a:gd name="T31" fmla="*/ 2147483647 h 384"/>
                    <a:gd name="T32" fmla="*/ 2147483647 w 426"/>
                    <a:gd name="T33" fmla="*/ 2147483647 h 384"/>
                    <a:gd name="T34" fmla="*/ 2147483647 w 426"/>
                    <a:gd name="T35" fmla="*/ 2147483647 h 384"/>
                    <a:gd name="T36" fmla="*/ 2147483647 w 426"/>
                    <a:gd name="T37" fmla="*/ 2147483647 h 384"/>
                    <a:gd name="T38" fmla="*/ 2147483647 w 426"/>
                    <a:gd name="T39" fmla="*/ 2147483647 h 384"/>
                    <a:gd name="T40" fmla="*/ 2147483647 w 426"/>
                    <a:gd name="T41" fmla="*/ 2147483647 h 384"/>
                    <a:gd name="T42" fmla="*/ 2147483647 w 426"/>
                    <a:gd name="T43" fmla="*/ 2147483647 h 384"/>
                    <a:gd name="T44" fmla="*/ 2147483647 w 426"/>
                    <a:gd name="T45" fmla="*/ 2147483647 h 384"/>
                    <a:gd name="T46" fmla="*/ 2147483647 w 426"/>
                    <a:gd name="T47" fmla="*/ 2147483647 h 384"/>
                    <a:gd name="T48" fmla="*/ 2147483647 w 426"/>
                    <a:gd name="T49" fmla="*/ 2147483647 h 384"/>
                    <a:gd name="T50" fmla="*/ 2147483647 w 426"/>
                    <a:gd name="T51" fmla="*/ 2147483647 h 384"/>
                    <a:gd name="T52" fmla="*/ 2147483647 w 426"/>
                    <a:gd name="T53" fmla="*/ 2147483647 h 384"/>
                    <a:gd name="T54" fmla="*/ 2147483647 w 426"/>
                    <a:gd name="T55" fmla="*/ 2147483647 h 384"/>
                    <a:gd name="T56" fmla="*/ 2147483647 w 426"/>
                    <a:gd name="T57" fmla="*/ 2147483647 h 384"/>
                    <a:gd name="T58" fmla="*/ 2147483647 w 426"/>
                    <a:gd name="T59" fmla="*/ 2147483647 h 384"/>
                    <a:gd name="T60" fmla="*/ 2147483647 w 426"/>
                    <a:gd name="T61" fmla="*/ 2147483647 h 384"/>
                    <a:gd name="T62" fmla="*/ 2147483647 w 426"/>
                    <a:gd name="T63" fmla="*/ 2147483647 h 384"/>
                    <a:gd name="T64" fmla="*/ 2147483647 w 426"/>
                    <a:gd name="T65" fmla="*/ 2147483647 h 384"/>
                    <a:gd name="T66" fmla="*/ 2147483647 w 426"/>
                    <a:gd name="T67" fmla="*/ 2147483647 h 384"/>
                    <a:gd name="T68" fmla="*/ 2147483647 w 426"/>
                    <a:gd name="T69" fmla="*/ 2147483647 h 384"/>
                    <a:gd name="T70" fmla="*/ 2147483647 w 426"/>
                    <a:gd name="T71" fmla="*/ 2147483647 h 384"/>
                    <a:gd name="T72" fmla="*/ 2147483647 w 426"/>
                    <a:gd name="T73" fmla="*/ 2147483647 h 384"/>
                    <a:gd name="T74" fmla="*/ 2147483647 w 426"/>
                    <a:gd name="T75" fmla="*/ 2147483647 h 384"/>
                    <a:gd name="T76" fmla="*/ 2147483647 w 426"/>
                    <a:gd name="T77" fmla="*/ 2147483647 h 384"/>
                    <a:gd name="T78" fmla="*/ 2147483647 w 426"/>
                    <a:gd name="T79" fmla="*/ 2147483647 h 384"/>
                    <a:gd name="T80" fmla="*/ 2147483647 w 426"/>
                    <a:gd name="T81" fmla="*/ 2147483647 h 384"/>
                    <a:gd name="T82" fmla="*/ 2147483647 w 426"/>
                    <a:gd name="T83" fmla="*/ 2147483647 h 38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426"/>
                    <a:gd name="T127" fmla="*/ 0 h 384"/>
                    <a:gd name="T128" fmla="*/ 426 w 426"/>
                    <a:gd name="T129" fmla="*/ 384 h 38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426" h="384">
                      <a:moveTo>
                        <a:pt x="258" y="18"/>
                      </a:moveTo>
                      <a:lnTo>
                        <a:pt x="270" y="12"/>
                      </a:lnTo>
                      <a:lnTo>
                        <a:pt x="276" y="12"/>
                      </a:lnTo>
                      <a:lnTo>
                        <a:pt x="294" y="6"/>
                      </a:lnTo>
                      <a:lnTo>
                        <a:pt x="306" y="0"/>
                      </a:lnTo>
                      <a:lnTo>
                        <a:pt x="330" y="0"/>
                      </a:lnTo>
                      <a:lnTo>
                        <a:pt x="342" y="6"/>
                      </a:lnTo>
                      <a:lnTo>
                        <a:pt x="342" y="18"/>
                      </a:lnTo>
                      <a:lnTo>
                        <a:pt x="336" y="24"/>
                      </a:lnTo>
                      <a:lnTo>
                        <a:pt x="312" y="42"/>
                      </a:lnTo>
                      <a:lnTo>
                        <a:pt x="312" y="48"/>
                      </a:lnTo>
                      <a:lnTo>
                        <a:pt x="306" y="54"/>
                      </a:lnTo>
                      <a:lnTo>
                        <a:pt x="300" y="72"/>
                      </a:lnTo>
                      <a:lnTo>
                        <a:pt x="276" y="96"/>
                      </a:lnTo>
                      <a:lnTo>
                        <a:pt x="258" y="102"/>
                      </a:lnTo>
                      <a:lnTo>
                        <a:pt x="246" y="102"/>
                      </a:lnTo>
                      <a:lnTo>
                        <a:pt x="210" y="150"/>
                      </a:lnTo>
                      <a:lnTo>
                        <a:pt x="210" y="174"/>
                      </a:lnTo>
                      <a:lnTo>
                        <a:pt x="234" y="156"/>
                      </a:lnTo>
                      <a:lnTo>
                        <a:pt x="264" y="108"/>
                      </a:lnTo>
                      <a:lnTo>
                        <a:pt x="282" y="126"/>
                      </a:lnTo>
                      <a:lnTo>
                        <a:pt x="306" y="138"/>
                      </a:lnTo>
                      <a:lnTo>
                        <a:pt x="294" y="168"/>
                      </a:lnTo>
                      <a:lnTo>
                        <a:pt x="324" y="168"/>
                      </a:lnTo>
                      <a:lnTo>
                        <a:pt x="330" y="192"/>
                      </a:lnTo>
                      <a:lnTo>
                        <a:pt x="384" y="162"/>
                      </a:lnTo>
                      <a:lnTo>
                        <a:pt x="402" y="174"/>
                      </a:lnTo>
                      <a:lnTo>
                        <a:pt x="396" y="180"/>
                      </a:lnTo>
                      <a:lnTo>
                        <a:pt x="390" y="192"/>
                      </a:lnTo>
                      <a:lnTo>
                        <a:pt x="378" y="204"/>
                      </a:lnTo>
                      <a:lnTo>
                        <a:pt x="372" y="204"/>
                      </a:lnTo>
                      <a:lnTo>
                        <a:pt x="384" y="204"/>
                      </a:lnTo>
                      <a:lnTo>
                        <a:pt x="396" y="210"/>
                      </a:lnTo>
                      <a:lnTo>
                        <a:pt x="408" y="210"/>
                      </a:lnTo>
                      <a:lnTo>
                        <a:pt x="408" y="216"/>
                      </a:lnTo>
                      <a:lnTo>
                        <a:pt x="396" y="240"/>
                      </a:lnTo>
                      <a:lnTo>
                        <a:pt x="384" y="252"/>
                      </a:lnTo>
                      <a:lnTo>
                        <a:pt x="378" y="264"/>
                      </a:lnTo>
                      <a:lnTo>
                        <a:pt x="366" y="276"/>
                      </a:lnTo>
                      <a:lnTo>
                        <a:pt x="360" y="288"/>
                      </a:lnTo>
                      <a:lnTo>
                        <a:pt x="354" y="294"/>
                      </a:lnTo>
                      <a:lnTo>
                        <a:pt x="390" y="294"/>
                      </a:lnTo>
                      <a:lnTo>
                        <a:pt x="354" y="312"/>
                      </a:lnTo>
                      <a:lnTo>
                        <a:pt x="384" y="312"/>
                      </a:lnTo>
                      <a:lnTo>
                        <a:pt x="420" y="300"/>
                      </a:lnTo>
                      <a:lnTo>
                        <a:pt x="426" y="324"/>
                      </a:lnTo>
                      <a:lnTo>
                        <a:pt x="360" y="384"/>
                      </a:lnTo>
                      <a:lnTo>
                        <a:pt x="318" y="378"/>
                      </a:lnTo>
                      <a:lnTo>
                        <a:pt x="336" y="354"/>
                      </a:lnTo>
                      <a:lnTo>
                        <a:pt x="306" y="360"/>
                      </a:lnTo>
                      <a:lnTo>
                        <a:pt x="300" y="348"/>
                      </a:lnTo>
                      <a:lnTo>
                        <a:pt x="228" y="360"/>
                      </a:lnTo>
                      <a:lnTo>
                        <a:pt x="192" y="354"/>
                      </a:lnTo>
                      <a:lnTo>
                        <a:pt x="186" y="348"/>
                      </a:lnTo>
                      <a:lnTo>
                        <a:pt x="228" y="336"/>
                      </a:lnTo>
                      <a:lnTo>
                        <a:pt x="234" y="330"/>
                      </a:lnTo>
                      <a:lnTo>
                        <a:pt x="234" y="324"/>
                      </a:lnTo>
                      <a:lnTo>
                        <a:pt x="228" y="324"/>
                      </a:lnTo>
                      <a:lnTo>
                        <a:pt x="222" y="318"/>
                      </a:lnTo>
                      <a:lnTo>
                        <a:pt x="198" y="318"/>
                      </a:lnTo>
                      <a:lnTo>
                        <a:pt x="162" y="312"/>
                      </a:lnTo>
                      <a:lnTo>
                        <a:pt x="126" y="300"/>
                      </a:lnTo>
                      <a:lnTo>
                        <a:pt x="96" y="294"/>
                      </a:lnTo>
                      <a:lnTo>
                        <a:pt x="78" y="294"/>
                      </a:lnTo>
                      <a:lnTo>
                        <a:pt x="72" y="300"/>
                      </a:lnTo>
                      <a:lnTo>
                        <a:pt x="48" y="300"/>
                      </a:lnTo>
                      <a:lnTo>
                        <a:pt x="36" y="306"/>
                      </a:lnTo>
                      <a:lnTo>
                        <a:pt x="24" y="306"/>
                      </a:lnTo>
                      <a:lnTo>
                        <a:pt x="12" y="300"/>
                      </a:lnTo>
                      <a:lnTo>
                        <a:pt x="6" y="294"/>
                      </a:lnTo>
                      <a:lnTo>
                        <a:pt x="18" y="282"/>
                      </a:lnTo>
                      <a:lnTo>
                        <a:pt x="24" y="282"/>
                      </a:lnTo>
                      <a:lnTo>
                        <a:pt x="30" y="276"/>
                      </a:lnTo>
                      <a:lnTo>
                        <a:pt x="42" y="276"/>
                      </a:lnTo>
                      <a:lnTo>
                        <a:pt x="30" y="276"/>
                      </a:lnTo>
                      <a:lnTo>
                        <a:pt x="12" y="270"/>
                      </a:lnTo>
                      <a:lnTo>
                        <a:pt x="0" y="258"/>
                      </a:lnTo>
                      <a:lnTo>
                        <a:pt x="6" y="252"/>
                      </a:lnTo>
                      <a:lnTo>
                        <a:pt x="18" y="252"/>
                      </a:lnTo>
                      <a:lnTo>
                        <a:pt x="54" y="234"/>
                      </a:lnTo>
                      <a:lnTo>
                        <a:pt x="60" y="228"/>
                      </a:lnTo>
                      <a:lnTo>
                        <a:pt x="66" y="228"/>
                      </a:lnTo>
                      <a:lnTo>
                        <a:pt x="204" y="90"/>
                      </a:lnTo>
                      <a:lnTo>
                        <a:pt x="258" y="18"/>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581" name="Netherlands"/>
                <p:cNvSpPr>
                  <a:spLocks/>
                </p:cNvSpPr>
                <p:nvPr/>
              </p:nvSpPr>
              <p:spPr bwMode="gray">
                <a:xfrm>
                  <a:off x="2724" y="1215"/>
                  <a:ext cx="69" cy="54"/>
                </a:xfrm>
                <a:custGeom>
                  <a:avLst/>
                  <a:gdLst>
                    <a:gd name="T0" fmla="*/ 0 w 270"/>
                    <a:gd name="T1" fmla="*/ 2147483647 h 210"/>
                    <a:gd name="T2" fmla="*/ 2147483647 w 270"/>
                    <a:gd name="T3" fmla="*/ 2147483647 h 210"/>
                    <a:gd name="T4" fmla="*/ 2147483647 w 270"/>
                    <a:gd name="T5" fmla="*/ 2147483647 h 210"/>
                    <a:gd name="T6" fmla="*/ 2147483647 w 270"/>
                    <a:gd name="T7" fmla="*/ 2147483647 h 210"/>
                    <a:gd name="T8" fmla="*/ 2147483647 w 270"/>
                    <a:gd name="T9" fmla="*/ 2147483647 h 210"/>
                    <a:gd name="T10" fmla="*/ 2147483647 w 270"/>
                    <a:gd name="T11" fmla="*/ 2147483647 h 210"/>
                    <a:gd name="T12" fmla="*/ 2147483647 w 270"/>
                    <a:gd name="T13" fmla="*/ 2147483647 h 210"/>
                    <a:gd name="T14" fmla="*/ 2147483647 w 270"/>
                    <a:gd name="T15" fmla="*/ 2147483647 h 210"/>
                    <a:gd name="T16" fmla="*/ 2147483647 w 270"/>
                    <a:gd name="T17" fmla="*/ 2147483647 h 210"/>
                    <a:gd name="T18" fmla="*/ 2147483647 w 270"/>
                    <a:gd name="T19" fmla="*/ 2147483647 h 210"/>
                    <a:gd name="T20" fmla="*/ 2147483647 w 270"/>
                    <a:gd name="T21" fmla="*/ 2147483647 h 210"/>
                    <a:gd name="T22" fmla="*/ 2147483647 w 270"/>
                    <a:gd name="T23" fmla="*/ 2147483647 h 210"/>
                    <a:gd name="T24" fmla="*/ 2147483647 w 270"/>
                    <a:gd name="T25" fmla="*/ 2147483647 h 210"/>
                    <a:gd name="T26" fmla="*/ 2147483647 w 270"/>
                    <a:gd name="T27" fmla="*/ 2147483647 h 210"/>
                    <a:gd name="T28" fmla="*/ 2147483647 w 270"/>
                    <a:gd name="T29" fmla="*/ 2147483647 h 210"/>
                    <a:gd name="T30" fmla="*/ 2147483647 w 270"/>
                    <a:gd name="T31" fmla="*/ 2147483647 h 210"/>
                    <a:gd name="T32" fmla="*/ 2147483647 w 270"/>
                    <a:gd name="T33" fmla="*/ 2147483647 h 210"/>
                    <a:gd name="T34" fmla="*/ 2147483647 w 270"/>
                    <a:gd name="T35" fmla="*/ 2147483647 h 210"/>
                    <a:gd name="T36" fmla="*/ 2147483647 w 270"/>
                    <a:gd name="T37" fmla="*/ 2147483647 h 210"/>
                    <a:gd name="T38" fmla="*/ 2147483647 w 270"/>
                    <a:gd name="T39" fmla="*/ 2147483647 h 210"/>
                    <a:gd name="T40" fmla="*/ 2147483647 w 270"/>
                    <a:gd name="T41" fmla="*/ 2147483647 h 210"/>
                    <a:gd name="T42" fmla="*/ 2147483647 w 270"/>
                    <a:gd name="T43" fmla="*/ 2147483647 h 210"/>
                    <a:gd name="T44" fmla="*/ 2147483647 w 270"/>
                    <a:gd name="T45" fmla="*/ 2147483647 h 210"/>
                    <a:gd name="T46" fmla="*/ 2147483647 w 270"/>
                    <a:gd name="T47" fmla="*/ 2147483647 h 210"/>
                    <a:gd name="T48" fmla="*/ 2147483647 w 270"/>
                    <a:gd name="T49" fmla="*/ 2147483647 h 210"/>
                    <a:gd name="T50" fmla="*/ 2147483647 w 270"/>
                    <a:gd name="T51" fmla="*/ 2147483647 h 210"/>
                    <a:gd name="T52" fmla="*/ 2147483647 w 270"/>
                    <a:gd name="T53" fmla="*/ 2147483647 h 210"/>
                    <a:gd name="T54" fmla="*/ 2147483647 w 270"/>
                    <a:gd name="T55" fmla="*/ 2147483647 h 210"/>
                    <a:gd name="T56" fmla="*/ 2147483647 w 270"/>
                    <a:gd name="T57" fmla="*/ 2147483647 h 210"/>
                    <a:gd name="T58" fmla="*/ 2147483647 w 270"/>
                    <a:gd name="T59" fmla="*/ 0 h 210"/>
                    <a:gd name="T60" fmla="*/ 2147483647 w 270"/>
                    <a:gd name="T61" fmla="*/ 2147483647 h 210"/>
                    <a:gd name="T62" fmla="*/ 2147483647 w 270"/>
                    <a:gd name="T63" fmla="*/ 2147483647 h 210"/>
                    <a:gd name="T64" fmla="*/ 2147483647 w 270"/>
                    <a:gd name="T65" fmla="*/ 2147483647 h 210"/>
                    <a:gd name="T66" fmla="*/ 2147483647 w 270"/>
                    <a:gd name="T67" fmla="*/ 2147483647 h 210"/>
                    <a:gd name="T68" fmla="*/ 2147483647 w 270"/>
                    <a:gd name="T69" fmla="*/ 2147483647 h 210"/>
                    <a:gd name="T70" fmla="*/ 2147483647 w 270"/>
                    <a:gd name="T71" fmla="*/ 2147483647 h 210"/>
                    <a:gd name="T72" fmla="*/ 2147483647 w 270"/>
                    <a:gd name="T73" fmla="*/ 2147483647 h 210"/>
                    <a:gd name="T74" fmla="*/ 2147483647 w 270"/>
                    <a:gd name="T75" fmla="*/ 2147483647 h 210"/>
                    <a:gd name="T76" fmla="*/ 2147483647 w 270"/>
                    <a:gd name="T77" fmla="*/ 2147483647 h 210"/>
                    <a:gd name="T78" fmla="*/ 2147483647 w 270"/>
                    <a:gd name="T79" fmla="*/ 2147483647 h 210"/>
                    <a:gd name="T80" fmla="*/ 2147483647 w 270"/>
                    <a:gd name="T81" fmla="*/ 2147483647 h 210"/>
                    <a:gd name="T82" fmla="*/ 2147483647 w 270"/>
                    <a:gd name="T83" fmla="*/ 2147483647 h 210"/>
                    <a:gd name="T84" fmla="*/ 2147483647 w 270"/>
                    <a:gd name="T85" fmla="*/ 2147483647 h 210"/>
                    <a:gd name="T86" fmla="*/ 2147483647 w 270"/>
                    <a:gd name="T87" fmla="*/ 2147483647 h 210"/>
                    <a:gd name="T88" fmla="*/ 2147483647 w 270"/>
                    <a:gd name="T89" fmla="*/ 2147483647 h 21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70"/>
                    <a:gd name="T136" fmla="*/ 0 h 210"/>
                    <a:gd name="T137" fmla="*/ 270 w 270"/>
                    <a:gd name="T138" fmla="*/ 210 h 210"/>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70" h="210">
                      <a:moveTo>
                        <a:pt x="18" y="156"/>
                      </a:moveTo>
                      <a:lnTo>
                        <a:pt x="0" y="174"/>
                      </a:lnTo>
                      <a:lnTo>
                        <a:pt x="12" y="162"/>
                      </a:lnTo>
                      <a:lnTo>
                        <a:pt x="24" y="162"/>
                      </a:lnTo>
                      <a:lnTo>
                        <a:pt x="30" y="168"/>
                      </a:lnTo>
                      <a:lnTo>
                        <a:pt x="54" y="168"/>
                      </a:lnTo>
                      <a:lnTo>
                        <a:pt x="60" y="174"/>
                      </a:lnTo>
                      <a:lnTo>
                        <a:pt x="66" y="162"/>
                      </a:lnTo>
                      <a:lnTo>
                        <a:pt x="84" y="168"/>
                      </a:lnTo>
                      <a:lnTo>
                        <a:pt x="84" y="156"/>
                      </a:lnTo>
                      <a:lnTo>
                        <a:pt x="96" y="162"/>
                      </a:lnTo>
                      <a:lnTo>
                        <a:pt x="96" y="156"/>
                      </a:lnTo>
                      <a:lnTo>
                        <a:pt x="132" y="156"/>
                      </a:lnTo>
                      <a:lnTo>
                        <a:pt x="132" y="168"/>
                      </a:lnTo>
                      <a:lnTo>
                        <a:pt x="138" y="174"/>
                      </a:lnTo>
                      <a:lnTo>
                        <a:pt x="150" y="174"/>
                      </a:lnTo>
                      <a:lnTo>
                        <a:pt x="162" y="168"/>
                      </a:lnTo>
                      <a:lnTo>
                        <a:pt x="168" y="168"/>
                      </a:lnTo>
                      <a:lnTo>
                        <a:pt x="174" y="174"/>
                      </a:lnTo>
                      <a:lnTo>
                        <a:pt x="174" y="192"/>
                      </a:lnTo>
                      <a:lnTo>
                        <a:pt x="168" y="198"/>
                      </a:lnTo>
                      <a:lnTo>
                        <a:pt x="168" y="210"/>
                      </a:lnTo>
                      <a:lnTo>
                        <a:pt x="180" y="210"/>
                      </a:lnTo>
                      <a:lnTo>
                        <a:pt x="180" y="198"/>
                      </a:lnTo>
                      <a:lnTo>
                        <a:pt x="186" y="192"/>
                      </a:lnTo>
                      <a:lnTo>
                        <a:pt x="186" y="180"/>
                      </a:lnTo>
                      <a:lnTo>
                        <a:pt x="180" y="174"/>
                      </a:lnTo>
                      <a:lnTo>
                        <a:pt x="186" y="168"/>
                      </a:lnTo>
                      <a:lnTo>
                        <a:pt x="198" y="162"/>
                      </a:lnTo>
                      <a:lnTo>
                        <a:pt x="198" y="156"/>
                      </a:lnTo>
                      <a:lnTo>
                        <a:pt x="192" y="150"/>
                      </a:lnTo>
                      <a:lnTo>
                        <a:pt x="192" y="144"/>
                      </a:lnTo>
                      <a:lnTo>
                        <a:pt x="186" y="120"/>
                      </a:lnTo>
                      <a:lnTo>
                        <a:pt x="192" y="120"/>
                      </a:lnTo>
                      <a:lnTo>
                        <a:pt x="198" y="126"/>
                      </a:lnTo>
                      <a:lnTo>
                        <a:pt x="222" y="126"/>
                      </a:lnTo>
                      <a:lnTo>
                        <a:pt x="222" y="120"/>
                      </a:lnTo>
                      <a:lnTo>
                        <a:pt x="228" y="114"/>
                      </a:lnTo>
                      <a:lnTo>
                        <a:pt x="234" y="114"/>
                      </a:lnTo>
                      <a:lnTo>
                        <a:pt x="240" y="102"/>
                      </a:lnTo>
                      <a:lnTo>
                        <a:pt x="246" y="96"/>
                      </a:lnTo>
                      <a:lnTo>
                        <a:pt x="252" y="96"/>
                      </a:lnTo>
                      <a:lnTo>
                        <a:pt x="252" y="90"/>
                      </a:lnTo>
                      <a:lnTo>
                        <a:pt x="240" y="78"/>
                      </a:lnTo>
                      <a:lnTo>
                        <a:pt x="234" y="78"/>
                      </a:lnTo>
                      <a:lnTo>
                        <a:pt x="228" y="72"/>
                      </a:lnTo>
                      <a:lnTo>
                        <a:pt x="228" y="66"/>
                      </a:lnTo>
                      <a:lnTo>
                        <a:pt x="234" y="66"/>
                      </a:lnTo>
                      <a:lnTo>
                        <a:pt x="246" y="60"/>
                      </a:lnTo>
                      <a:lnTo>
                        <a:pt x="258" y="60"/>
                      </a:lnTo>
                      <a:lnTo>
                        <a:pt x="252" y="54"/>
                      </a:lnTo>
                      <a:lnTo>
                        <a:pt x="252" y="36"/>
                      </a:lnTo>
                      <a:lnTo>
                        <a:pt x="258" y="36"/>
                      </a:lnTo>
                      <a:lnTo>
                        <a:pt x="270" y="30"/>
                      </a:lnTo>
                      <a:lnTo>
                        <a:pt x="264" y="18"/>
                      </a:lnTo>
                      <a:lnTo>
                        <a:pt x="270" y="12"/>
                      </a:lnTo>
                      <a:lnTo>
                        <a:pt x="264" y="12"/>
                      </a:lnTo>
                      <a:lnTo>
                        <a:pt x="252" y="6"/>
                      </a:lnTo>
                      <a:lnTo>
                        <a:pt x="246" y="6"/>
                      </a:lnTo>
                      <a:lnTo>
                        <a:pt x="234" y="0"/>
                      </a:lnTo>
                      <a:lnTo>
                        <a:pt x="180" y="0"/>
                      </a:lnTo>
                      <a:lnTo>
                        <a:pt x="168" y="12"/>
                      </a:lnTo>
                      <a:lnTo>
                        <a:pt x="156" y="18"/>
                      </a:lnTo>
                      <a:lnTo>
                        <a:pt x="156" y="30"/>
                      </a:lnTo>
                      <a:lnTo>
                        <a:pt x="162" y="36"/>
                      </a:lnTo>
                      <a:lnTo>
                        <a:pt x="162" y="54"/>
                      </a:lnTo>
                      <a:lnTo>
                        <a:pt x="168" y="60"/>
                      </a:lnTo>
                      <a:lnTo>
                        <a:pt x="174" y="60"/>
                      </a:lnTo>
                      <a:lnTo>
                        <a:pt x="180" y="66"/>
                      </a:lnTo>
                      <a:lnTo>
                        <a:pt x="180" y="78"/>
                      </a:lnTo>
                      <a:lnTo>
                        <a:pt x="168" y="84"/>
                      </a:lnTo>
                      <a:lnTo>
                        <a:pt x="162" y="90"/>
                      </a:lnTo>
                      <a:lnTo>
                        <a:pt x="144" y="90"/>
                      </a:lnTo>
                      <a:lnTo>
                        <a:pt x="138" y="84"/>
                      </a:lnTo>
                      <a:lnTo>
                        <a:pt x="138" y="66"/>
                      </a:lnTo>
                      <a:lnTo>
                        <a:pt x="150" y="54"/>
                      </a:lnTo>
                      <a:lnTo>
                        <a:pt x="150" y="36"/>
                      </a:lnTo>
                      <a:lnTo>
                        <a:pt x="144" y="30"/>
                      </a:lnTo>
                      <a:lnTo>
                        <a:pt x="144" y="24"/>
                      </a:lnTo>
                      <a:lnTo>
                        <a:pt x="132" y="36"/>
                      </a:lnTo>
                      <a:lnTo>
                        <a:pt x="120" y="42"/>
                      </a:lnTo>
                      <a:lnTo>
                        <a:pt x="114" y="48"/>
                      </a:lnTo>
                      <a:lnTo>
                        <a:pt x="102" y="54"/>
                      </a:lnTo>
                      <a:lnTo>
                        <a:pt x="96" y="66"/>
                      </a:lnTo>
                      <a:lnTo>
                        <a:pt x="96" y="84"/>
                      </a:lnTo>
                      <a:lnTo>
                        <a:pt x="90" y="90"/>
                      </a:lnTo>
                      <a:lnTo>
                        <a:pt x="90" y="102"/>
                      </a:lnTo>
                      <a:lnTo>
                        <a:pt x="60" y="132"/>
                      </a:lnTo>
                      <a:lnTo>
                        <a:pt x="72" y="144"/>
                      </a:lnTo>
                      <a:lnTo>
                        <a:pt x="42" y="144"/>
                      </a:lnTo>
                      <a:lnTo>
                        <a:pt x="18" y="156"/>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582" name="Nepal"/>
                <p:cNvSpPr>
                  <a:spLocks/>
                </p:cNvSpPr>
                <p:nvPr/>
              </p:nvSpPr>
              <p:spPr bwMode="gray">
                <a:xfrm>
                  <a:off x="4064" y="1682"/>
                  <a:ext cx="150" cy="84"/>
                </a:xfrm>
                <a:custGeom>
                  <a:avLst/>
                  <a:gdLst>
                    <a:gd name="T0" fmla="*/ 2147483647 w 588"/>
                    <a:gd name="T1" fmla="*/ 2147483647 h 330"/>
                    <a:gd name="T2" fmla="*/ 2147483647 w 588"/>
                    <a:gd name="T3" fmla="*/ 2147483647 h 330"/>
                    <a:gd name="T4" fmla="*/ 2147483647 w 588"/>
                    <a:gd name="T5" fmla="*/ 2147483647 h 330"/>
                    <a:gd name="T6" fmla="*/ 2147483647 w 588"/>
                    <a:gd name="T7" fmla="*/ 2147483647 h 330"/>
                    <a:gd name="T8" fmla="*/ 2147483647 w 588"/>
                    <a:gd name="T9" fmla="*/ 2147483647 h 330"/>
                    <a:gd name="T10" fmla="*/ 2147483647 w 588"/>
                    <a:gd name="T11" fmla="*/ 2147483647 h 330"/>
                    <a:gd name="T12" fmla="*/ 2147483647 w 588"/>
                    <a:gd name="T13" fmla="*/ 2147483647 h 330"/>
                    <a:gd name="T14" fmla="*/ 2147483647 w 588"/>
                    <a:gd name="T15" fmla="*/ 2147483647 h 330"/>
                    <a:gd name="T16" fmla="*/ 2147483647 w 588"/>
                    <a:gd name="T17" fmla="*/ 2147483647 h 330"/>
                    <a:gd name="T18" fmla="*/ 2147483647 w 588"/>
                    <a:gd name="T19" fmla="*/ 2147483647 h 330"/>
                    <a:gd name="T20" fmla="*/ 2147483647 w 588"/>
                    <a:gd name="T21" fmla="*/ 2147483647 h 330"/>
                    <a:gd name="T22" fmla="*/ 2147483647 w 588"/>
                    <a:gd name="T23" fmla="*/ 2147483647 h 330"/>
                    <a:gd name="T24" fmla="*/ 2147483647 w 588"/>
                    <a:gd name="T25" fmla="*/ 2147483647 h 330"/>
                    <a:gd name="T26" fmla="*/ 2147483647 w 588"/>
                    <a:gd name="T27" fmla="*/ 2147483647 h 330"/>
                    <a:gd name="T28" fmla="*/ 2147483647 w 588"/>
                    <a:gd name="T29" fmla="*/ 2147483647 h 330"/>
                    <a:gd name="T30" fmla="*/ 2147483647 w 588"/>
                    <a:gd name="T31" fmla="*/ 2147483647 h 330"/>
                    <a:gd name="T32" fmla="*/ 2147483647 w 588"/>
                    <a:gd name="T33" fmla="*/ 2147483647 h 330"/>
                    <a:gd name="T34" fmla="*/ 2147483647 w 588"/>
                    <a:gd name="T35" fmla="*/ 2147483647 h 330"/>
                    <a:gd name="T36" fmla="*/ 2147483647 w 588"/>
                    <a:gd name="T37" fmla="*/ 2147483647 h 330"/>
                    <a:gd name="T38" fmla="*/ 2147483647 w 588"/>
                    <a:gd name="T39" fmla="*/ 2147483647 h 330"/>
                    <a:gd name="T40" fmla="*/ 2147483647 w 588"/>
                    <a:gd name="T41" fmla="*/ 2147483647 h 330"/>
                    <a:gd name="T42" fmla="*/ 2147483647 w 588"/>
                    <a:gd name="T43" fmla="*/ 2147483647 h 330"/>
                    <a:gd name="T44" fmla="*/ 2147483647 w 588"/>
                    <a:gd name="T45" fmla="*/ 2147483647 h 330"/>
                    <a:gd name="T46" fmla="*/ 2147483647 w 588"/>
                    <a:gd name="T47" fmla="*/ 2147483647 h 330"/>
                    <a:gd name="T48" fmla="*/ 2147483647 w 588"/>
                    <a:gd name="T49" fmla="*/ 2147483647 h 330"/>
                    <a:gd name="T50" fmla="*/ 2147483647 w 588"/>
                    <a:gd name="T51" fmla="*/ 2147483647 h 330"/>
                    <a:gd name="T52" fmla="*/ 2147483647 w 588"/>
                    <a:gd name="T53" fmla="*/ 2147483647 h 330"/>
                    <a:gd name="T54" fmla="*/ 2147483647 w 588"/>
                    <a:gd name="T55" fmla="*/ 2147483647 h 330"/>
                    <a:gd name="T56" fmla="*/ 2147483647 w 588"/>
                    <a:gd name="T57" fmla="*/ 2147483647 h 330"/>
                    <a:gd name="T58" fmla="*/ 2147483647 w 588"/>
                    <a:gd name="T59" fmla="*/ 2147483647 h 330"/>
                    <a:gd name="T60" fmla="*/ 2147483647 w 588"/>
                    <a:gd name="T61" fmla="*/ 2147483647 h 330"/>
                    <a:gd name="T62" fmla="*/ 2147483647 w 588"/>
                    <a:gd name="T63" fmla="*/ 2147483647 h 330"/>
                    <a:gd name="T64" fmla="*/ 2147483647 w 588"/>
                    <a:gd name="T65" fmla="*/ 2147483647 h 330"/>
                    <a:gd name="T66" fmla="*/ 2147483647 w 588"/>
                    <a:gd name="T67" fmla="*/ 2147483647 h 330"/>
                    <a:gd name="T68" fmla="*/ 2147483647 w 588"/>
                    <a:gd name="T69" fmla="*/ 2147483647 h 330"/>
                    <a:gd name="T70" fmla="*/ 2147483647 w 588"/>
                    <a:gd name="T71" fmla="*/ 0 h 330"/>
                    <a:gd name="T72" fmla="*/ 2147483647 w 588"/>
                    <a:gd name="T73" fmla="*/ 2147483647 h 330"/>
                    <a:gd name="T74" fmla="*/ 2147483647 w 588"/>
                    <a:gd name="T75" fmla="*/ 2147483647 h 330"/>
                    <a:gd name="T76" fmla="*/ 2147483647 w 588"/>
                    <a:gd name="T77" fmla="*/ 2147483647 h 330"/>
                    <a:gd name="T78" fmla="*/ 2147483647 w 588"/>
                    <a:gd name="T79" fmla="*/ 2147483647 h 330"/>
                    <a:gd name="T80" fmla="*/ 2147483647 w 588"/>
                    <a:gd name="T81" fmla="*/ 2147483647 h 330"/>
                    <a:gd name="T82" fmla="*/ 2147483647 w 588"/>
                    <a:gd name="T83" fmla="*/ 2147483647 h 330"/>
                    <a:gd name="T84" fmla="*/ 0 w 588"/>
                    <a:gd name="T85" fmla="*/ 2147483647 h 330"/>
                    <a:gd name="T86" fmla="*/ 2147483647 w 588"/>
                    <a:gd name="T87" fmla="*/ 2147483647 h 330"/>
                    <a:gd name="T88" fmla="*/ 2147483647 w 588"/>
                    <a:gd name="T89" fmla="*/ 2147483647 h 330"/>
                    <a:gd name="T90" fmla="*/ 2147483647 w 588"/>
                    <a:gd name="T91" fmla="*/ 2147483647 h 330"/>
                    <a:gd name="T92" fmla="*/ 2147483647 w 588"/>
                    <a:gd name="T93" fmla="*/ 2147483647 h 330"/>
                    <a:gd name="T94" fmla="*/ 2147483647 w 588"/>
                    <a:gd name="T95" fmla="*/ 2147483647 h 330"/>
                    <a:gd name="T96" fmla="*/ 2147483647 w 588"/>
                    <a:gd name="T97" fmla="*/ 2147483647 h 330"/>
                    <a:gd name="T98" fmla="*/ 2147483647 w 588"/>
                    <a:gd name="T99" fmla="*/ 2147483647 h 330"/>
                    <a:gd name="T100" fmla="*/ 2147483647 w 588"/>
                    <a:gd name="T101" fmla="*/ 2147483647 h 330"/>
                    <a:gd name="T102" fmla="*/ 2147483647 w 588"/>
                    <a:gd name="T103" fmla="*/ 2147483647 h 330"/>
                    <a:gd name="T104" fmla="*/ 2147483647 w 588"/>
                    <a:gd name="T105" fmla="*/ 2147483647 h 330"/>
                    <a:gd name="T106" fmla="*/ 2147483647 w 588"/>
                    <a:gd name="T107" fmla="*/ 2147483647 h 330"/>
                    <a:gd name="T108" fmla="*/ 2147483647 w 588"/>
                    <a:gd name="T109" fmla="*/ 2147483647 h 33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588"/>
                    <a:gd name="T166" fmla="*/ 0 h 330"/>
                    <a:gd name="T167" fmla="*/ 588 w 588"/>
                    <a:gd name="T168" fmla="*/ 330 h 33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588" h="330">
                      <a:moveTo>
                        <a:pt x="294" y="234"/>
                      </a:moveTo>
                      <a:lnTo>
                        <a:pt x="306" y="246"/>
                      </a:lnTo>
                      <a:lnTo>
                        <a:pt x="306" y="252"/>
                      </a:lnTo>
                      <a:lnTo>
                        <a:pt x="330" y="252"/>
                      </a:lnTo>
                      <a:lnTo>
                        <a:pt x="384" y="306"/>
                      </a:lnTo>
                      <a:lnTo>
                        <a:pt x="402" y="294"/>
                      </a:lnTo>
                      <a:lnTo>
                        <a:pt x="432" y="312"/>
                      </a:lnTo>
                      <a:lnTo>
                        <a:pt x="438" y="306"/>
                      </a:lnTo>
                      <a:lnTo>
                        <a:pt x="456" y="306"/>
                      </a:lnTo>
                      <a:lnTo>
                        <a:pt x="474" y="312"/>
                      </a:lnTo>
                      <a:lnTo>
                        <a:pt x="486" y="318"/>
                      </a:lnTo>
                      <a:lnTo>
                        <a:pt x="492" y="330"/>
                      </a:lnTo>
                      <a:lnTo>
                        <a:pt x="498" y="318"/>
                      </a:lnTo>
                      <a:lnTo>
                        <a:pt x="510" y="312"/>
                      </a:lnTo>
                      <a:lnTo>
                        <a:pt x="516" y="312"/>
                      </a:lnTo>
                      <a:lnTo>
                        <a:pt x="522" y="318"/>
                      </a:lnTo>
                      <a:lnTo>
                        <a:pt x="522" y="330"/>
                      </a:lnTo>
                      <a:lnTo>
                        <a:pt x="588" y="330"/>
                      </a:lnTo>
                      <a:lnTo>
                        <a:pt x="588" y="294"/>
                      </a:lnTo>
                      <a:lnTo>
                        <a:pt x="576" y="270"/>
                      </a:lnTo>
                      <a:lnTo>
                        <a:pt x="576" y="222"/>
                      </a:lnTo>
                      <a:lnTo>
                        <a:pt x="564" y="204"/>
                      </a:lnTo>
                      <a:lnTo>
                        <a:pt x="540" y="216"/>
                      </a:lnTo>
                      <a:lnTo>
                        <a:pt x="522" y="216"/>
                      </a:lnTo>
                      <a:lnTo>
                        <a:pt x="498" y="204"/>
                      </a:lnTo>
                      <a:lnTo>
                        <a:pt x="480" y="198"/>
                      </a:lnTo>
                      <a:lnTo>
                        <a:pt x="474" y="192"/>
                      </a:lnTo>
                      <a:lnTo>
                        <a:pt x="462" y="186"/>
                      </a:lnTo>
                      <a:lnTo>
                        <a:pt x="462" y="192"/>
                      </a:lnTo>
                      <a:lnTo>
                        <a:pt x="456" y="198"/>
                      </a:lnTo>
                      <a:lnTo>
                        <a:pt x="438" y="198"/>
                      </a:lnTo>
                      <a:lnTo>
                        <a:pt x="432" y="192"/>
                      </a:lnTo>
                      <a:lnTo>
                        <a:pt x="432" y="180"/>
                      </a:lnTo>
                      <a:lnTo>
                        <a:pt x="432" y="186"/>
                      </a:lnTo>
                      <a:lnTo>
                        <a:pt x="420" y="198"/>
                      </a:lnTo>
                      <a:lnTo>
                        <a:pt x="408" y="198"/>
                      </a:lnTo>
                      <a:lnTo>
                        <a:pt x="402" y="192"/>
                      </a:lnTo>
                      <a:lnTo>
                        <a:pt x="402" y="174"/>
                      </a:lnTo>
                      <a:lnTo>
                        <a:pt x="396" y="174"/>
                      </a:lnTo>
                      <a:lnTo>
                        <a:pt x="390" y="180"/>
                      </a:lnTo>
                      <a:lnTo>
                        <a:pt x="378" y="180"/>
                      </a:lnTo>
                      <a:lnTo>
                        <a:pt x="360" y="174"/>
                      </a:lnTo>
                      <a:lnTo>
                        <a:pt x="354" y="168"/>
                      </a:lnTo>
                      <a:lnTo>
                        <a:pt x="348" y="168"/>
                      </a:lnTo>
                      <a:lnTo>
                        <a:pt x="348" y="162"/>
                      </a:lnTo>
                      <a:lnTo>
                        <a:pt x="354" y="156"/>
                      </a:lnTo>
                      <a:lnTo>
                        <a:pt x="354" y="150"/>
                      </a:lnTo>
                      <a:lnTo>
                        <a:pt x="348" y="144"/>
                      </a:lnTo>
                      <a:lnTo>
                        <a:pt x="342" y="144"/>
                      </a:lnTo>
                      <a:lnTo>
                        <a:pt x="330" y="150"/>
                      </a:lnTo>
                      <a:lnTo>
                        <a:pt x="324" y="156"/>
                      </a:lnTo>
                      <a:lnTo>
                        <a:pt x="312" y="150"/>
                      </a:lnTo>
                      <a:lnTo>
                        <a:pt x="282" y="120"/>
                      </a:lnTo>
                      <a:lnTo>
                        <a:pt x="282" y="102"/>
                      </a:lnTo>
                      <a:lnTo>
                        <a:pt x="276" y="90"/>
                      </a:lnTo>
                      <a:lnTo>
                        <a:pt x="270" y="84"/>
                      </a:lnTo>
                      <a:lnTo>
                        <a:pt x="258" y="84"/>
                      </a:lnTo>
                      <a:lnTo>
                        <a:pt x="252" y="96"/>
                      </a:lnTo>
                      <a:lnTo>
                        <a:pt x="246" y="102"/>
                      </a:lnTo>
                      <a:lnTo>
                        <a:pt x="246" y="108"/>
                      </a:lnTo>
                      <a:lnTo>
                        <a:pt x="234" y="108"/>
                      </a:lnTo>
                      <a:lnTo>
                        <a:pt x="234" y="96"/>
                      </a:lnTo>
                      <a:lnTo>
                        <a:pt x="228" y="90"/>
                      </a:lnTo>
                      <a:lnTo>
                        <a:pt x="222" y="78"/>
                      </a:lnTo>
                      <a:lnTo>
                        <a:pt x="216" y="72"/>
                      </a:lnTo>
                      <a:lnTo>
                        <a:pt x="210" y="60"/>
                      </a:lnTo>
                      <a:lnTo>
                        <a:pt x="168" y="54"/>
                      </a:lnTo>
                      <a:lnTo>
                        <a:pt x="150" y="36"/>
                      </a:lnTo>
                      <a:lnTo>
                        <a:pt x="138" y="30"/>
                      </a:lnTo>
                      <a:lnTo>
                        <a:pt x="132" y="18"/>
                      </a:lnTo>
                      <a:lnTo>
                        <a:pt x="120" y="6"/>
                      </a:lnTo>
                      <a:lnTo>
                        <a:pt x="108" y="0"/>
                      </a:lnTo>
                      <a:lnTo>
                        <a:pt x="96" y="0"/>
                      </a:lnTo>
                      <a:lnTo>
                        <a:pt x="84" y="6"/>
                      </a:lnTo>
                      <a:lnTo>
                        <a:pt x="78" y="12"/>
                      </a:lnTo>
                      <a:lnTo>
                        <a:pt x="54" y="30"/>
                      </a:lnTo>
                      <a:lnTo>
                        <a:pt x="36" y="12"/>
                      </a:lnTo>
                      <a:lnTo>
                        <a:pt x="30" y="36"/>
                      </a:lnTo>
                      <a:lnTo>
                        <a:pt x="6" y="60"/>
                      </a:lnTo>
                      <a:lnTo>
                        <a:pt x="12" y="72"/>
                      </a:lnTo>
                      <a:lnTo>
                        <a:pt x="6" y="78"/>
                      </a:lnTo>
                      <a:lnTo>
                        <a:pt x="6" y="84"/>
                      </a:lnTo>
                      <a:lnTo>
                        <a:pt x="18" y="96"/>
                      </a:lnTo>
                      <a:lnTo>
                        <a:pt x="12" y="96"/>
                      </a:lnTo>
                      <a:lnTo>
                        <a:pt x="0" y="108"/>
                      </a:lnTo>
                      <a:lnTo>
                        <a:pt x="0" y="120"/>
                      </a:lnTo>
                      <a:lnTo>
                        <a:pt x="30" y="150"/>
                      </a:lnTo>
                      <a:lnTo>
                        <a:pt x="42" y="144"/>
                      </a:lnTo>
                      <a:lnTo>
                        <a:pt x="60" y="168"/>
                      </a:lnTo>
                      <a:lnTo>
                        <a:pt x="84" y="168"/>
                      </a:lnTo>
                      <a:lnTo>
                        <a:pt x="96" y="186"/>
                      </a:lnTo>
                      <a:lnTo>
                        <a:pt x="138" y="204"/>
                      </a:lnTo>
                      <a:lnTo>
                        <a:pt x="150" y="204"/>
                      </a:lnTo>
                      <a:lnTo>
                        <a:pt x="156" y="210"/>
                      </a:lnTo>
                      <a:lnTo>
                        <a:pt x="162" y="222"/>
                      </a:lnTo>
                      <a:lnTo>
                        <a:pt x="168" y="228"/>
                      </a:lnTo>
                      <a:lnTo>
                        <a:pt x="186" y="228"/>
                      </a:lnTo>
                      <a:lnTo>
                        <a:pt x="192" y="222"/>
                      </a:lnTo>
                      <a:lnTo>
                        <a:pt x="204" y="222"/>
                      </a:lnTo>
                      <a:lnTo>
                        <a:pt x="204" y="234"/>
                      </a:lnTo>
                      <a:lnTo>
                        <a:pt x="210" y="240"/>
                      </a:lnTo>
                      <a:lnTo>
                        <a:pt x="234" y="240"/>
                      </a:lnTo>
                      <a:lnTo>
                        <a:pt x="240" y="246"/>
                      </a:lnTo>
                      <a:lnTo>
                        <a:pt x="246" y="258"/>
                      </a:lnTo>
                      <a:lnTo>
                        <a:pt x="258" y="246"/>
                      </a:lnTo>
                      <a:lnTo>
                        <a:pt x="276" y="246"/>
                      </a:lnTo>
                      <a:lnTo>
                        <a:pt x="282" y="252"/>
                      </a:lnTo>
                      <a:lnTo>
                        <a:pt x="282" y="258"/>
                      </a:lnTo>
                      <a:lnTo>
                        <a:pt x="282" y="240"/>
                      </a:lnTo>
                      <a:lnTo>
                        <a:pt x="288" y="234"/>
                      </a:lnTo>
                      <a:lnTo>
                        <a:pt x="294" y="234"/>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583" name="Namibia"/>
                <p:cNvSpPr>
                  <a:spLocks/>
                </p:cNvSpPr>
                <p:nvPr/>
              </p:nvSpPr>
              <p:spPr bwMode="gray">
                <a:xfrm>
                  <a:off x="2864" y="2659"/>
                  <a:ext cx="244" cy="249"/>
                </a:xfrm>
                <a:custGeom>
                  <a:avLst/>
                  <a:gdLst>
                    <a:gd name="T0" fmla="*/ 2147483647 w 954"/>
                    <a:gd name="T1" fmla="*/ 2147483647 h 972"/>
                    <a:gd name="T2" fmla="*/ 2147483647 w 954"/>
                    <a:gd name="T3" fmla="*/ 2147483647 h 972"/>
                    <a:gd name="T4" fmla="*/ 2147483647 w 954"/>
                    <a:gd name="T5" fmla="*/ 2147483647 h 972"/>
                    <a:gd name="T6" fmla="*/ 2147483647 w 954"/>
                    <a:gd name="T7" fmla="*/ 2147483647 h 972"/>
                    <a:gd name="T8" fmla="*/ 2147483647 w 954"/>
                    <a:gd name="T9" fmla="*/ 2147483647 h 972"/>
                    <a:gd name="T10" fmla="*/ 2147483647 w 954"/>
                    <a:gd name="T11" fmla="*/ 2147483647 h 972"/>
                    <a:gd name="T12" fmla="*/ 2147483647 w 954"/>
                    <a:gd name="T13" fmla="*/ 2147483647 h 972"/>
                    <a:gd name="T14" fmla="*/ 2147483647 w 954"/>
                    <a:gd name="T15" fmla="*/ 2147483647 h 972"/>
                    <a:gd name="T16" fmla="*/ 2147483647 w 954"/>
                    <a:gd name="T17" fmla="*/ 2147483647 h 972"/>
                    <a:gd name="T18" fmla="*/ 2147483647 w 954"/>
                    <a:gd name="T19" fmla="*/ 2147483647 h 972"/>
                    <a:gd name="T20" fmla="*/ 2147483647 w 954"/>
                    <a:gd name="T21" fmla="*/ 2147483647 h 972"/>
                    <a:gd name="T22" fmla="*/ 2147483647 w 954"/>
                    <a:gd name="T23" fmla="*/ 2147483647 h 972"/>
                    <a:gd name="T24" fmla="*/ 2147483647 w 954"/>
                    <a:gd name="T25" fmla="*/ 2147483647 h 972"/>
                    <a:gd name="T26" fmla="*/ 2147483647 w 954"/>
                    <a:gd name="T27" fmla="*/ 2147483647 h 972"/>
                    <a:gd name="T28" fmla="*/ 2147483647 w 954"/>
                    <a:gd name="T29" fmla="*/ 2147483647 h 972"/>
                    <a:gd name="T30" fmla="*/ 2147483647 w 954"/>
                    <a:gd name="T31" fmla="*/ 2147483647 h 972"/>
                    <a:gd name="T32" fmla="*/ 2147483647 w 954"/>
                    <a:gd name="T33" fmla="*/ 2147483647 h 972"/>
                    <a:gd name="T34" fmla="*/ 2147483647 w 954"/>
                    <a:gd name="T35" fmla="*/ 2147483647 h 972"/>
                    <a:gd name="T36" fmla="*/ 2147483647 w 954"/>
                    <a:gd name="T37" fmla="*/ 2147483647 h 972"/>
                    <a:gd name="T38" fmla="*/ 2147483647 w 954"/>
                    <a:gd name="T39" fmla="*/ 2147483647 h 972"/>
                    <a:gd name="T40" fmla="*/ 2147483647 w 954"/>
                    <a:gd name="T41" fmla="*/ 2147483647 h 972"/>
                    <a:gd name="T42" fmla="*/ 2147483647 w 954"/>
                    <a:gd name="T43" fmla="*/ 2147483647 h 972"/>
                    <a:gd name="T44" fmla="*/ 2147483647 w 954"/>
                    <a:gd name="T45" fmla="*/ 2147483647 h 972"/>
                    <a:gd name="T46" fmla="*/ 2147483647 w 954"/>
                    <a:gd name="T47" fmla="*/ 2147483647 h 972"/>
                    <a:gd name="T48" fmla="*/ 2147483647 w 954"/>
                    <a:gd name="T49" fmla="*/ 2147483647 h 972"/>
                    <a:gd name="T50" fmla="*/ 2147483647 w 954"/>
                    <a:gd name="T51" fmla="*/ 2147483647 h 972"/>
                    <a:gd name="T52" fmla="*/ 2147483647 w 954"/>
                    <a:gd name="T53" fmla="*/ 2147483647 h 972"/>
                    <a:gd name="T54" fmla="*/ 2147483647 w 954"/>
                    <a:gd name="T55" fmla="*/ 2147483647 h 972"/>
                    <a:gd name="T56" fmla="*/ 2147483647 w 954"/>
                    <a:gd name="T57" fmla="*/ 2147483647 h 972"/>
                    <a:gd name="T58" fmla="*/ 2147483647 w 954"/>
                    <a:gd name="T59" fmla="*/ 2147483647 h 972"/>
                    <a:gd name="T60" fmla="*/ 2147483647 w 954"/>
                    <a:gd name="T61" fmla="*/ 2147483647 h 972"/>
                    <a:gd name="T62" fmla="*/ 2147483647 w 954"/>
                    <a:gd name="T63" fmla="*/ 2147483647 h 972"/>
                    <a:gd name="T64" fmla="*/ 2147483647 w 954"/>
                    <a:gd name="T65" fmla="*/ 2147483647 h 972"/>
                    <a:gd name="T66" fmla="*/ 2147483647 w 954"/>
                    <a:gd name="T67" fmla="*/ 0 h 972"/>
                    <a:gd name="T68" fmla="*/ 2147483647 w 954"/>
                    <a:gd name="T69" fmla="*/ 2147483647 h 972"/>
                    <a:gd name="T70" fmla="*/ 2147483647 w 954"/>
                    <a:gd name="T71" fmla="*/ 2147483647 h 972"/>
                    <a:gd name="T72" fmla="*/ 0 w 954"/>
                    <a:gd name="T73" fmla="*/ 2147483647 h 972"/>
                    <a:gd name="T74" fmla="*/ 2147483647 w 954"/>
                    <a:gd name="T75" fmla="*/ 2147483647 h 972"/>
                    <a:gd name="T76" fmla="*/ 2147483647 w 954"/>
                    <a:gd name="T77" fmla="*/ 2147483647 h 972"/>
                    <a:gd name="T78" fmla="*/ 2147483647 w 954"/>
                    <a:gd name="T79" fmla="*/ 2147483647 h 972"/>
                    <a:gd name="T80" fmla="*/ 2147483647 w 954"/>
                    <a:gd name="T81" fmla="*/ 2147483647 h 972"/>
                    <a:gd name="T82" fmla="*/ 2147483647 w 954"/>
                    <a:gd name="T83" fmla="*/ 2147483647 h 972"/>
                    <a:gd name="T84" fmla="*/ 2147483647 w 954"/>
                    <a:gd name="T85" fmla="*/ 2147483647 h 972"/>
                    <a:gd name="T86" fmla="*/ 2147483647 w 954"/>
                    <a:gd name="T87" fmla="*/ 2147483647 h 972"/>
                    <a:gd name="T88" fmla="*/ 2147483647 w 954"/>
                    <a:gd name="T89" fmla="*/ 2147483647 h 972"/>
                    <a:gd name="T90" fmla="*/ 2147483647 w 954"/>
                    <a:gd name="T91" fmla="*/ 2147483647 h 972"/>
                    <a:gd name="T92" fmla="*/ 2147483647 w 954"/>
                    <a:gd name="T93" fmla="*/ 2147483647 h 972"/>
                    <a:gd name="T94" fmla="*/ 2147483647 w 954"/>
                    <a:gd name="T95" fmla="*/ 2147483647 h 972"/>
                    <a:gd name="T96" fmla="*/ 2147483647 w 954"/>
                    <a:gd name="T97" fmla="*/ 2147483647 h 972"/>
                    <a:gd name="T98" fmla="*/ 2147483647 w 954"/>
                    <a:gd name="T99" fmla="*/ 2147483647 h 972"/>
                    <a:gd name="T100" fmla="*/ 2147483647 w 954"/>
                    <a:gd name="T101" fmla="*/ 2147483647 h 972"/>
                    <a:gd name="T102" fmla="*/ 2147483647 w 954"/>
                    <a:gd name="T103" fmla="*/ 2147483647 h 972"/>
                    <a:gd name="T104" fmla="*/ 2147483647 w 954"/>
                    <a:gd name="T105" fmla="*/ 2147483647 h 972"/>
                    <a:gd name="T106" fmla="*/ 2147483647 w 954"/>
                    <a:gd name="T107" fmla="*/ 2147483647 h 972"/>
                    <a:gd name="T108" fmla="*/ 2147483647 w 954"/>
                    <a:gd name="T109" fmla="*/ 2147483647 h 972"/>
                    <a:gd name="T110" fmla="*/ 2147483647 w 954"/>
                    <a:gd name="T111" fmla="*/ 2147483647 h 972"/>
                    <a:gd name="T112" fmla="*/ 2147483647 w 954"/>
                    <a:gd name="T113" fmla="*/ 2147483647 h 972"/>
                    <a:gd name="T114" fmla="*/ 2147483647 w 954"/>
                    <a:gd name="T115" fmla="*/ 2147483647 h 972"/>
                    <a:gd name="T116" fmla="*/ 2147483647 w 954"/>
                    <a:gd name="T117" fmla="*/ 2147483647 h 972"/>
                    <a:gd name="T118" fmla="*/ 2147483647 w 954"/>
                    <a:gd name="T119" fmla="*/ 2147483647 h 97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54"/>
                    <a:gd name="T181" fmla="*/ 0 h 972"/>
                    <a:gd name="T182" fmla="*/ 954 w 954"/>
                    <a:gd name="T183" fmla="*/ 972 h 972"/>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54" h="972">
                      <a:moveTo>
                        <a:pt x="366" y="894"/>
                      </a:moveTo>
                      <a:lnTo>
                        <a:pt x="372" y="894"/>
                      </a:lnTo>
                      <a:lnTo>
                        <a:pt x="390" y="912"/>
                      </a:lnTo>
                      <a:lnTo>
                        <a:pt x="390" y="936"/>
                      </a:lnTo>
                      <a:lnTo>
                        <a:pt x="396" y="948"/>
                      </a:lnTo>
                      <a:lnTo>
                        <a:pt x="402" y="954"/>
                      </a:lnTo>
                      <a:lnTo>
                        <a:pt x="426" y="954"/>
                      </a:lnTo>
                      <a:lnTo>
                        <a:pt x="432" y="960"/>
                      </a:lnTo>
                      <a:lnTo>
                        <a:pt x="432" y="966"/>
                      </a:lnTo>
                      <a:lnTo>
                        <a:pt x="438" y="972"/>
                      </a:lnTo>
                      <a:lnTo>
                        <a:pt x="462" y="972"/>
                      </a:lnTo>
                      <a:lnTo>
                        <a:pt x="474" y="960"/>
                      </a:lnTo>
                      <a:lnTo>
                        <a:pt x="486" y="960"/>
                      </a:lnTo>
                      <a:lnTo>
                        <a:pt x="498" y="972"/>
                      </a:lnTo>
                      <a:lnTo>
                        <a:pt x="522" y="972"/>
                      </a:lnTo>
                      <a:lnTo>
                        <a:pt x="522" y="948"/>
                      </a:lnTo>
                      <a:lnTo>
                        <a:pt x="534" y="948"/>
                      </a:lnTo>
                      <a:lnTo>
                        <a:pt x="534" y="942"/>
                      </a:lnTo>
                      <a:lnTo>
                        <a:pt x="540" y="936"/>
                      </a:lnTo>
                      <a:lnTo>
                        <a:pt x="552" y="930"/>
                      </a:lnTo>
                      <a:lnTo>
                        <a:pt x="570" y="930"/>
                      </a:lnTo>
                      <a:lnTo>
                        <a:pt x="582" y="414"/>
                      </a:lnTo>
                      <a:lnTo>
                        <a:pt x="654" y="414"/>
                      </a:lnTo>
                      <a:lnTo>
                        <a:pt x="648" y="288"/>
                      </a:lnTo>
                      <a:lnTo>
                        <a:pt x="654" y="282"/>
                      </a:lnTo>
                      <a:lnTo>
                        <a:pt x="654" y="108"/>
                      </a:lnTo>
                      <a:lnTo>
                        <a:pt x="690" y="108"/>
                      </a:lnTo>
                      <a:lnTo>
                        <a:pt x="708" y="102"/>
                      </a:lnTo>
                      <a:lnTo>
                        <a:pt x="744" y="102"/>
                      </a:lnTo>
                      <a:lnTo>
                        <a:pt x="792" y="90"/>
                      </a:lnTo>
                      <a:lnTo>
                        <a:pt x="804" y="84"/>
                      </a:lnTo>
                      <a:lnTo>
                        <a:pt x="822" y="84"/>
                      </a:lnTo>
                      <a:lnTo>
                        <a:pt x="828" y="90"/>
                      </a:lnTo>
                      <a:lnTo>
                        <a:pt x="828" y="108"/>
                      </a:lnTo>
                      <a:lnTo>
                        <a:pt x="834" y="108"/>
                      </a:lnTo>
                      <a:lnTo>
                        <a:pt x="834" y="126"/>
                      </a:lnTo>
                      <a:lnTo>
                        <a:pt x="840" y="126"/>
                      </a:lnTo>
                      <a:lnTo>
                        <a:pt x="882" y="84"/>
                      </a:lnTo>
                      <a:lnTo>
                        <a:pt x="906" y="84"/>
                      </a:lnTo>
                      <a:lnTo>
                        <a:pt x="918" y="72"/>
                      </a:lnTo>
                      <a:lnTo>
                        <a:pt x="954" y="66"/>
                      </a:lnTo>
                      <a:lnTo>
                        <a:pt x="936" y="48"/>
                      </a:lnTo>
                      <a:lnTo>
                        <a:pt x="906" y="54"/>
                      </a:lnTo>
                      <a:lnTo>
                        <a:pt x="906" y="48"/>
                      </a:lnTo>
                      <a:lnTo>
                        <a:pt x="900" y="42"/>
                      </a:lnTo>
                      <a:lnTo>
                        <a:pt x="882" y="42"/>
                      </a:lnTo>
                      <a:lnTo>
                        <a:pt x="876" y="48"/>
                      </a:lnTo>
                      <a:lnTo>
                        <a:pt x="870" y="48"/>
                      </a:lnTo>
                      <a:lnTo>
                        <a:pt x="846" y="60"/>
                      </a:lnTo>
                      <a:lnTo>
                        <a:pt x="828" y="54"/>
                      </a:lnTo>
                      <a:lnTo>
                        <a:pt x="816" y="60"/>
                      </a:lnTo>
                      <a:lnTo>
                        <a:pt x="780" y="72"/>
                      </a:lnTo>
                      <a:lnTo>
                        <a:pt x="732" y="78"/>
                      </a:lnTo>
                      <a:lnTo>
                        <a:pt x="696" y="84"/>
                      </a:lnTo>
                      <a:lnTo>
                        <a:pt x="624" y="84"/>
                      </a:lnTo>
                      <a:lnTo>
                        <a:pt x="618" y="72"/>
                      </a:lnTo>
                      <a:lnTo>
                        <a:pt x="546" y="78"/>
                      </a:lnTo>
                      <a:lnTo>
                        <a:pt x="540" y="66"/>
                      </a:lnTo>
                      <a:lnTo>
                        <a:pt x="504" y="66"/>
                      </a:lnTo>
                      <a:lnTo>
                        <a:pt x="480" y="42"/>
                      </a:lnTo>
                      <a:lnTo>
                        <a:pt x="480" y="36"/>
                      </a:lnTo>
                      <a:lnTo>
                        <a:pt x="174" y="36"/>
                      </a:lnTo>
                      <a:lnTo>
                        <a:pt x="168" y="30"/>
                      </a:lnTo>
                      <a:lnTo>
                        <a:pt x="156" y="30"/>
                      </a:lnTo>
                      <a:lnTo>
                        <a:pt x="132" y="18"/>
                      </a:lnTo>
                      <a:lnTo>
                        <a:pt x="126" y="6"/>
                      </a:lnTo>
                      <a:lnTo>
                        <a:pt x="120" y="0"/>
                      </a:lnTo>
                      <a:lnTo>
                        <a:pt x="90" y="0"/>
                      </a:lnTo>
                      <a:lnTo>
                        <a:pt x="90" y="6"/>
                      </a:lnTo>
                      <a:lnTo>
                        <a:pt x="72" y="24"/>
                      </a:lnTo>
                      <a:lnTo>
                        <a:pt x="42" y="24"/>
                      </a:lnTo>
                      <a:lnTo>
                        <a:pt x="36" y="18"/>
                      </a:lnTo>
                      <a:lnTo>
                        <a:pt x="18" y="24"/>
                      </a:lnTo>
                      <a:lnTo>
                        <a:pt x="0" y="24"/>
                      </a:lnTo>
                      <a:lnTo>
                        <a:pt x="6" y="96"/>
                      </a:lnTo>
                      <a:lnTo>
                        <a:pt x="12" y="108"/>
                      </a:lnTo>
                      <a:lnTo>
                        <a:pt x="30" y="126"/>
                      </a:lnTo>
                      <a:lnTo>
                        <a:pt x="36" y="138"/>
                      </a:lnTo>
                      <a:lnTo>
                        <a:pt x="54" y="162"/>
                      </a:lnTo>
                      <a:lnTo>
                        <a:pt x="72" y="192"/>
                      </a:lnTo>
                      <a:lnTo>
                        <a:pt x="96" y="228"/>
                      </a:lnTo>
                      <a:lnTo>
                        <a:pt x="102" y="258"/>
                      </a:lnTo>
                      <a:lnTo>
                        <a:pt x="102" y="276"/>
                      </a:lnTo>
                      <a:lnTo>
                        <a:pt x="114" y="294"/>
                      </a:lnTo>
                      <a:lnTo>
                        <a:pt x="120" y="312"/>
                      </a:lnTo>
                      <a:lnTo>
                        <a:pt x="138" y="348"/>
                      </a:lnTo>
                      <a:lnTo>
                        <a:pt x="156" y="366"/>
                      </a:lnTo>
                      <a:lnTo>
                        <a:pt x="156" y="390"/>
                      </a:lnTo>
                      <a:lnTo>
                        <a:pt x="162" y="396"/>
                      </a:lnTo>
                      <a:lnTo>
                        <a:pt x="174" y="402"/>
                      </a:lnTo>
                      <a:lnTo>
                        <a:pt x="180" y="414"/>
                      </a:lnTo>
                      <a:lnTo>
                        <a:pt x="192" y="420"/>
                      </a:lnTo>
                      <a:lnTo>
                        <a:pt x="198" y="432"/>
                      </a:lnTo>
                      <a:lnTo>
                        <a:pt x="198" y="582"/>
                      </a:lnTo>
                      <a:lnTo>
                        <a:pt x="222" y="630"/>
                      </a:lnTo>
                      <a:lnTo>
                        <a:pt x="222" y="678"/>
                      </a:lnTo>
                      <a:lnTo>
                        <a:pt x="216" y="678"/>
                      </a:lnTo>
                      <a:lnTo>
                        <a:pt x="228" y="726"/>
                      </a:lnTo>
                      <a:lnTo>
                        <a:pt x="228" y="762"/>
                      </a:lnTo>
                      <a:lnTo>
                        <a:pt x="240" y="762"/>
                      </a:lnTo>
                      <a:lnTo>
                        <a:pt x="240" y="804"/>
                      </a:lnTo>
                      <a:lnTo>
                        <a:pt x="252" y="810"/>
                      </a:lnTo>
                      <a:lnTo>
                        <a:pt x="258" y="816"/>
                      </a:lnTo>
                      <a:lnTo>
                        <a:pt x="258" y="846"/>
                      </a:lnTo>
                      <a:lnTo>
                        <a:pt x="264" y="858"/>
                      </a:lnTo>
                      <a:lnTo>
                        <a:pt x="270" y="864"/>
                      </a:lnTo>
                      <a:lnTo>
                        <a:pt x="276" y="876"/>
                      </a:lnTo>
                      <a:lnTo>
                        <a:pt x="282" y="894"/>
                      </a:lnTo>
                      <a:lnTo>
                        <a:pt x="282" y="900"/>
                      </a:lnTo>
                      <a:lnTo>
                        <a:pt x="288" y="912"/>
                      </a:lnTo>
                      <a:lnTo>
                        <a:pt x="294" y="918"/>
                      </a:lnTo>
                      <a:lnTo>
                        <a:pt x="318" y="930"/>
                      </a:lnTo>
                      <a:lnTo>
                        <a:pt x="324" y="936"/>
                      </a:lnTo>
                      <a:lnTo>
                        <a:pt x="330" y="936"/>
                      </a:lnTo>
                      <a:lnTo>
                        <a:pt x="330" y="942"/>
                      </a:lnTo>
                      <a:lnTo>
                        <a:pt x="348" y="930"/>
                      </a:lnTo>
                      <a:lnTo>
                        <a:pt x="348" y="924"/>
                      </a:lnTo>
                      <a:lnTo>
                        <a:pt x="354" y="918"/>
                      </a:lnTo>
                      <a:lnTo>
                        <a:pt x="360" y="906"/>
                      </a:lnTo>
                      <a:lnTo>
                        <a:pt x="360" y="900"/>
                      </a:lnTo>
                      <a:lnTo>
                        <a:pt x="366" y="894"/>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584" name="Myanmar"/>
                <p:cNvSpPr>
                  <a:spLocks/>
                </p:cNvSpPr>
                <p:nvPr/>
              </p:nvSpPr>
              <p:spPr bwMode="gray">
                <a:xfrm>
                  <a:off x="4300" y="1722"/>
                  <a:ext cx="163" cy="383"/>
                </a:xfrm>
                <a:custGeom>
                  <a:avLst/>
                  <a:gdLst>
                    <a:gd name="T0" fmla="*/ 2147483647 w 636"/>
                    <a:gd name="T1" fmla="*/ 2147483647 h 1500"/>
                    <a:gd name="T2" fmla="*/ 2147483647 w 636"/>
                    <a:gd name="T3" fmla="*/ 2147483647 h 1500"/>
                    <a:gd name="T4" fmla="*/ 2147483647 w 636"/>
                    <a:gd name="T5" fmla="*/ 2147483647 h 1500"/>
                    <a:gd name="T6" fmla="*/ 2147483647 w 636"/>
                    <a:gd name="T7" fmla="*/ 2147483647 h 1500"/>
                    <a:gd name="T8" fmla="*/ 2147483647 w 636"/>
                    <a:gd name="T9" fmla="*/ 2147483647 h 1500"/>
                    <a:gd name="T10" fmla="*/ 2147483647 w 636"/>
                    <a:gd name="T11" fmla="*/ 2147483647 h 1500"/>
                    <a:gd name="T12" fmla="*/ 2147483647 w 636"/>
                    <a:gd name="T13" fmla="*/ 2147483647 h 1500"/>
                    <a:gd name="T14" fmla="*/ 2147483647 w 636"/>
                    <a:gd name="T15" fmla="*/ 2147483647 h 1500"/>
                    <a:gd name="T16" fmla="*/ 2147483647 w 636"/>
                    <a:gd name="T17" fmla="*/ 2147483647 h 1500"/>
                    <a:gd name="T18" fmla="*/ 2147483647 w 636"/>
                    <a:gd name="T19" fmla="*/ 2147483647 h 1500"/>
                    <a:gd name="T20" fmla="*/ 2147483647 w 636"/>
                    <a:gd name="T21" fmla="*/ 2147483647 h 1500"/>
                    <a:gd name="T22" fmla="*/ 2147483647 w 636"/>
                    <a:gd name="T23" fmla="*/ 2147483647 h 1500"/>
                    <a:gd name="T24" fmla="*/ 2147483647 w 636"/>
                    <a:gd name="T25" fmla="*/ 2147483647 h 1500"/>
                    <a:gd name="T26" fmla="*/ 2147483647 w 636"/>
                    <a:gd name="T27" fmla="*/ 2147483647 h 1500"/>
                    <a:gd name="T28" fmla="*/ 2147483647 w 636"/>
                    <a:gd name="T29" fmla="*/ 2147483647 h 1500"/>
                    <a:gd name="T30" fmla="*/ 2147483647 w 636"/>
                    <a:gd name="T31" fmla="*/ 2147483647 h 1500"/>
                    <a:gd name="T32" fmla="*/ 2147483647 w 636"/>
                    <a:gd name="T33" fmla="*/ 2147483647 h 1500"/>
                    <a:gd name="T34" fmla="*/ 2147483647 w 636"/>
                    <a:gd name="T35" fmla="*/ 2147483647 h 1500"/>
                    <a:gd name="T36" fmla="*/ 2147483647 w 636"/>
                    <a:gd name="T37" fmla="*/ 2147483647 h 1500"/>
                    <a:gd name="T38" fmla="*/ 2147483647 w 636"/>
                    <a:gd name="T39" fmla="*/ 2147483647 h 1500"/>
                    <a:gd name="T40" fmla="*/ 2147483647 w 636"/>
                    <a:gd name="T41" fmla="*/ 2147483647 h 1500"/>
                    <a:gd name="T42" fmla="*/ 2147483647 w 636"/>
                    <a:gd name="T43" fmla="*/ 2147483647 h 1500"/>
                    <a:gd name="T44" fmla="*/ 2147483647 w 636"/>
                    <a:gd name="T45" fmla="*/ 2147483647 h 1500"/>
                    <a:gd name="T46" fmla="*/ 2147483647 w 636"/>
                    <a:gd name="T47" fmla="*/ 2147483647 h 1500"/>
                    <a:gd name="T48" fmla="*/ 2147483647 w 636"/>
                    <a:gd name="T49" fmla="*/ 2147483647 h 1500"/>
                    <a:gd name="T50" fmla="*/ 2147483647 w 636"/>
                    <a:gd name="T51" fmla="*/ 2147483647 h 1500"/>
                    <a:gd name="T52" fmla="*/ 2147483647 w 636"/>
                    <a:gd name="T53" fmla="*/ 2147483647 h 1500"/>
                    <a:gd name="T54" fmla="*/ 2147483647 w 636"/>
                    <a:gd name="T55" fmla="*/ 2147483647 h 1500"/>
                    <a:gd name="T56" fmla="*/ 2147483647 w 636"/>
                    <a:gd name="T57" fmla="*/ 2147483647 h 1500"/>
                    <a:gd name="T58" fmla="*/ 2147483647 w 636"/>
                    <a:gd name="T59" fmla="*/ 2147483647 h 1500"/>
                    <a:gd name="T60" fmla="*/ 2147483647 w 636"/>
                    <a:gd name="T61" fmla="*/ 2147483647 h 1500"/>
                    <a:gd name="T62" fmla="*/ 2147483647 w 636"/>
                    <a:gd name="T63" fmla="*/ 2147483647 h 1500"/>
                    <a:gd name="T64" fmla="*/ 2147483647 w 636"/>
                    <a:gd name="T65" fmla="*/ 2147483647 h 1500"/>
                    <a:gd name="T66" fmla="*/ 2147483647 w 636"/>
                    <a:gd name="T67" fmla="*/ 2147483647 h 1500"/>
                    <a:gd name="T68" fmla="*/ 2147483647 w 636"/>
                    <a:gd name="T69" fmla="*/ 2147483647 h 1500"/>
                    <a:gd name="T70" fmla="*/ 2147483647 w 636"/>
                    <a:gd name="T71" fmla="*/ 2147483647 h 1500"/>
                    <a:gd name="T72" fmla="*/ 2147483647 w 636"/>
                    <a:gd name="T73" fmla="*/ 2147483647 h 1500"/>
                    <a:gd name="T74" fmla="*/ 2147483647 w 636"/>
                    <a:gd name="T75" fmla="*/ 2147483647 h 1500"/>
                    <a:gd name="T76" fmla="*/ 2147483647 w 636"/>
                    <a:gd name="T77" fmla="*/ 2147483647 h 1500"/>
                    <a:gd name="T78" fmla="*/ 2147483647 w 636"/>
                    <a:gd name="T79" fmla="*/ 2147483647 h 1500"/>
                    <a:gd name="T80" fmla="*/ 2147483647 w 636"/>
                    <a:gd name="T81" fmla="*/ 2147483647 h 1500"/>
                    <a:gd name="T82" fmla="*/ 2147483647 w 636"/>
                    <a:gd name="T83" fmla="*/ 2147483647 h 1500"/>
                    <a:gd name="T84" fmla="*/ 2147483647 w 636"/>
                    <a:gd name="T85" fmla="*/ 2147483647 h 1500"/>
                    <a:gd name="T86" fmla="*/ 2147483647 w 636"/>
                    <a:gd name="T87" fmla="*/ 0 h 1500"/>
                    <a:gd name="T88" fmla="*/ 2147483647 w 636"/>
                    <a:gd name="T89" fmla="*/ 2147483647 h 1500"/>
                    <a:gd name="T90" fmla="*/ 2147483647 w 636"/>
                    <a:gd name="T91" fmla="*/ 2147483647 h 1500"/>
                    <a:gd name="T92" fmla="*/ 2147483647 w 636"/>
                    <a:gd name="T93" fmla="*/ 2147483647 h 1500"/>
                    <a:gd name="T94" fmla="*/ 2147483647 w 636"/>
                    <a:gd name="T95" fmla="*/ 2147483647 h 1500"/>
                    <a:gd name="T96" fmla="*/ 2147483647 w 636"/>
                    <a:gd name="T97" fmla="*/ 2147483647 h 1500"/>
                    <a:gd name="T98" fmla="*/ 2147483647 w 636"/>
                    <a:gd name="T99" fmla="*/ 2147483647 h 1500"/>
                    <a:gd name="T100" fmla="*/ 2147483647 w 636"/>
                    <a:gd name="T101" fmla="*/ 2147483647 h 1500"/>
                    <a:gd name="T102" fmla="*/ 2147483647 w 636"/>
                    <a:gd name="T103" fmla="*/ 2147483647 h 1500"/>
                    <a:gd name="T104" fmla="*/ 2147483647 w 636"/>
                    <a:gd name="T105" fmla="*/ 2147483647 h 1500"/>
                    <a:gd name="T106" fmla="*/ 2147483647 w 636"/>
                    <a:gd name="T107" fmla="*/ 2147483647 h 1500"/>
                    <a:gd name="T108" fmla="*/ 2147483647 w 636"/>
                    <a:gd name="T109" fmla="*/ 2147483647 h 15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636"/>
                    <a:gd name="T166" fmla="*/ 0 h 1500"/>
                    <a:gd name="T167" fmla="*/ 636 w 636"/>
                    <a:gd name="T168" fmla="*/ 1500 h 150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636" h="1500">
                      <a:moveTo>
                        <a:pt x="0" y="588"/>
                      </a:moveTo>
                      <a:lnTo>
                        <a:pt x="18" y="588"/>
                      </a:lnTo>
                      <a:lnTo>
                        <a:pt x="12" y="630"/>
                      </a:lnTo>
                      <a:lnTo>
                        <a:pt x="18" y="630"/>
                      </a:lnTo>
                      <a:lnTo>
                        <a:pt x="24" y="636"/>
                      </a:lnTo>
                      <a:lnTo>
                        <a:pt x="42" y="642"/>
                      </a:lnTo>
                      <a:lnTo>
                        <a:pt x="54" y="648"/>
                      </a:lnTo>
                      <a:lnTo>
                        <a:pt x="72" y="666"/>
                      </a:lnTo>
                      <a:lnTo>
                        <a:pt x="84" y="690"/>
                      </a:lnTo>
                      <a:lnTo>
                        <a:pt x="90" y="696"/>
                      </a:lnTo>
                      <a:lnTo>
                        <a:pt x="90" y="702"/>
                      </a:lnTo>
                      <a:lnTo>
                        <a:pt x="126" y="696"/>
                      </a:lnTo>
                      <a:lnTo>
                        <a:pt x="102" y="738"/>
                      </a:lnTo>
                      <a:lnTo>
                        <a:pt x="108" y="738"/>
                      </a:lnTo>
                      <a:lnTo>
                        <a:pt x="114" y="744"/>
                      </a:lnTo>
                      <a:lnTo>
                        <a:pt x="126" y="744"/>
                      </a:lnTo>
                      <a:lnTo>
                        <a:pt x="144" y="750"/>
                      </a:lnTo>
                      <a:lnTo>
                        <a:pt x="156" y="762"/>
                      </a:lnTo>
                      <a:lnTo>
                        <a:pt x="168" y="768"/>
                      </a:lnTo>
                      <a:lnTo>
                        <a:pt x="174" y="780"/>
                      </a:lnTo>
                      <a:lnTo>
                        <a:pt x="186" y="792"/>
                      </a:lnTo>
                      <a:lnTo>
                        <a:pt x="192" y="804"/>
                      </a:lnTo>
                      <a:lnTo>
                        <a:pt x="192" y="822"/>
                      </a:lnTo>
                      <a:lnTo>
                        <a:pt x="198" y="834"/>
                      </a:lnTo>
                      <a:lnTo>
                        <a:pt x="198" y="840"/>
                      </a:lnTo>
                      <a:lnTo>
                        <a:pt x="204" y="846"/>
                      </a:lnTo>
                      <a:lnTo>
                        <a:pt x="210" y="858"/>
                      </a:lnTo>
                      <a:lnTo>
                        <a:pt x="222" y="870"/>
                      </a:lnTo>
                      <a:lnTo>
                        <a:pt x="210" y="888"/>
                      </a:lnTo>
                      <a:lnTo>
                        <a:pt x="216" y="978"/>
                      </a:lnTo>
                      <a:lnTo>
                        <a:pt x="204" y="990"/>
                      </a:lnTo>
                      <a:lnTo>
                        <a:pt x="204" y="1002"/>
                      </a:lnTo>
                      <a:lnTo>
                        <a:pt x="222" y="1020"/>
                      </a:lnTo>
                      <a:lnTo>
                        <a:pt x="234" y="1020"/>
                      </a:lnTo>
                      <a:lnTo>
                        <a:pt x="246" y="1014"/>
                      </a:lnTo>
                      <a:lnTo>
                        <a:pt x="252" y="1008"/>
                      </a:lnTo>
                      <a:lnTo>
                        <a:pt x="258" y="1014"/>
                      </a:lnTo>
                      <a:lnTo>
                        <a:pt x="258" y="1020"/>
                      </a:lnTo>
                      <a:lnTo>
                        <a:pt x="276" y="1020"/>
                      </a:lnTo>
                      <a:lnTo>
                        <a:pt x="282" y="1014"/>
                      </a:lnTo>
                      <a:lnTo>
                        <a:pt x="294" y="1008"/>
                      </a:lnTo>
                      <a:lnTo>
                        <a:pt x="300" y="996"/>
                      </a:lnTo>
                      <a:lnTo>
                        <a:pt x="306" y="990"/>
                      </a:lnTo>
                      <a:lnTo>
                        <a:pt x="312" y="978"/>
                      </a:lnTo>
                      <a:lnTo>
                        <a:pt x="324" y="978"/>
                      </a:lnTo>
                      <a:lnTo>
                        <a:pt x="360" y="960"/>
                      </a:lnTo>
                      <a:lnTo>
                        <a:pt x="366" y="954"/>
                      </a:lnTo>
                      <a:lnTo>
                        <a:pt x="366" y="900"/>
                      </a:lnTo>
                      <a:lnTo>
                        <a:pt x="372" y="894"/>
                      </a:lnTo>
                      <a:lnTo>
                        <a:pt x="378" y="894"/>
                      </a:lnTo>
                      <a:lnTo>
                        <a:pt x="396" y="912"/>
                      </a:lnTo>
                      <a:lnTo>
                        <a:pt x="402" y="924"/>
                      </a:lnTo>
                      <a:lnTo>
                        <a:pt x="402" y="954"/>
                      </a:lnTo>
                      <a:lnTo>
                        <a:pt x="408" y="954"/>
                      </a:lnTo>
                      <a:lnTo>
                        <a:pt x="426" y="972"/>
                      </a:lnTo>
                      <a:lnTo>
                        <a:pt x="432" y="984"/>
                      </a:lnTo>
                      <a:lnTo>
                        <a:pt x="444" y="1014"/>
                      </a:lnTo>
                      <a:lnTo>
                        <a:pt x="450" y="1050"/>
                      </a:lnTo>
                      <a:lnTo>
                        <a:pt x="450" y="1074"/>
                      </a:lnTo>
                      <a:lnTo>
                        <a:pt x="456" y="1092"/>
                      </a:lnTo>
                      <a:lnTo>
                        <a:pt x="456" y="1128"/>
                      </a:lnTo>
                      <a:lnTo>
                        <a:pt x="462" y="1134"/>
                      </a:lnTo>
                      <a:lnTo>
                        <a:pt x="480" y="1170"/>
                      </a:lnTo>
                      <a:lnTo>
                        <a:pt x="486" y="1176"/>
                      </a:lnTo>
                      <a:lnTo>
                        <a:pt x="486" y="1182"/>
                      </a:lnTo>
                      <a:lnTo>
                        <a:pt x="528" y="1272"/>
                      </a:lnTo>
                      <a:lnTo>
                        <a:pt x="540" y="1320"/>
                      </a:lnTo>
                      <a:lnTo>
                        <a:pt x="522" y="1320"/>
                      </a:lnTo>
                      <a:lnTo>
                        <a:pt x="516" y="1326"/>
                      </a:lnTo>
                      <a:lnTo>
                        <a:pt x="516" y="1350"/>
                      </a:lnTo>
                      <a:lnTo>
                        <a:pt x="510" y="1362"/>
                      </a:lnTo>
                      <a:lnTo>
                        <a:pt x="510" y="1374"/>
                      </a:lnTo>
                      <a:lnTo>
                        <a:pt x="552" y="1362"/>
                      </a:lnTo>
                      <a:lnTo>
                        <a:pt x="540" y="1416"/>
                      </a:lnTo>
                      <a:lnTo>
                        <a:pt x="540" y="1428"/>
                      </a:lnTo>
                      <a:lnTo>
                        <a:pt x="534" y="1440"/>
                      </a:lnTo>
                      <a:lnTo>
                        <a:pt x="534" y="1464"/>
                      </a:lnTo>
                      <a:lnTo>
                        <a:pt x="540" y="1482"/>
                      </a:lnTo>
                      <a:lnTo>
                        <a:pt x="540" y="1488"/>
                      </a:lnTo>
                      <a:lnTo>
                        <a:pt x="546" y="1500"/>
                      </a:lnTo>
                      <a:lnTo>
                        <a:pt x="552" y="1488"/>
                      </a:lnTo>
                      <a:lnTo>
                        <a:pt x="558" y="1482"/>
                      </a:lnTo>
                      <a:lnTo>
                        <a:pt x="564" y="1470"/>
                      </a:lnTo>
                      <a:lnTo>
                        <a:pt x="564" y="1458"/>
                      </a:lnTo>
                      <a:lnTo>
                        <a:pt x="558" y="1452"/>
                      </a:lnTo>
                      <a:lnTo>
                        <a:pt x="558" y="1440"/>
                      </a:lnTo>
                      <a:lnTo>
                        <a:pt x="576" y="1422"/>
                      </a:lnTo>
                      <a:lnTo>
                        <a:pt x="594" y="1386"/>
                      </a:lnTo>
                      <a:lnTo>
                        <a:pt x="594" y="1368"/>
                      </a:lnTo>
                      <a:lnTo>
                        <a:pt x="600" y="1356"/>
                      </a:lnTo>
                      <a:lnTo>
                        <a:pt x="600" y="1326"/>
                      </a:lnTo>
                      <a:lnTo>
                        <a:pt x="594" y="1314"/>
                      </a:lnTo>
                      <a:lnTo>
                        <a:pt x="594" y="1290"/>
                      </a:lnTo>
                      <a:lnTo>
                        <a:pt x="570" y="1266"/>
                      </a:lnTo>
                      <a:lnTo>
                        <a:pt x="570" y="1242"/>
                      </a:lnTo>
                      <a:lnTo>
                        <a:pt x="564" y="1224"/>
                      </a:lnTo>
                      <a:lnTo>
                        <a:pt x="564" y="1194"/>
                      </a:lnTo>
                      <a:lnTo>
                        <a:pt x="558" y="1182"/>
                      </a:lnTo>
                      <a:lnTo>
                        <a:pt x="516" y="1140"/>
                      </a:lnTo>
                      <a:lnTo>
                        <a:pt x="510" y="1128"/>
                      </a:lnTo>
                      <a:lnTo>
                        <a:pt x="504" y="1122"/>
                      </a:lnTo>
                      <a:lnTo>
                        <a:pt x="498" y="1110"/>
                      </a:lnTo>
                      <a:lnTo>
                        <a:pt x="492" y="1104"/>
                      </a:lnTo>
                      <a:lnTo>
                        <a:pt x="492" y="1098"/>
                      </a:lnTo>
                      <a:lnTo>
                        <a:pt x="486" y="1092"/>
                      </a:lnTo>
                      <a:lnTo>
                        <a:pt x="504" y="1056"/>
                      </a:lnTo>
                      <a:lnTo>
                        <a:pt x="510" y="1050"/>
                      </a:lnTo>
                      <a:lnTo>
                        <a:pt x="516" y="1038"/>
                      </a:lnTo>
                      <a:lnTo>
                        <a:pt x="516" y="1014"/>
                      </a:lnTo>
                      <a:lnTo>
                        <a:pt x="510" y="1002"/>
                      </a:lnTo>
                      <a:lnTo>
                        <a:pt x="522" y="1002"/>
                      </a:lnTo>
                      <a:lnTo>
                        <a:pt x="528" y="996"/>
                      </a:lnTo>
                      <a:lnTo>
                        <a:pt x="528" y="978"/>
                      </a:lnTo>
                      <a:lnTo>
                        <a:pt x="522" y="972"/>
                      </a:lnTo>
                      <a:lnTo>
                        <a:pt x="516" y="978"/>
                      </a:lnTo>
                      <a:lnTo>
                        <a:pt x="510" y="978"/>
                      </a:lnTo>
                      <a:lnTo>
                        <a:pt x="504" y="972"/>
                      </a:lnTo>
                      <a:lnTo>
                        <a:pt x="498" y="960"/>
                      </a:lnTo>
                      <a:lnTo>
                        <a:pt x="498" y="942"/>
                      </a:lnTo>
                      <a:lnTo>
                        <a:pt x="504" y="942"/>
                      </a:lnTo>
                      <a:lnTo>
                        <a:pt x="504" y="936"/>
                      </a:lnTo>
                      <a:lnTo>
                        <a:pt x="498" y="930"/>
                      </a:lnTo>
                      <a:lnTo>
                        <a:pt x="486" y="924"/>
                      </a:lnTo>
                      <a:lnTo>
                        <a:pt x="474" y="912"/>
                      </a:lnTo>
                      <a:lnTo>
                        <a:pt x="462" y="906"/>
                      </a:lnTo>
                      <a:lnTo>
                        <a:pt x="444" y="888"/>
                      </a:lnTo>
                      <a:lnTo>
                        <a:pt x="438" y="876"/>
                      </a:lnTo>
                      <a:lnTo>
                        <a:pt x="438" y="870"/>
                      </a:lnTo>
                      <a:lnTo>
                        <a:pt x="432" y="870"/>
                      </a:lnTo>
                      <a:lnTo>
                        <a:pt x="438" y="846"/>
                      </a:lnTo>
                      <a:lnTo>
                        <a:pt x="426" y="840"/>
                      </a:lnTo>
                      <a:lnTo>
                        <a:pt x="402" y="816"/>
                      </a:lnTo>
                      <a:lnTo>
                        <a:pt x="402" y="810"/>
                      </a:lnTo>
                      <a:lnTo>
                        <a:pt x="426" y="810"/>
                      </a:lnTo>
                      <a:lnTo>
                        <a:pt x="426" y="792"/>
                      </a:lnTo>
                      <a:lnTo>
                        <a:pt x="408" y="774"/>
                      </a:lnTo>
                      <a:lnTo>
                        <a:pt x="408" y="768"/>
                      </a:lnTo>
                      <a:lnTo>
                        <a:pt x="414" y="762"/>
                      </a:lnTo>
                      <a:lnTo>
                        <a:pt x="420" y="762"/>
                      </a:lnTo>
                      <a:lnTo>
                        <a:pt x="426" y="756"/>
                      </a:lnTo>
                      <a:lnTo>
                        <a:pt x="426" y="708"/>
                      </a:lnTo>
                      <a:lnTo>
                        <a:pt x="456" y="708"/>
                      </a:lnTo>
                      <a:lnTo>
                        <a:pt x="468" y="714"/>
                      </a:lnTo>
                      <a:lnTo>
                        <a:pt x="480" y="714"/>
                      </a:lnTo>
                      <a:lnTo>
                        <a:pt x="486" y="708"/>
                      </a:lnTo>
                      <a:lnTo>
                        <a:pt x="492" y="696"/>
                      </a:lnTo>
                      <a:lnTo>
                        <a:pt x="498" y="690"/>
                      </a:lnTo>
                      <a:lnTo>
                        <a:pt x="498" y="684"/>
                      </a:lnTo>
                      <a:lnTo>
                        <a:pt x="522" y="684"/>
                      </a:lnTo>
                      <a:lnTo>
                        <a:pt x="528" y="660"/>
                      </a:lnTo>
                      <a:lnTo>
                        <a:pt x="534" y="660"/>
                      </a:lnTo>
                      <a:lnTo>
                        <a:pt x="540" y="654"/>
                      </a:lnTo>
                      <a:lnTo>
                        <a:pt x="564" y="654"/>
                      </a:lnTo>
                      <a:lnTo>
                        <a:pt x="564" y="642"/>
                      </a:lnTo>
                      <a:lnTo>
                        <a:pt x="582" y="624"/>
                      </a:lnTo>
                      <a:lnTo>
                        <a:pt x="594" y="624"/>
                      </a:lnTo>
                      <a:lnTo>
                        <a:pt x="600" y="618"/>
                      </a:lnTo>
                      <a:lnTo>
                        <a:pt x="594" y="612"/>
                      </a:lnTo>
                      <a:lnTo>
                        <a:pt x="600" y="600"/>
                      </a:lnTo>
                      <a:lnTo>
                        <a:pt x="600" y="588"/>
                      </a:lnTo>
                      <a:lnTo>
                        <a:pt x="636" y="570"/>
                      </a:lnTo>
                      <a:lnTo>
                        <a:pt x="636" y="552"/>
                      </a:lnTo>
                      <a:lnTo>
                        <a:pt x="630" y="546"/>
                      </a:lnTo>
                      <a:lnTo>
                        <a:pt x="618" y="546"/>
                      </a:lnTo>
                      <a:lnTo>
                        <a:pt x="600" y="564"/>
                      </a:lnTo>
                      <a:lnTo>
                        <a:pt x="600" y="570"/>
                      </a:lnTo>
                      <a:lnTo>
                        <a:pt x="558" y="570"/>
                      </a:lnTo>
                      <a:lnTo>
                        <a:pt x="558" y="552"/>
                      </a:lnTo>
                      <a:lnTo>
                        <a:pt x="546" y="552"/>
                      </a:lnTo>
                      <a:lnTo>
                        <a:pt x="534" y="522"/>
                      </a:lnTo>
                      <a:lnTo>
                        <a:pt x="480" y="516"/>
                      </a:lnTo>
                      <a:lnTo>
                        <a:pt x="486" y="504"/>
                      </a:lnTo>
                      <a:lnTo>
                        <a:pt x="486" y="498"/>
                      </a:lnTo>
                      <a:lnTo>
                        <a:pt x="492" y="492"/>
                      </a:lnTo>
                      <a:lnTo>
                        <a:pt x="492" y="480"/>
                      </a:lnTo>
                      <a:lnTo>
                        <a:pt x="480" y="468"/>
                      </a:lnTo>
                      <a:lnTo>
                        <a:pt x="486" y="462"/>
                      </a:lnTo>
                      <a:lnTo>
                        <a:pt x="498" y="462"/>
                      </a:lnTo>
                      <a:lnTo>
                        <a:pt x="504" y="456"/>
                      </a:lnTo>
                      <a:lnTo>
                        <a:pt x="504" y="450"/>
                      </a:lnTo>
                      <a:lnTo>
                        <a:pt x="498" y="444"/>
                      </a:lnTo>
                      <a:lnTo>
                        <a:pt x="486" y="438"/>
                      </a:lnTo>
                      <a:lnTo>
                        <a:pt x="456" y="438"/>
                      </a:lnTo>
                      <a:lnTo>
                        <a:pt x="444" y="396"/>
                      </a:lnTo>
                      <a:lnTo>
                        <a:pt x="420" y="378"/>
                      </a:lnTo>
                      <a:lnTo>
                        <a:pt x="450" y="354"/>
                      </a:lnTo>
                      <a:lnTo>
                        <a:pt x="390" y="354"/>
                      </a:lnTo>
                      <a:lnTo>
                        <a:pt x="384" y="360"/>
                      </a:lnTo>
                      <a:lnTo>
                        <a:pt x="372" y="360"/>
                      </a:lnTo>
                      <a:lnTo>
                        <a:pt x="366" y="366"/>
                      </a:lnTo>
                      <a:lnTo>
                        <a:pt x="354" y="372"/>
                      </a:lnTo>
                      <a:lnTo>
                        <a:pt x="366" y="354"/>
                      </a:lnTo>
                      <a:lnTo>
                        <a:pt x="360" y="342"/>
                      </a:lnTo>
                      <a:lnTo>
                        <a:pt x="342" y="324"/>
                      </a:lnTo>
                      <a:lnTo>
                        <a:pt x="342" y="306"/>
                      </a:lnTo>
                      <a:lnTo>
                        <a:pt x="354" y="306"/>
                      </a:lnTo>
                      <a:lnTo>
                        <a:pt x="348" y="276"/>
                      </a:lnTo>
                      <a:lnTo>
                        <a:pt x="360" y="276"/>
                      </a:lnTo>
                      <a:lnTo>
                        <a:pt x="366" y="270"/>
                      </a:lnTo>
                      <a:lnTo>
                        <a:pt x="366" y="234"/>
                      </a:lnTo>
                      <a:lnTo>
                        <a:pt x="372" y="240"/>
                      </a:lnTo>
                      <a:lnTo>
                        <a:pt x="384" y="240"/>
                      </a:lnTo>
                      <a:lnTo>
                        <a:pt x="390" y="234"/>
                      </a:lnTo>
                      <a:lnTo>
                        <a:pt x="396" y="222"/>
                      </a:lnTo>
                      <a:lnTo>
                        <a:pt x="396" y="216"/>
                      </a:lnTo>
                      <a:lnTo>
                        <a:pt x="378" y="198"/>
                      </a:lnTo>
                      <a:lnTo>
                        <a:pt x="390" y="198"/>
                      </a:lnTo>
                      <a:lnTo>
                        <a:pt x="396" y="192"/>
                      </a:lnTo>
                      <a:lnTo>
                        <a:pt x="408" y="192"/>
                      </a:lnTo>
                      <a:lnTo>
                        <a:pt x="396" y="132"/>
                      </a:lnTo>
                      <a:lnTo>
                        <a:pt x="384" y="108"/>
                      </a:lnTo>
                      <a:lnTo>
                        <a:pt x="384" y="78"/>
                      </a:lnTo>
                      <a:lnTo>
                        <a:pt x="378" y="72"/>
                      </a:lnTo>
                      <a:lnTo>
                        <a:pt x="342" y="72"/>
                      </a:lnTo>
                      <a:lnTo>
                        <a:pt x="342" y="66"/>
                      </a:lnTo>
                      <a:lnTo>
                        <a:pt x="336" y="60"/>
                      </a:lnTo>
                      <a:lnTo>
                        <a:pt x="318" y="24"/>
                      </a:lnTo>
                      <a:lnTo>
                        <a:pt x="306" y="18"/>
                      </a:lnTo>
                      <a:lnTo>
                        <a:pt x="300" y="6"/>
                      </a:lnTo>
                      <a:lnTo>
                        <a:pt x="294" y="0"/>
                      </a:lnTo>
                      <a:lnTo>
                        <a:pt x="288" y="0"/>
                      </a:lnTo>
                      <a:lnTo>
                        <a:pt x="282" y="18"/>
                      </a:lnTo>
                      <a:lnTo>
                        <a:pt x="282" y="48"/>
                      </a:lnTo>
                      <a:lnTo>
                        <a:pt x="276" y="48"/>
                      </a:lnTo>
                      <a:lnTo>
                        <a:pt x="270" y="54"/>
                      </a:lnTo>
                      <a:lnTo>
                        <a:pt x="258" y="60"/>
                      </a:lnTo>
                      <a:lnTo>
                        <a:pt x="246" y="72"/>
                      </a:lnTo>
                      <a:lnTo>
                        <a:pt x="252" y="84"/>
                      </a:lnTo>
                      <a:lnTo>
                        <a:pt x="258" y="90"/>
                      </a:lnTo>
                      <a:lnTo>
                        <a:pt x="270" y="96"/>
                      </a:lnTo>
                      <a:lnTo>
                        <a:pt x="276" y="102"/>
                      </a:lnTo>
                      <a:lnTo>
                        <a:pt x="276" y="108"/>
                      </a:lnTo>
                      <a:lnTo>
                        <a:pt x="258" y="108"/>
                      </a:lnTo>
                      <a:lnTo>
                        <a:pt x="252" y="102"/>
                      </a:lnTo>
                      <a:lnTo>
                        <a:pt x="216" y="102"/>
                      </a:lnTo>
                      <a:lnTo>
                        <a:pt x="204" y="108"/>
                      </a:lnTo>
                      <a:lnTo>
                        <a:pt x="198" y="108"/>
                      </a:lnTo>
                      <a:lnTo>
                        <a:pt x="198" y="126"/>
                      </a:lnTo>
                      <a:lnTo>
                        <a:pt x="186" y="138"/>
                      </a:lnTo>
                      <a:lnTo>
                        <a:pt x="174" y="144"/>
                      </a:lnTo>
                      <a:lnTo>
                        <a:pt x="162" y="144"/>
                      </a:lnTo>
                      <a:lnTo>
                        <a:pt x="156" y="150"/>
                      </a:lnTo>
                      <a:lnTo>
                        <a:pt x="150" y="150"/>
                      </a:lnTo>
                      <a:lnTo>
                        <a:pt x="150" y="174"/>
                      </a:lnTo>
                      <a:lnTo>
                        <a:pt x="156" y="180"/>
                      </a:lnTo>
                      <a:lnTo>
                        <a:pt x="156" y="186"/>
                      </a:lnTo>
                      <a:lnTo>
                        <a:pt x="162" y="192"/>
                      </a:lnTo>
                      <a:lnTo>
                        <a:pt x="162" y="204"/>
                      </a:lnTo>
                      <a:lnTo>
                        <a:pt x="144" y="234"/>
                      </a:lnTo>
                      <a:lnTo>
                        <a:pt x="138" y="240"/>
                      </a:lnTo>
                      <a:lnTo>
                        <a:pt x="126" y="246"/>
                      </a:lnTo>
                      <a:lnTo>
                        <a:pt x="126" y="264"/>
                      </a:lnTo>
                      <a:lnTo>
                        <a:pt x="132" y="276"/>
                      </a:lnTo>
                      <a:lnTo>
                        <a:pt x="138" y="282"/>
                      </a:lnTo>
                      <a:lnTo>
                        <a:pt x="120" y="336"/>
                      </a:lnTo>
                      <a:lnTo>
                        <a:pt x="120" y="372"/>
                      </a:lnTo>
                      <a:lnTo>
                        <a:pt x="108" y="372"/>
                      </a:lnTo>
                      <a:lnTo>
                        <a:pt x="96" y="366"/>
                      </a:lnTo>
                      <a:lnTo>
                        <a:pt x="42" y="366"/>
                      </a:lnTo>
                      <a:lnTo>
                        <a:pt x="48" y="366"/>
                      </a:lnTo>
                      <a:lnTo>
                        <a:pt x="66" y="384"/>
                      </a:lnTo>
                      <a:lnTo>
                        <a:pt x="72" y="432"/>
                      </a:lnTo>
                      <a:lnTo>
                        <a:pt x="66" y="432"/>
                      </a:lnTo>
                      <a:lnTo>
                        <a:pt x="48" y="450"/>
                      </a:lnTo>
                      <a:lnTo>
                        <a:pt x="54" y="462"/>
                      </a:lnTo>
                      <a:lnTo>
                        <a:pt x="54" y="486"/>
                      </a:lnTo>
                      <a:lnTo>
                        <a:pt x="72" y="504"/>
                      </a:lnTo>
                      <a:lnTo>
                        <a:pt x="72" y="516"/>
                      </a:lnTo>
                      <a:lnTo>
                        <a:pt x="60" y="516"/>
                      </a:lnTo>
                      <a:lnTo>
                        <a:pt x="54" y="510"/>
                      </a:lnTo>
                      <a:lnTo>
                        <a:pt x="48" y="510"/>
                      </a:lnTo>
                      <a:lnTo>
                        <a:pt x="48" y="534"/>
                      </a:lnTo>
                      <a:lnTo>
                        <a:pt x="30" y="516"/>
                      </a:lnTo>
                      <a:lnTo>
                        <a:pt x="42" y="576"/>
                      </a:lnTo>
                      <a:lnTo>
                        <a:pt x="6" y="570"/>
                      </a:lnTo>
                      <a:lnTo>
                        <a:pt x="6" y="576"/>
                      </a:lnTo>
                      <a:lnTo>
                        <a:pt x="0" y="588"/>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585" name="Mozambique"/>
                <p:cNvSpPr>
                  <a:spLocks/>
                </p:cNvSpPr>
                <p:nvPr/>
              </p:nvSpPr>
              <p:spPr bwMode="gray">
                <a:xfrm>
                  <a:off x="3197" y="2526"/>
                  <a:ext cx="195" cy="342"/>
                </a:xfrm>
                <a:custGeom>
                  <a:avLst/>
                  <a:gdLst>
                    <a:gd name="T0" fmla="*/ 2147483647 w 762"/>
                    <a:gd name="T1" fmla="*/ 2147483647 h 1338"/>
                    <a:gd name="T2" fmla="*/ 2147483647 w 762"/>
                    <a:gd name="T3" fmla="*/ 2147483647 h 1338"/>
                    <a:gd name="T4" fmla="*/ 2147483647 w 762"/>
                    <a:gd name="T5" fmla="*/ 2147483647 h 1338"/>
                    <a:gd name="T6" fmla="*/ 2147483647 w 762"/>
                    <a:gd name="T7" fmla="*/ 2147483647 h 1338"/>
                    <a:gd name="T8" fmla="*/ 2147483647 w 762"/>
                    <a:gd name="T9" fmla="*/ 2147483647 h 1338"/>
                    <a:gd name="T10" fmla="*/ 2147483647 w 762"/>
                    <a:gd name="T11" fmla="*/ 2147483647 h 1338"/>
                    <a:gd name="T12" fmla="*/ 2147483647 w 762"/>
                    <a:gd name="T13" fmla="*/ 2147483647 h 1338"/>
                    <a:gd name="T14" fmla="*/ 2147483647 w 762"/>
                    <a:gd name="T15" fmla="*/ 2147483647 h 1338"/>
                    <a:gd name="T16" fmla="*/ 2147483647 w 762"/>
                    <a:gd name="T17" fmla="*/ 2147483647 h 1338"/>
                    <a:gd name="T18" fmla="*/ 2147483647 w 762"/>
                    <a:gd name="T19" fmla="*/ 2147483647 h 1338"/>
                    <a:gd name="T20" fmla="*/ 2147483647 w 762"/>
                    <a:gd name="T21" fmla="*/ 2147483647 h 1338"/>
                    <a:gd name="T22" fmla="*/ 2147483647 w 762"/>
                    <a:gd name="T23" fmla="*/ 2147483647 h 1338"/>
                    <a:gd name="T24" fmla="*/ 2147483647 w 762"/>
                    <a:gd name="T25" fmla="*/ 2147483647 h 1338"/>
                    <a:gd name="T26" fmla="*/ 2147483647 w 762"/>
                    <a:gd name="T27" fmla="*/ 2147483647 h 1338"/>
                    <a:gd name="T28" fmla="*/ 2147483647 w 762"/>
                    <a:gd name="T29" fmla="*/ 2147483647 h 1338"/>
                    <a:gd name="T30" fmla="*/ 2147483647 w 762"/>
                    <a:gd name="T31" fmla="*/ 2147483647 h 1338"/>
                    <a:gd name="T32" fmla="*/ 2147483647 w 762"/>
                    <a:gd name="T33" fmla="*/ 2147483647 h 1338"/>
                    <a:gd name="T34" fmla="*/ 2147483647 w 762"/>
                    <a:gd name="T35" fmla="*/ 2147483647 h 1338"/>
                    <a:gd name="T36" fmla="*/ 2147483647 w 762"/>
                    <a:gd name="T37" fmla="*/ 2147483647 h 1338"/>
                    <a:gd name="T38" fmla="*/ 2147483647 w 762"/>
                    <a:gd name="T39" fmla="*/ 2147483647 h 1338"/>
                    <a:gd name="T40" fmla="*/ 2147483647 w 762"/>
                    <a:gd name="T41" fmla="*/ 2147483647 h 1338"/>
                    <a:gd name="T42" fmla="*/ 2147483647 w 762"/>
                    <a:gd name="T43" fmla="*/ 2147483647 h 1338"/>
                    <a:gd name="T44" fmla="*/ 2147483647 w 762"/>
                    <a:gd name="T45" fmla="*/ 2147483647 h 1338"/>
                    <a:gd name="T46" fmla="*/ 2147483647 w 762"/>
                    <a:gd name="T47" fmla="*/ 2147483647 h 1338"/>
                    <a:gd name="T48" fmla="*/ 2147483647 w 762"/>
                    <a:gd name="T49" fmla="*/ 2147483647 h 1338"/>
                    <a:gd name="T50" fmla="*/ 2147483647 w 762"/>
                    <a:gd name="T51" fmla="*/ 2147483647 h 1338"/>
                    <a:gd name="T52" fmla="*/ 2147483647 w 762"/>
                    <a:gd name="T53" fmla="*/ 2147483647 h 1338"/>
                    <a:gd name="T54" fmla="*/ 2147483647 w 762"/>
                    <a:gd name="T55" fmla="*/ 2147483647 h 1338"/>
                    <a:gd name="T56" fmla="*/ 0 w 762"/>
                    <a:gd name="T57" fmla="*/ 2147483647 h 1338"/>
                    <a:gd name="T58" fmla="*/ 2147483647 w 762"/>
                    <a:gd name="T59" fmla="*/ 2147483647 h 1338"/>
                    <a:gd name="T60" fmla="*/ 2147483647 w 762"/>
                    <a:gd name="T61" fmla="*/ 2147483647 h 1338"/>
                    <a:gd name="T62" fmla="*/ 2147483647 w 762"/>
                    <a:gd name="T63" fmla="*/ 2147483647 h 1338"/>
                    <a:gd name="T64" fmla="*/ 2147483647 w 762"/>
                    <a:gd name="T65" fmla="*/ 2147483647 h 1338"/>
                    <a:gd name="T66" fmla="*/ 2147483647 w 762"/>
                    <a:gd name="T67" fmla="*/ 2147483647 h 1338"/>
                    <a:gd name="T68" fmla="*/ 2147483647 w 762"/>
                    <a:gd name="T69" fmla="*/ 2147483647 h 1338"/>
                    <a:gd name="T70" fmla="*/ 2147483647 w 762"/>
                    <a:gd name="T71" fmla="*/ 2147483647 h 1338"/>
                    <a:gd name="T72" fmla="*/ 2147483647 w 762"/>
                    <a:gd name="T73" fmla="*/ 2147483647 h 1338"/>
                    <a:gd name="T74" fmla="*/ 2147483647 w 762"/>
                    <a:gd name="T75" fmla="*/ 2147483647 h 1338"/>
                    <a:gd name="T76" fmla="*/ 2147483647 w 762"/>
                    <a:gd name="T77" fmla="*/ 2147483647 h 1338"/>
                    <a:gd name="T78" fmla="*/ 2147483647 w 762"/>
                    <a:gd name="T79" fmla="*/ 2147483647 h 1338"/>
                    <a:gd name="T80" fmla="*/ 2147483647 w 762"/>
                    <a:gd name="T81" fmla="*/ 2147483647 h 1338"/>
                    <a:gd name="T82" fmla="*/ 2147483647 w 762"/>
                    <a:gd name="T83" fmla="*/ 2147483647 h 1338"/>
                    <a:gd name="T84" fmla="*/ 2147483647 w 762"/>
                    <a:gd name="T85" fmla="*/ 2147483647 h 1338"/>
                    <a:gd name="T86" fmla="*/ 2147483647 w 762"/>
                    <a:gd name="T87" fmla="*/ 2147483647 h 1338"/>
                    <a:gd name="T88" fmla="*/ 2147483647 w 762"/>
                    <a:gd name="T89" fmla="*/ 2147483647 h 1338"/>
                    <a:gd name="T90" fmla="*/ 2147483647 w 762"/>
                    <a:gd name="T91" fmla="*/ 2147483647 h 1338"/>
                    <a:gd name="T92" fmla="*/ 2147483647 w 762"/>
                    <a:gd name="T93" fmla="*/ 2147483647 h 1338"/>
                    <a:gd name="T94" fmla="*/ 2147483647 w 762"/>
                    <a:gd name="T95" fmla="*/ 2147483647 h 1338"/>
                    <a:gd name="T96" fmla="*/ 2147483647 w 762"/>
                    <a:gd name="T97" fmla="*/ 2147483647 h 1338"/>
                    <a:gd name="T98" fmla="*/ 2147483647 w 762"/>
                    <a:gd name="T99" fmla="*/ 2147483647 h 1338"/>
                    <a:gd name="T100" fmla="*/ 2147483647 w 762"/>
                    <a:gd name="T101" fmla="*/ 2147483647 h 1338"/>
                    <a:gd name="T102" fmla="*/ 2147483647 w 762"/>
                    <a:gd name="T103" fmla="*/ 2147483647 h 1338"/>
                    <a:gd name="T104" fmla="*/ 2147483647 w 762"/>
                    <a:gd name="T105" fmla="*/ 2147483647 h 1338"/>
                    <a:gd name="T106" fmla="*/ 2147483647 w 762"/>
                    <a:gd name="T107" fmla="*/ 2147483647 h 1338"/>
                    <a:gd name="T108" fmla="*/ 2147483647 w 762"/>
                    <a:gd name="T109" fmla="*/ 2147483647 h 1338"/>
                    <a:gd name="T110" fmla="*/ 2147483647 w 762"/>
                    <a:gd name="T111" fmla="*/ 2147483647 h 1338"/>
                    <a:gd name="T112" fmla="*/ 2147483647 w 762"/>
                    <a:gd name="T113" fmla="*/ 2147483647 h 1338"/>
                    <a:gd name="T114" fmla="*/ 2147483647 w 762"/>
                    <a:gd name="T115" fmla="*/ 2147483647 h 1338"/>
                    <a:gd name="T116" fmla="*/ 2147483647 w 762"/>
                    <a:gd name="T117" fmla="*/ 2147483647 h 1338"/>
                    <a:gd name="T118" fmla="*/ 2147483647 w 762"/>
                    <a:gd name="T119" fmla="*/ 2147483647 h 1338"/>
                    <a:gd name="T120" fmla="*/ 2147483647 w 762"/>
                    <a:gd name="T121" fmla="*/ 2147483647 h 1338"/>
                    <a:gd name="T122" fmla="*/ 2147483647 w 762"/>
                    <a:gd name="T123" fmla="*/ 2147483647 h 133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62"/>
                    <a:gd name="T187" fmla="*/ 0 h 1338"/>
                    <a:gd name="T188" fmla="*/ 762 w 762"/>
                    <a:gd name="T189" fmla="*/ 1338 h 133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62" h="1338">
                      <a:moveTo>
                        <a:pt x="762" y="342"/>
                      </a:moveTo>
                      <a:lnTo>
                        <a:pt x="762" y="324"/>
                      </a:lnTo>
                      <a:lnTo>
                        <a:pt x="756" y="318"/>
                      </a:lnTo>
                      <a:lnTo>
                        <a:pt x="744" y="318"/>
                      </a:lnTo>
                      <a:lnTo>
                        <a:pt x="744" y="258"/>
                      </a:lnTo>
                      <a:lnTo>
                        <a:pt x="732" y="246"/>
                      </a:lnTo>
                      <a:lnTo>
                        <a:pt x="750" y="234"/>
                      </a:lnTo>
                      <a:lnTo>
                        <a:pt x="738" y="186"/>
                      </a:lnTo>
                      <a:lnTo>
                        <a:pt x="750" y="156"/>
                      </a:lnTo>
                      <a:lnTo>
                        <a:pt x="738" y="120"/>
                      </a:lnTo>
                      <a:lnTo>
                        <a:pt x="738" y="108"/>
                      </a:lnTo>
                      <a:lnTo>
                        <a:pt x="750" y="72"/>
                      </a:lnTo>
                      <a:lnTo>
                        <a:pt x="756" y="42"/>
                      </a:lnTo>
                      <a:lnTo>
                        <a:pt x="756" y="12"/>
                      </a:lnTo>
                      <a:lnTo>
                        <a:pt x="744" y="0"/>
                      </a:lnTo>
                      <a:lnTo>
                        <a:pt x="666" y="54"/>
                      </a:lnTo>
                      <a:lnTo>
                        <a:pt x="636" y="60"/>
                      </a:lnTo>
                      <a:lnTo>
                        <a:pt x="630" y="60"/>
                      </a:lnTo>
                      <a:lnTo>
                        <a:pt x="618" y="72"/>
                      </a:lnTo>
                      <a:lnTo>
                        <a:pt x="606" y="78"/>
                      </a:lnTo>
                      <a:lnTo>
                        <a:pt x="594" y="78"/>
                      </a:lnTo>
                      <a:lnTo>
                        <a:pt x="594" y="72"/>
                      </a:lnTo>
                      <a:lnTo>
                        <a:pt x="588" y="66"/>
                      </a:lnTo>
                      <a:lnTo>
                        <a:pt x="564" y="66"/>
                      </a:lnTo>
                      <a:lnTo>
                        <a:pt x="558" y="72"/>
                      </a:lnTo>
                      <a:lnTo>
                        <a:pt x="552" y="84"/>
                      </a:lnTo>
                      <a:lnTo>
                        <a:pt x="540" y="90"/>
                      </a:lnTo>
                      <a:lnTo>
                        <a:pt x="528" y="102"/>
                      </a:lnTo>
                      <a:lnTo>
                        <a:pt x="510" y="102"/>
                      </a:lnTo>
                      <a:lnTo>
                        <a:pt x="498" y="96"/>
                      </a:lnTo>
                      <a:lnTo>
                        <a:pt x="492" y="90"/>
                      </a:lnTo>
                      <a:lnTo>
                        <a:pt x="486" y="90"/>
                      </a:lnTo>
                      <a:lnTo>
                        <a:pt x="468" y="108"/>
                      </a:lnTo>
                      <a:lnTo>
                        <a:pt x="456" y="108"/>
                      </a:lnTo>
                      <a:lnTo>
                        <a:pt x="450" y="102"/>
                      </a:lnTo>
                      <a:lnTo>
                        <a:pt x="438" y="96"/>
                      </a:lnTo>
                      <a:lnTo>
                        <a:pt x="432" y="84"/>
                      </a:lnTo>
                      <a:lnTo>
                        <a:pt x="420" y="78"/>
                      </a:lnTo>
                      <a:lnTo>
                        <a:pt x="408" y="78"/>
                      </a:lnTo>
                      <a:lnTo>
                        <a:pt x="396" y="90"/>
                      </a:lnTo>
                      <a:lnTo>
                        <a:pt x="390" y="90"/>
                      </a:lnTo>
                      <a:lnTo>
                        <a:pt x="384" y="96"/>
                      </a:lnTo>
                      <a:lnTo>
                        <a:pt x="354" y="96"/>
                      </a:lnTo>
                      <a:lnTo>
                        <a:pt x="354" y="114"/>
                      </a:lnTo>
                      <a:lnTo>
                        <a:pt x="330" y="138"/>
                      </a:lnTo>
                      <a:lnTo>
                        <a:pt x="330" y="150"/>
                      </a:lnTo>
                      <a:lnTo>
                        <a:pt x="342" y="162"/>
                      </a:lnTo>
                      <a:lnTo>
                        <a:pt x="348" y="174"/>
                      </a:lnTo>
                      <a:lnTo>
                        <a:pt x="348" y="204"/>
                      </a:lnTo>
                      <a:lnTo>
                        <a:pt x="342" y="216"/>
                      </a:lnTo>
                      <a:lnTo>
                        <a:pt x="336" y="234"/>
                      </a:lnTo>
                      <a:lnTo>
                        <a:pt x="336" y="246"/>
                      </a:lnTo>
                      <a:lnTo>
                        <a:pt x="342" y="246"/>
                      </a:lnTo>
                      <a:lnTo>
                        <a:pt x="342" y="252"/>
                      </a:lnTo>
                      <a:lnTo>
                        <a:pt x="348" y="252"/>
                      </a:lnTo>
                      <a:lnTo>
                        <a:pt x="372" y="276"/>
                      </a:lnTo>
                      <a:lnTo>
                        <a:pt x="384" y="300"/>
                      </a:lnTo>
                      <a:lnTo>
                        <a:pt x="390" y="306"/>
                      </a:lnTo>
                      <a:lnTo>
                        <a:pt x="396" y="318"/>
                      </a:lnTo>
                      <a:lnTo>
                        <a:pt x="408" y="336"/>
                      </a:lnTo>
                      <a:lnTo>
                        <a:pt x="420" y="348"/>
                      </a:lnTo>
                      <a:lnTo>
                        <a:pt x="420" y="366"/>
                      </a:lnTo>
                      <a:lnTo>
                        <a:pt x="414" y="372"/>
                      </a:lnTo>
                      <a:lnTo>
                        <a:pt x="408" y="384"/>
                      </a:lnTo>
                      <a:lnTo>
                        <a:pt x="402" y="390"/>
                      </a:lnTo>
                      <a:lnTo>
                        <a:pt x="402" y="450"/>
                      </a:lnTo>
                      <a:lnTo>
                        <a:pt x="396" y="456"/>
                      </a:lnTo>
                      <a:lnTo>
                        <a:pt x="372" y="456"/>
                      </a:lnTo>
                      <a:lnTo>
                        <a:pt x="360" y="462"/>
                      </a:lnTo>
                      <a:lnTo>
                        <a:pt x="354" y="474"/>
                      </a:lnTo>
                      <a:lnTo>
                        <a:pt x="354" y="492"/>
                      </a:lnTo>
                      <a:lnTo>
                        <a:pt x="360" y="492"/>
                      </a:lnTo>
                      <a:lnTo>
                        <a:pt x="366" y="498"/>
                      </a:lnTo>
                      <a:lnTo>
                        <a:pt x="366" y="528"/>
                      </a:lnTo>
                      <a:lnTo>
                        <a:pt x="354" y="534"/>
                      </a:lnTo>
                      <a:lnTo>
                        <a:pt x="348" y="540"/>
                      </a:lnTo>
                      <a:lnTo>
                        <a:pt x="342" y="534"/>
                      </a:lnTo>
                      <a:lnTo>
                        <a:pt x="342" y="522"/>
                      </a:lnTo>
                      <a:lnTo>
                        <a:pt x="348" y="516"/>
                      </a:lnTo>
                      <a:lnTo>
                        <a:pt x="348" y="504"/>
                      </a:lnTo>
                      <a:lnTo>
                        <a:pt x="336" y="498"/>
                      </a:lnTo>
                      <a:lnTo>
                        <a:pt x="330" y="492"/>
                      </a:lnTo>
                      <a:lnTo>
                        <a:pt x="318" y="486"/>
                      </a:lnTo>
                      <a:lnTo>
                        <a:pt x="312" y="480"/>
                      </a:lnTo>
                      <a:lnTo>
                        <a:pt x="300" y="474"/>
                      </a:lnTo>
                      <a:lnTo>
                        <a:pt x="300" y="444"/>
                      </a:lnTo>
                      <a:lnTo>
                        <a:pt x="288" y="444"/>
                      </a:lnTo>
                      <a:lnTo>
                        <a:pt x="288" y="438"/>
                      </a:lnTo>
                      <a:lnTo>
                        <a:pt x="294" y="432"/>
                      </a:lnTo>
                      <a:lnTo>
                        <a:pt x="306" y="426"/>
                      </a:lnTo>
                      <a:lnTo>
                        <a:pt x="312" y="420"/>
                      </a:lnTo>
                      <a:lnTo>
                        <a:pt x="300" y="402"/>
                      </a:lnTo>
                      <a:lnTo>
                        <a:pt x="312" y="396"/>
                      </a:lnTo>
                      <a:lnTo>
                        <a:pt x="318" y="366"/>
                      </a:lnTo>
                      <a:lnTo>
                        <a:pt x="312" y="366"/>
                      </a:lnTo>
                      <a:lnTo>
                        <a:pt x="312" y="330"/>
                      </a:lnTo>
                      <a:lnTo>
                        <a:pt x="306" y="324"/>
                      </a:lnTo>
                      <a:lnTo>
                        <a:pt x="288" y="324"/>
                      </a:lnTo>
                      <a:lnTo>
                        <a:pt x="282" y="330"/>
                      </a:lnTo>
                      <a:lnTo>
                        <a:pt x="252" y="330"/>
                      </a:lnTo>
                      <a:lnTo>
                        <a:pt x="222" y="282"/>
                      </a:lnTo>
                      <a:lnTo>
                        <a:pt x="216" y="282"/>
                      </a:lnTo>
                      <a:lnTo>
                        <a:pt x="210" y="288"/>
                      </a:lnTo>
                      <a:lnTo>
                        <a:pt x="192" y="294"/>
                      </a:lnTo>
                      <a:lnTo>
                        <a:pt x="180" y="300"/>
                      </a:lnTo>
                      <a:lnTo>
                        <a:pt x="162" y="312"/>
                      </a:lnTo>
                      <a:lnTo>
                        <a:pt x="138" y="324"/>
                      </a:lnTo>
                      <a:lnTo>
                        <a:pt x="132" y="324"/>
                      </a:lnTo>
                      <a:lnTo>
                        <a:pt x="120" y="330"/>
                      </a:lnTo>
                      <a:lnTo>
                        <a:pt x="102" y="336"/>
                      </a:lnTo>
                      <a:lnTo>
                        <a:pt x="84" y="336"/>
                      </a:lnTo>
                      <a:lnTo>
                        <a:pt x="72" y="342"/>
                      </a:lnTo>
                      <a:lnTo>
                        <a:pt x="60" y="342"/>
                      </a:lnTo>
                      <a:lnTo>
                        <a:pt x="42" y="360"/>
                      </a:lnTo>
                      <a:lnTo>
                        <a:pt x="12" y="360"/>
                      </a:lnTo>
                      <a:lnTo>
                        <a:pt x="0" y="372"/>
                      </a:lnTo>
                      <a:lnTo>
                        <a:pt x="18" y="390"/>
                      </a:lnTo>
                      <a:lnTo>
                        <a:pt x="24" y="444"/>
                      </a:lnTo>
                      <a:lnTo>
                        <a:pt x="84" y="444"/>
                      </a:lnTo>
                      <a:lnTo>
                        <a:pt x="96" y="462"/>
                      </a:lnTo>
                      <a:lnTo>
                        <a:pt x="114" y="462"/>
                      </a:lnTo>
                      <a:lnTo>
                        <a:pt x="132" y="486"/>
                      </a:lnTo>
                      <a:lnTo>
                        <a:pt x="138" y="486"/>
                      </a:lnTo>
                      <a:lnTo>
                        <a:pt x="150" y="480"/>
                      </a:lnTo>
                      <a:lnTo>
                        <a:pt x="162" y="480"/>
                      </a:lnTo>
                      <a:lnTo>
                        <a:pt x="180" y="498"/>
                      </a:lnTo>
                      <a:lnTo>
                        <a:pt x="192" y="498"/>
                      </a:lnTo>
                      <a:lnTo>
                        <a:pt x="204" y="510"/>
                      </a:lnTo>
                      <a:lnTo>
                        <a:pt x="204" y="516"/>
                      </a:lnTo>
                      <a:lnTo>
                        <a:pt x="198" y="528"/>
                      </a:lnTo>
                      <a:lnTo>
                        <a:pt x="192" y="534"/>
                      </a:lnTo>
                      <a:lnTo>
                        <a:pt x="204" y="552"/>
                      </a:lnTo>
                      <a:lnTo>
                        <a:pt x="192" y="564"/>
                      </a:lnTo>
                      <a:lnTo>
                        <a:pt x="204" y="576"/>
                      </a:lnTo>
                      <a:lnTo>
                        <a:pt x="198" y="582"/>
                      </a:lnTo>
                      <a:lnTo>
                        <a:pt x="198" y="588"/>
                      </a:lnTo>
                      <a:lnTo>
                        <a:pt x="192" y="594"/>
                      </a:lnTo>
                      <a:lnTo>
                        <a:pt x="192" y="606"/>
                      </a:lnTo>
                      <a:lnTo>
                        <a:pt x="204" y="630"/>
                      </a:lnTo>
                      <a:lnTo>
                        <a:pt x="204" y="642"/>
                      </a:lnTo>
                      <a:lnTo>
                        <a:pt x="198" y="648"/>
                      </a:lnTo>
                      <a:lnTo>
                        <a:pt x="198" y="654"/>
                      </a:lnTo>
                      <a:lnTo>
                        <a:pt x="192" y="654"/>
                      </a:lnTo>
                      <a:lnTo>
                        <a:pt x="192" y="666"/>
                      </a:lnTo>
                      <a:lnTo>
                        <a:pt x="174" y="678"/>
                      </a:lnTo>
                      <a:lnTo>
                        <a:pt x="192" y="702"/>
                      </a:lnTo>
                      <a:lnTo>
                        <a:pt x="174" y="720"/>
                      </a:lnTo>
                      <a:lnTo>
                        <a:pt x="174" y="732"/>
                      </a:lnTo>
                      <a:lnTo>
                        <a:pt x="198" y="756"/>
                      </a:lnTo>
                      <a:lnTo>
                        <a:pt x="198" y="762"/>
                      </a:lnTo>
                      <a:lnTo>
                        <a:pt x="192" y="774"/>
                      </a:lnTo>
                      <a:lnTo>
                        <a:pt x="180" y="786"/>
                      </a:lnTo>
                      <a:lnTo>
                        <a:pt x="180" y="798"/>
                      </a:lnTo>
                      <a:lnTo>
                        <a:pt x="168" y="810"/>
                      </a:lnTo>
                      <a:lnTo>
                        <a:pt x="156" y="816"/>
                      </a:lnTo>
                      <a:lnTo>
                        <a:pt x="156" y="846"/>
                      </a:lnTo>
                      <a:lnTo>
                        <a:pt x="144" y="858"/>
                      </a:lnTo>
                      <a:lnTo>
                        <a:pt x="156" y="876"/>
                      </a:lnTo>
                      <a:lnTo>
                        <a:pt x="138" y="882"/>
                      </a:lnTo>
                      <a:lnTo>
                        <a:pt x="72" y="966"/>
                      </a:lnTo>
                      <a:lnTo>
                        <a:pt x="72" y="996"/>
                      </a:lnTo>
                      <a:lnTo>
                        <a:pt x="78" y="1014"/>
                      </a:lnTo>
                      <a:lnTo>
                        <a:pt x="78" y="1032"/>
                      </a:lnTo>
                      <a:lnTo>
                        <a:pt x="84" y="1044"/>
                      </a:lnTo>
                      <a:lnTo>
                        <a:pt x="84" y="1062"/>
                      </a:lnTo>
                      <a:lnTo>
                        <a:pt x="114" y="1122"/>
                      </a:lnTo>
                      <a:lnTo>
                        <a:pt x="114" y="1212"/>
                      </a:lnTo>
                      <a:lnTo>
                        <a:pt x="90" y="1248"/>
                      </a:lnTo>
                      <a:lnTo>
                        <a:pt x="114" y="1248"/>
                      </a:lnTo>
                      <a:lnTo>
                        <a:pt x="108" y="1260"/>
                      </a:lnTo>
                      <a:lnTo>
                        <a:pt x="108" y="1284"/>
                      </a:lnTo>
                      <a:lnTo>
                        <a:pt x="114" y="1290"/>
                      </a:lnTo>
                      <a:lnTo>
                        <a:pt x="120" y="1290"/>
                      </a:lnTo>
                      <a:lnTo>
                        <a:pt x="126" y="1314"/>
                      </a:lnTo>
                      <a:lnTo>
                        <a:pt x="144" y="1314"/>
                      </a:lnTo>
                      <a:lnTo>
                        <a:pt x="156" y="1326"/>
                      </a:lnTo>
                      <a:lnTo>
                        <a:pt x="162" y="1338"/>
                      </a:lnTo>
                      <a:lnTo>
                        <a:pt x="168" y="1320"/>
                      </a:lnTo>
                      <a:lnTo>
                        <a:pt x="168" y="1284"/>
                      </a:lnTo>
                      <a:lnTo>
                        <a:pt x="162" y="1272"/>
                      </a:lnTo>
                      <a:lnTo>
                        <a:pt x="156" y="1266"/>
                      </a:lnTo>
                      <a:lnTo>
                        <a:pt x="150" y="1266"/>
                      </a:lnTo>
                      <a:lnTo>
                        <a:pt x="150" y="1242"/>
                      </a:lnTo>
                      <a:lnTo>
                        <a:pt x="162" y="1230"/>
                      </a:lnTo>
                      <a:lnTo>
                        <a:pt x="222" y="1188"/>
                      </a:lnTo>
                      <a:lnTo>
                        <a:pt x="276" y="1158"/>
                      </a:lnTo>
                      <a:lnTo>
                        <a:pt x="294" y="1146"/>
                      </a:lnTo>
                      <a:lnTo>
                        <a:pt x="312" y="1140"/>
                      </a:lnTo>
                      <a:lnTo>
                        <a:pt x="330" y="1128"/>
                      </a:lnTo>
                      <a:lnTo>
                        <a:pt x="342" y="1122"/>
                      </a:lnTo>
                      <a:lnTo>
                        <a:pt x="360" y="1104"/>
                      </a:lnTo>
                      <a:lnTo>
                        <a:pt x="360" y="1080"/>
                      </a:lnTo>
                      <a:lnTo>
                        <a:pt x="354" y="1080"/>
                      </a:lnTo>
                      <a:lnTo>
                        <a:pt x="354" y="1086"/>
                      </a:lnTo>
                      <a:lnTo>
                        <a:pt x="348" y="1080"/>
                      </a:lnTo>
                      <a:lnTo>
                        <a:pt x="342" y="1080"/>
                      </a:lnTo>
                      <a:lnTo>
                        <a:pt x="342" y="1068"/>
                      </a:lnTo>
                      <a:lnTo>
                        <a:pt x="366" y="1020"/>
                      </a:lnTo>
                      <a:lnTo>
                        <a:pt x="366" y="990"/>
                      </a:lnTo>
                      <a:lnTo>
                        <a:pt x="360" y="984"/>
                      </a:lnTo>
                      <a:lnTo>
                        <a:pt x="360" y="978"/>
                      </a:lnTo>
                      <a:lnTo>
                        <a:pt x="372" y="948"/>
                      </a:lnTo>
                      <a:lnTo>
                        <a:pt x="366" y="942"/>
                      </a:lnTo>
                      <a:lnTo>
                        <a:pt x="348" y="960"/>
                      </a:lnTo>
                      <a:lnTo>
                        <a:pt x="354" y="918"/>
                      </a:lnTo>
                      <a:lnTo>
                        <a:pt x="348" y="906"/>
                      </a:lnTo>
                      <a:lnTo>
                        <a:pt x="336" y="900"/>
                      </a:lnTo>
                      <a:lnTo>
                        <a:pt x="330" y="888"/>
                      </a:lnTo>
                      <a:lnTo>
                        <a:pt x="330" y="870"/>
                      </a:lnTo>
                      <a:lnTo>
                        <a:pt x="336" y="858"/>
                      </a:lnTo>
                      <a:lnTo>
                        <a:pt x="336" y="834"/>
                      </a:lnTo>
                      <a:lnTo>
                        <a:pt x="324" y="822"/>
                      </a:lnTo>
                      <a:lnTo>
                        <a:pt x="318" y="822"/>
                      </a:lnTo>
                      <a:lnTo>
                        <a:pt x="312" y="816"/>
                      </a:lnTo>
                      <a:lnTo>
                        <a:pt x="312" y="792"/>
                      </a:lnTo>
                      <a:lnTo>
                        <a:pt x="318" y="780"/>
                      </a:lnTo>
                      <a:lnTo>
                        <a:pt x="324" y="762"/>
                      </a:lnTo>
                      <a:lnTo>
                        <a:pt x="336" y="750"/>
                      </a:lnTo>
                      <a:lnTo>
                        <a:pt x="372" y="732"/>
                      </a:lnTo>
                      <a:lnTo>
                        <a:pt x="378" y="726"/>
                      </a:lnTo>
                      <a:lnTo>
                        <a:pt x="378" y="714"/>
                      </a:lnTo>
                      <a:lnTo>
                        <a:pt x="390" y="690"/>
                      </a:lnTo>
                      <a:lnTo>
                        <a:pt x="396" y="684"/>
                      </a:lnTo>
                      <a:lnTo>
                        <a:pt x="402" y="684"/>
                      </a:lnTo>
                      <a:lnTo>
                        <a:pt x="414" y="678"/>
                      </a:lnTo>
                      <a:lnTo>
                        <a:pt x="420" y="678"/>
                      </a:lnTo>
                      <a:lnTo>
                        <a:pt x="426" y="672"/>
                      </a:lnTo>
                      <a:lnTo>
                        <a:pt x="450" y="660"/>
                      </a:lnTo>
                      <a:lnTo>
                        <a:pt x="462" y="648"/>
                      </a:lnTo>
                      <a:lnTo>
                        <a:pt x="474" y="612"/>
                      </a:lnTo>
                      <a:lnTo>
                        <a:pt x="498" y="576"/>
                      </a:lnTo>
                      <a:lnTo>
                        <a:pt x="522" y="564"/>
                      </a:lnTo>
                      <a:lnTo>
                        <a:pt x="558" y="552"/>
                      </a:lnTo>
                      <a:lnTo>
                        <a:pt x="600" y="534"/>
                      </a:lnTo>
                      <a:lnTo>
                        <a:pt x="624" y="522"/>
                      </a:lnTo>
                      <a:lnTo>
                        <a:pt x="630" y="516"/>
                      </a:lnTo>
                      <a:lnTo>
                        <a:pt x="666" y="498"/>
                      </a:lnTo>
                      <a:lnTo>
                        <a:pt x="672" y="492"/>
                      </a:lnTo>
                      <a:lnTo>
                        <a:pt x="684" y="486"/>
                      </a:lnTo>
                      <a:lnTo>
                        <a:pt x="684" y="474"/>
                      </a:lnTo>
                      <a:lnTo>
                        <a:pt x="714" y="444"/>
                      </a:lnTo>
                      <a:lnTo>
                        <a:pt x="714" y="432"/>
                      </a:lnTo>
                      <a:lnTo>
                        <a:pt x="720" y="420"/>
                      </a:lnTo>
                      <a:lnTo>
                        <a:pt x="732" y="414"/>
                      </a:lnTo>
                      <a:lnTo>
                        <a:pt x="738" y="402"/>
                      </a:lnTo>
                      <a:lnTo>
                        <a:pt x="744" y="396"/>
                      </a:lnTo>
                      <a:lnTo>
                        <a:pt x="744" y="378"/>
                      </a:lnTo>
                      <a:lnTo>
                        <a:pt x="750" y="372"/>
                      </a:lnTo>
                      <a:lnTo>
                        <a:pt x="762" y="348"/>
                      </a:lnTo>
                      <a:lnTo>
                        <a:pt x="762" y="342"/>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586" name="Morocco"/>
                <p:cNvSpPr>
                  <a:spLocks/>
                </p:cNvSpPr>
                <p:nvPr/>
              </p:nvSpPr>
              <p:spPr bwMode="gray">
                <a:xfrm>
                  <a:off x="2426" y="1571"/>
                  <a:ext cx="217" cy="169"/>
                </a:xfrm>
                <a:custGeom>
                  <a:avLst/>
                  <a:gdLst>
                    <a:gd name="T0" fmla="*/ 2147483647 w 846"/>
                    <a:gd name="T1" fmla="*/ 2147483647 h 660"/>
                    <a:gd name="T2" fmla="*/ 2147483647 w 846"/>
                    <a:gd name="T3" fmla="*/ 2147483647 h 660"/>
                    <a:gd name="T4" fmla="*/ 2147483647 w 846"/>
                    <a:gd name="T5" fmla="*/ 2147483647 h 660"/>
                    <a:gd name="T6" fmla="*/ 2147483647 w 846"/>
                    <a:gd name="T7" fmla="*/ 2147483647 h 660"/>
                    <a:gd name="T8" fmla="*/ 2147483647 w 846"/>
                    <a:gd name="T9" fmla="*/ 2147483647 h 660"/>
                    <a:gd name="T10" fmla="*/ 2147483647 w 846"/>
                    <a:gd name="T11" fmla="*/ 2147483647 h 660"/>
                    <a:gd name="T12" fmla="*/ 2147483647 w 846"/>
                    <a:gd name="T13" fmla="*/ 2147483647 h 660"/>
                    <a:gd name="T14" fmla="*/ 2147483647 w 846"/>
                    <a:gd name="T15" fmla="*/ 2147483647 h 660"/>
                    <a:gd name="T16" fmla="*/ 2147483647 w 846"/>
                    <a:gd name="T17" fmla="*/ 2147483647 h 660"/>
                    <a:gd name="T18" fmla="*/ 2147483647 w 846"/>
                    <a:gd name="T19" fmla="*/ 0 h 660"/>
                    <a:gd name="T20" fmla="*/ 2147483647 w 846"/>
                    <a:gd name="T21" fmla="*/ 2147483647 h 660"/>
                    <a:gd name="T22" fmla="*/ 2147483647 w 846"/>
                    <a:gd name="T23" fmla="*/ 2147483647 h 660"/>
                    <a:gd name="T24" fmla="*/ 2147483647 w 846"/>
                    <a:gd name="T25" fmla="*/ 2147483647 h 660"/>
                    <a:gd name="T26" fmla="*/ 2147483647 w 846"/>
                    <a:gd name="T27" fmla="*/ 2147483647 h 660"/>
                    <a:gd name="T28" fmla="*/ 2147483647 w 846"/>
                    <a:gd name="T29" fmla="*/ 2147483647 h 660"/>
                    <a:gd name="T30" fmla="*/ 2147483647 w 846"/>
                    <a:gd name="T31" fmla="*/ 2147483647 h 660"/>
                    <a:gd name="T32" fmla="*/ 2147483647 w 846"/>
                    <a:gd name="T33" fmla="*/ 2147483647 h 660"/>
                    <a:gd name="T34" fmla="*/ 2147483647 w 846"/>
                    <a:gd name="T35" fmla="*/ 2147483647 h 660"/>
                    <a:gd name="T36" fmla="*/ 2147483647 w 846"/>
                    <a:gd name="T37" fmla="*/ 2147483647 h 660"/>
                    <a:gd name="T38" fmla="*/ 2147483647 w 846"/>
                    <a:gd name="T39" fmla="*/ 2147483647 h 660"/>
                    <a:gd name="T40" fmla="*/ 2147483647 w 846"/>
                    <a:gd name="T41" fmla="*/ 2147483647 h 660"/>
                    <a:gd name="T42" fmla="*/ 2147483647 w 846"/>
                    <a:gd name="T43" fmla="*/ 2147483647 h 660"/>
                    <a:gd name="T44" fmla="*/ 2147483647 w 846"/>
                    <a:gd name="T45" fmla="*/ 2147483647 h 660"/>
                    <a:gd name="T46" fmla="*/ 2147483647 w 846"/>
                    <a:gd name="T47" fmla="*/ 2147483647 h 660"/>
                    <a:gd name="T48" fmla="*/ 2147483647 w 846"/>
                    <a:gd name="T49" fmla="*/ 2147483647 h 660"/>
                    <a:gd name="T50" fmla="*/ 2147483647 w 846"/>
                    <a:gd name="T51" fmla="*/ 2147483647 h 660"/>
                    <a:gd name="T52" fmla="*/ 2147483647 w 846"/>
                    <a:gd name="T53" fmla="*/ 2147483647 h 660"/>
                    <a:gd name="T54" fmla="*/ 2147483647 w 846"/>
                    <a:gd name="T55" fmla="*/ 2147483647 h 660"/>
                    <a:gd name="T56" fmla="*/ 2147483647 w 846"/>
                    <a:gd name="T57" fmla="*/ 2147483647 h 660"/>
                    <a:gd name="T58" fmla="*/ 2147483647 w 846"/>
                    <a:gd name="T59" fmla="*/ 2147483647 h 660"/>
                    <a:gd name="T60" fmla="*/ 2147483647 w 846"/>
                    <a:gd name="T61" fmla="*/ 2147483647 h 660"/>
                    <a:gd name="T62" fmla="*/ 2147483647 w 846"/>
                    <a:gd name="T63" fmla="*/ 2147483647 h 660"/>
                    <a:gd name="T64" fmla="*/ 2147483647 w 846"/>
                    <a:gd name="T65" fmla="*/ 2147483647 h 660"/>
                    <a:gd name="T66" fmla="*/ 2147483647 w 846"/>
                    <a:gd name="T67" fmla="*/ 2147483647 h 660"/>
                    <a:gd name="T68" fmla="*/ 2147483647 w 846"/>
                    <a:gd name="T69" fmla="*/ 2147483647 h 660"/>
                    <a:gd name="T70" fmla="*/ 2147483647 w 846"/>
                    <a:gd name="T71" fmla="*/ 2147483647 h 660"/>
                    <a:gd name="T72" fmla="*/ 2147483647 w 846"/>
                    <a:gd name="T73" fmla="*/ 2147483647 h 660"/>
                    <a:gd name="T74" fmla="*/ 2147483647 w 846"/>
                    <a:gd name="T75" fmla="*/ 2147483647 h 660"/>
                    <a:gd name="T76" fmla="*/ 2147483647 w 846"/>
                    <a:gd name="T77" fmla="*/ 2147483647 h 660"/>
                    <a:gd name="T78" fmla="*/ 2147483647 w 846"/>
                    <a:gd name="T79" fmla="*/ 2147483647 h 660"/>
                    <a:gd name="T80" fmla="*/ 2147483647 w 846"/>
                    <a:gd name="T81" fmla="*/ 2147483647 h 660"/>
                    <a:gd name="T82" fmla="*/ 2147483647 w 846"/>
                    <a:gd name="T83" fmla="*/ 2147483647 h 660"/>
                    <a:gd name="T84" fmla="*/ 2147483647 w 846"/>
                    <a:gd name="T85" fmla="*/ 2147483647 h 660"/>
                    <a:gd name="T86" fmla="*/ 2147483647 w 846"/>
                    <a:gd name="T87" fmla="*/ 2147483647 h 660"/>
                    <a:gd name="T88" fmla="*/ 2147483647 w 846"/>
                    <a:gd name="T89" fmla="*/ 2147483647 h 66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846"/>
                    <a:gd name="T136" fmla="*/ 0 h 660"/>
                    <a:gd name="T137" fmla="*/ 846 w 846"/>
                    <a:gd name="T138" fmla="*/ 660 h 660"/>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846" h="660">
                      <a:moveTo>
                        <a:pt x="822" y="246"/>
                      </a:moveTo>
                      <a:lnTo>
                        <a:pt x="822" y="216"/>
                      </a:lnTo>
                      <a:lnTo>
                        <a:pt x="804" y="216"/>
                      </a:lnTo>
                      <a:lnTo>
                        <a:pt x="816" y="186"/>
                      </a:lnTo>
                      <a:lnTo>
                        <a:pt x="804" y="168"/>
                      </a:lnTo>
                      <a:lnTo>
                        <a:pt x="810" y="102"/>
                      </a:lnTo>
                      <a:lnTo>
                        <a:pt x="798" y="102"/>
                      </a:lnTo>
                      <a:lnTo>
                        <a:pt x="798" y="90"/>
                      </a:lnTo>
                      <a:lnTo>
                        <a:pt x="804" y="84"/>
                      </a:lnTo>
                      <a:lnTo>
                        <a:pt x="792" y="78"/>
                      </a:lnTo>
                      <a:lnTo>
                        <a:pt x="786" y="66"/>
                      </a:lnTo>
                      <a:lnTo>
                        <a:pt x="780" y="60"/>
                      </a:lnTo>
                      <a:lnTo>
                        <a:pt x="744" y="42"/>
                      </a:lnTo>
                      <a:lnTo>
                        <a:pt x="720" y="42"/>
                      </a:lnTo>
                      <a:lnTo>
                        <a:pt x="708" y="48"/>
                      </a:lnTo>
                      <a:lnTo>
                        <a:pt x="702" y="54"/>
                      </a:lnTo>
                      <a:lnTo>
                        <a:pt x="696" y="54"/>
                      </a:lnTo>
                      <a:lnTo>
                        <a:pt x="690" y="48"/>
                      </a:lnTo>
                      <a:lnTo>
                        <a:pt x="678" y="48"/>
                      </a:lnTo>
                      <a:lnTo>
                        <a:pt x="666" y="42"/>
                      </a:lnTo>
                      <a:lnTo>
                        <a:pt x="654" y="42"/>
                      </a:lnTo>
                      <a:lnTo>
                        <a:pt x="642" y="48"/>
                      </a:lnTo>
                      <a:lnTo>
                        <a:pt x="636" y="54"/>
                      </a:lnTo>
                      <a:lnTo>
                        <a:pt x="624" y="54"/>
                      </a:lnTo>
                      <a:lnTo>
                        <a:pt x="588" y="36"/>
                      </a:lnTo>
                      <a:lnTo>
                        <a:pt x="570" y="18"/>
                      </a:lnTo>
                      <a:lnTo>
                        <a:pt x="564" y="6"/>
                      </a:lnTo>
                      <a:lnTo>
                        <a:pt x="558" y="6"/>
                      </a:lnTo>
                      <a:lnTo>
                        <a:pt x="552" y="0"/>
                      </a:lnTo>
                      <a:lnTo>
                        <a:pt x="528" y="0"/>
                      </a:lnTo>
                      <a:lnTo>
                        <a:pt x="528" y="6"/>
                      </a:lnTo>
                      <a:lnTo>
                        <a:pt x="522" y="12"/>
                      </a:lnTo>
                      <a:lnTo>
                        <a:pt x="522" y="30"/>
                      </a:lnTo>
                      <a:lnTo>
                        <a:pt x="516" y="48"/>
                      </a:lnTo>
                      <a:lnTo>
                        <a:pt x="498" y="84"/>
                      </a:lnTo>
                      <a:lnTo>
                        <a:pt x="492" y="102"/>
                      </a:lnTo>
                      <a:lnTo>
                        <a:pt x="468" y="138"/>
                      </a:lnTo>
                      <a:lnTo>
                        <a:pt x="462" y="150"/>
                      </a:lnTo>
                      <a:lnTo>
                        <a:pt x="450" y="162"/>
                      </a:lnTo>
                      <a:lnTo>
                        <a:pt x="438" y="168"/>
                      </a:lnTo>
                      <a:lnTo>
                        <a:pt x="420" y="168"/>
                      </a:lnTo>
                      <a:lnTo>
                        <a:pt x="408" y="174"/>
                      </a:lnTo>
                      <a:lnTo>
                        <a:pt x="402" y="174"/>
                      </a:lnTo>
                      <a:lnTo>
                        <a:pt x="396" y="180"/>
                      </a:lnTo>
                      <a:lnTo>
                        <a:pt x="384" y="186"/>
                      </a:lnTo>
                      <a:lnTo>
                        <a:pt x="378" y="198"/>
                      </a:lnTo>
                      <a:lnTo>
                        <a:pt x="360" y="192"/>
                      </a:lnTo>
                      <a:lnTo>
                        <a:pt x="330" y="204"/>
                      </a:lnTo>
                      <a:lnTo>
                        <a:pt x="330" y="210"/>
                      </a:lnTo>
                      <a:lnTo>
                        <a:pt x="324" y="216"/>
                      </a:lnTo>
                      <a:lnTo>
                        <a:pt x="324" y="228"/>
                      </a:lnTo>
                      <a:lnTo>
                        <a:pt x="318" y="240"/>
                      </a:lnTo>
                      <a:lnTo>
                        <a:pt x="312" y="240"/>
                      </a:lnTo>
                      <a:lnTo>
                        <a:pt x="288" y="264"/>
                      </a:lnTo>
                      <a:lnTo>
                        <a:pt x="288" y="288"/>
                      </a:lnTo>
                      <a:lnTo>
                        <a:pt x="276" y="312"/>
                      </a:lnTo>
                      <a:lnTo>
                        <a:pt x="264" y="324"/>
                      </a:lnTo>
                      <a:lnTo>
                        <a:pt x="258" y="336"/>
                      </a:lnTo>
                      <a:lnTo>
                        <a:pt x="246" y="354"/>
                      </a:lnTo>
                      <a:lnTo>
                        <a:pt x="246" y="402"/>
                      </a:lnTo>
                      <a:lnTo>
                        <a:pt x="240" y="408"/>
                      </a:lnTo>
                      <a:lnTo>
                        <a:pt x="234" y="408"/>
                      </a:lnTo>
                      <a:lnTo>
                        <a:pt x="234" y="414"/>
                      </a:lnTo>
                      <a:lnTo>
                        <a:pt x="240" y="420"/>
                      </a:lnTo>
                      <a:lnTo>
                        <a:pt x="252" y="420"/>
                      </a:lnTo>
                      <a:lnTo>
                        <a:pt x="252" y="474"/>
                      </a:lnTo>
                      <a:lnTo>
                        <a:pt x="240" y="474"/>
                      </a:lnTo>
                      <a:lnTo>
                        <a:pt x="228" y="480"/>
                      </a:lnTo>
                      <a:lnTo>
                        <a:pt x="192" y="540"/>
                      </a:lnTo>
                      <a:lnTo>
                        <a:pt x="180" y="552"/>
                      </a:lnTo>
                      <a:lnTo>
                        <a:pt x="168" y="552"/>
                      </a:lnTo>
                      <a:lnTo>
                        <a:pt x="162" y="558"/>
                      </a:lnTo>
                      <a:lnTo>
                        <a:pt x="150" y="564"/>
                      </a:lnTo>
                      <a:lnTo>
                        <a:pt x="144" y="576"/>
                      </a:lnTo>
                      <a:lnTo>
                        <a:pt x="132" y="588"/>
                      </a:lnTo>
                      <a:lnTo>
                        <a:pt x="126" y="600"/>
                      </a:lnTo>
                      <a:lnTo>
                        <a:pt x="120" y="606"/>
                      </a:lnTo>
                      <a:lnTo>
                        <a:pt x="84" y="624"/>
                      </a:lnTo>
                      <a:lnTo>
                        <a:pt x="66" y="624"/>
                      </a:lnTo>
                      <a:lnTo>
                        <a:pt x="54" y="630"/>
                      </a:lnTo>
                      <a:lnTo>
                        <a:pt x="48" y="630"/>
                      </a:lnTo>
                      <a:lnTo>
                        <a:pt x="42" y="636"/>
                      </a:lnTo>
                      <a:lnTo>
                        <a:pt x="12" y="636"/>
                      </a:lnTo>
                      <a:lnTo>
                        <a:pt x="6" y="642"/>
                      </a:lnTo>
                      <a:lnTo>
                        <a:pt x="6" y="654"/>
                      </a:lnTo>
                      <a:lnTo>
                        <a:pt x="0" y="660"/>
                      </a:lnTo>
                      <a:lnTo>
                        <a:pt x="312" y="660"/>
                      </a:lnTo>
                      <a:lnTo>
                        <a:pt x="312" y="600"/>
                      </a:lnTo>
                      <a:lnTo>
                        <a:pt x="318" y="570"/>
                      </a:lnTo>
                      <a:lnTo>
                        <a:pt x="330" y="564"/>
                      </a:lnTo>
                      <a:lnTo>
                        <a:pt x="336" y="558"/>
                      </a:lnTo>
                      <a:lnTo>
                        <a:pt x="348" y="552"/>
                      </a:lnTo>
                      <a:lnTo>
                        <a:pt x="378" y="522"/>
                      </a:lnTo>
                      <a:lnTo>
                        <a:pt x="378" y="516"/>
                      </a:lnTo>
                      <a:lnTo>
                        <a:pt x="396" y="516"/>
                      </a:lnTo>
                      <a:lnTo>
                        <a:pt x="426" y="498"/>
                      </a:lnTo>
                      <a:lnTo>
                        <a:pt x="438" y="504"/>
                      </a:lnTo>
                      <a:lnTo>
                        <a:pt x="444" y="510"/>
                      </a:lnTo>
                      <a:lnTo>
                        <a:pt x="456" y="510"/>
                      </a:lnTo>
                      <a:lnTo>
                        <a:pt x="462" y="498"/>
                      </a:lnTo>
                      <a:lnTo>
                        <a:pt x="462" y="492"/>
                      </a:lnTo>
                      <a:lnTo>
                        <a:pt x="486" y="486"/>
                      </a:lnTo>
                      <a:lnTo>
                        <a:pt x="492" y="474"/>
                      </a:lnTo>
                      <a:lnTo>
                        <a:pt x="504" y="474"/>
                      </a:lnTo>
                      <a:lnTo>
                        <a:pt x="516" y="480"/>
                      </a:lnTo>
                      <a:lnTo>
                        <a:pt x="540" y="480"/>
                      </a:lnTo>
                      <a:lnTo>
                        <a:pt x="552" y="468"/>
                      </a:lnTo>
                      <a:lnTo>
                        <a:pt x="564" y="444"/>
                      </a:lnTo>
                      <a:lnTo>
                        <a:pt x="570" y="438"/>
                      </a:lnTo>
                      <a:lnTo>
                        <a:pt x="576" y="426"/>
                      </a:lnTo>
                      <a:lnTo>
                        <a:pt x="618" y="426"/>
                      </a:lnTo>
                      <a:lnTo>
                        <a:pt x="624" y="420"/>
                      </a:lnTo>
                      <a:lnTo>
                        <a:pt x="636" y="414"/>
                      </a:lnTo>
                      <a:lnTo>
                        <a:pt x="648" y="402"/>
                      </a:lnTo>
                      <a:lnTo>
                        <a:pt x="648" y="396"/>
                      </a:lnTo>
                      <a:lnTo>
                        <a:pt x="672" y="384"/>
                      </a:lnTo>
                      <a:lnTo>
                        <a:pt x="660" y="366"/>
                      </a:lnTo>
                      <a:lnTo>
                        <a:pt x="654" y="354"/>
                      </a:lnTo>
                      <a:lnTo>
                        <a:pt x="648" y="348"/>
                      </a:lnTo>
                      <a:lnTo>
                        <a:pt x="648" y="336"/>
                      </a:lnTo>
                      <a:lnTo>
                        <a:pt x="654" y="330"/>
                      </a:lnTo>
                      <a:lnTo>
                        <a:pt x="678" y="330"/>
                      </a:lnTo>
                      <a:lnTo>
                        <a:pt x="690" y="324"/>
                      </a:lnTo>
                      <a:lnTo>
                        <a:pt x="714" y="324"/>
                      </a:lnTo>
                      <a:lnTo>
                        <a:pt x="714" y="312"/>
                      </a:lnTo>
                      <a:lnTo>
                        <a:pt x="720" y="306"/>
                      </a:lnTo>
                      <a:lnTo>
                        <a:pt x="720" y="300"/>
                      </a:lnTo>
                      <a:lnTo>
                        <a:pt x="732" y="300"/>
                      </a:lnTo>
                      <a:lnTo>
                        <a:pt x="738" y="306"/>
                      </a:lnTo>
                      <a:lnTo>
                        <a:pt x="744" y="300"/>
                      </a:lnTo>
                      <a:lnTo>
                        <a:pt x="744" y="294"/>
                      </a:lnTo>
                      <a:lnTo>
                        <a:pt x="762" y="294"/>
                      </a:lnTo>
                      <a:lnTo>
                        <a:pt x="774" y="300"/>
                      </a:lnTo>
                      <a:lnTo>
                        <a:pt x="828" y="294"/>
                      </a:lnTo>
                      <a:lnTo>
                        <a:pt x="828" y="282"/>
                      </a:lnTo>
                      <a:lnTo>
                        <a:pt x="846" y="264"/>
                      </a:lnTo>
                      <a:lnTo>
                        <a:pt x="822" y="246"/>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587" name="Mongolia"/>
                <p:cNvSpPr>
                  <a:spLocks/>
                </p:cNvSpPr>
                <p:nvPr/>
              </p:nvSpPr>
              <p:spPr bwMode="gray">
                <a:xfrm>
                  <a:off x="4073" y="1240"/>
                  <a:ext cx="537" cy="213"/>
                </a:xfrm>
                <a:custGeom>
                  <a:avLst/>
                  <a:gdLst>
                    <a:gd name="T0" fmla="*/ 2147483647 w 2100"/>
                    <a:gd name="T1" fmla="*/ 2147483647 h 834"/>
                    <a:gd name="T2" fmla="*/ 2147483647 w 2100"/>
                    <a:gd name="T3" fmla="*/ 2147483647 h 834"/>
                    <a:gd name="T4" fmla="*/ 2147483647 w 2100"/>
                    <a:gd name="T5" fmla="*/ 2147483647 h 834"/>
                    <a:gd name="T6" fmla="*/ 2147483647 w 2100"/>
                    <a:gd name="T7" fmla="*/ 2147483647 h 834"/>
                    <a:gd name="T8" fmla="*/ 2147483647 w 2100"/>
                    <a:gd name="T9" fmla="*/ 2147483647 h 834"/>
                    <a:gd name="T10" fmla="*/ 2147483647 w 2100"/>
                    <a:gd name="T11" fmla="*/ 2147483647 h 834"/>
                    <a:gd name="T12" fmla="*/ 2147483647 w 2100"/>
                    <a:gd name="T13" fmla="*/ 2147483647 h 834"/>
                    <a:gd name="T14" fmla="*/ 2147483647 w 2100"/>
                    <a:gd name="T15" fmla="*/ 2147483647 h 834"/>
                    <a:gd name="T16" fmla="*/ 2147483647 w 2100"/>
                    <a:gd name="T17" fmla="*/ 2147483647 h 834"/>
                    <a:gd name="T18" fmla="*/ 2147483647 w 2100"/>
                    <a:gd name="T19" fmla="*/ 2147483647 h 834"/>
                    <a:gd name="T20" fmla="*/ 2147483647 w 2100"/>
                    <a:gd name="T21" fmla="*/ 2147483647 h 834"/>
                    <a:gd name="T22" fmla="*/ 2147483647 w 2100"/>
                    <a:gd name="T23" fmla="*/ 2147483647 h 834"/>
                    <a:gd name="T24" fmla="*/ 2147483647 w 2100"/>
                    <a:gd name="T25" fmla="*/ 2147483647 h 834"/>
                    <a:gd name="T26" fmla="*/ 2147483647 w 2100"/>
                    <a:gd name="T27" fmla="*/ 2147483647 h 834"/>
                    <a:gd name="T28" fmla="*/ 2147483647 w 2100"/>
                    <a:gd name="T29" fmla="*/ 2147483647 h 834"/>
                    <a:gd name="T30" fmla="*/ 2147483647 w 2100"/>
                    <a:gd name="T31" fmla="*/ 2147483647 h 834"/>
                    <a:gd name="T32" fmla="*/ 2147483647 w 2100"/>
                    <a:gd name="T33" fmla="*/ 2147483647 h 834"/>
                    <a:gd name="T34" fmla="*/ 2147483647 w 2100"/>
                    <a:gd name="T35" fmla="*/ 2147483647 h 834"/>
                    <a:gd name="T36" fmla="*/ 2147483647 w 2100"/>
                    <a:gd name="T37" fmla="*/ 2147483647 h 834"/>
                    <a:gd name="T38" fmla="*/ 2147483647 w 2100"/>
                    <a:gd name="T39" fmla="*/ 2147483647 h 834"/>
                    <a:gd name="T40" fmla="*/ 2147483647 w 2100"/>
                    <a:gd name="T41" fmla="*/ 2147483647 h 834"/>
                    <a:gd name="T42" fmla="*/ 2147483647 w 2100"/>
                    <a:gd name="T43" fmla="*/ 2147483647 h 834"/>
                    <a:gd name="T44" fmla="*/ 2147483647 w 2100"/>
                    <a:gd name="T45" fmla="*/ 2147483647 h 834"/>
                    <a:gd name="T46" fmla="*/ 2147483647 w 2100"/>
                    <a:gd name="T47" fmla="*/ 2147483647 h 834"/>
                    <a:gd name="T48" fmla="*/ 2147483647 w 2100"/>
                    <a:gd name="T49" fmla="*/ 2147483647 h 834"/>
                    <a:gd name="T50" fmla="*/ 2147483647 w 2100"/>
                    <a:gd name="T51" fmla="*/ 2147483647 h 834"/>
                    <a:gd name="T52" fmla="*/ 2147483647 w 2100"/>
                    <a:gd name="T53" fmla="*/ 2147483647 h 834"/>
                    <a:gd name="T54" fmla="*/ 2147483647 w 2100"/>
                    <a:gd name="T55" fmla="*/ 2147483647 h 834"/>
                    <a:gd name="T56" fmla="*/ 2147483647 w 2100"/>
                    <a:gd name="T57" fmla="*/ 2147483647 h 834"/>
                    <a:gd name="T58" fmla="*/ 2147483647 w 2100"/>
                    <a:gd name="T59" fmla="*/ 2147483647 h 834"/>
                    <a:gd name="T60" fmla="*/ 2147483647 w 2100"/>
                    <a:gd name="T61" fmla="*/ 2147483647 h 834"/>
                    <a:gd name="T62" fmla="*/ 0 w 2100"/>
                    <a:gd name="T63" fmla="*/ 2147483647 h 834"/>
                    <a:gd name="T64" fmla="*/ 2147483647 w 2100"/>
                    <a:gd name="T65" fmla="*/ 2147483647 h 834"/>
                    <a:gd name="T66" fmla="*/ 2147483647 w 2100"/>
                    <a:gd name="T67" fmla="*/ 2147483647 h 834"/>
                    <a:gd name="T68" fmla="*/ 2147483647 w 2100"/>
                    <a:gd name="T69" fmla="*/ 2147483647 h 834"/>
                    <a:gd name="T70" fmla="*/ 2147483647 w 2100"/>
                    <a:gd name="T71" fmla="*/ 2147483647 h 834"/>
                    <a:gd name="T72" fmla="*/ 2147483647 w 2100"/>
                    <a:gd name="T73" fmla="*/ 2147483647 h 834"/>
                    <a:gd name="T74" fmla="*/ 2147483647 w 2100"/>
                    <a:gd name="T75" fmla="*/ 2147483647 h 834"/>
                    <a:gd name="T76" fmla="*/ 2147483647 w 2100"/>
                    <a:gd name="T77" fmla="*/ 2147483647 h 834"/>
                    <a:gd name="T78" fmla="*/ 2147483647 w 2100"/>
                    <a:gd name="T79" fmla="*/ 2147483647 h 834"/>
                    <a:gd name="T80" fmla="*/ 2147483647 w 2100"/>
                    <a:gd name="T81" fmla="*/ 2147483647 h 834"/>
                    <a:gd name="T82" fmla="*/ 2147483647 w 2100"/>
                    <a:gd name="T83" fmla="*/ 2147483647 h 834"/>
                    <a:gd name="T84" fmla="*/ 2147483647 w 2100"/>
                    <a:gd name="T85" fmla="*/ 2147483647 h 834"/>
                    <a:gd name="T86" fmla="*/ 2147483647 w 2100"/>
                    <a:gd name="T87" fmla="*/ 2147483647 h 834"/>
                    <a:gd name="T88" fmla="*/ 2147483647 w 2100"/>
                    <a:gd name="T89" fmla="*/ 2147483647 h 834"/>
                    <a:gd name="T90" fmla="*/ 2147483647 w 2100"/>
                    <a:gd name="T91" fmla="*/ 2147483647 h 834"/>
                    <a:gd name="T92" fmla="*/ 2147483647 w 2100"/>
                    <a:gd name="T93" fmla="*/ 2147483647 h 834"/>
                    <a:gd name="T94" fmla="*/ 2147483647 w 2100"/>
                    <a:gd name="T95" fmla="*/ 2147483647 h 834"/>
                    <a:gd name="T96" fmla="*/ 2147483647 w 2100"/>
                    <a:gd name="T97" fmla="*/ 2147483647 h 834"/>
                    <a:gd name="T98" fmla="*/ 2147483647 w 2100"/>
                    <a:gd name="T99" fmla="*/ 2147483647 h 834"/>
                    <a:gd name="T100" fmla="*/ 2147483647 w 2100"/>
                    <a:gd name="T101" fmla="*/ 2147483647 h 834"/>
                    <a:gd name="T102" fmla="*/ 2147483647 w 2100"/>
                    <a:gd name="T103" fmla="*/ 2147483647 h 834"/>
                    <a:gd name="T104" fmla="*/ 2147483647 w 2100"/>
                    <a:gd name="T105" fmla="*/ 2147483647 h 834"/>
                    <a:gd name="T106" fmla="*/ 2147483647 w 2100"/>
                    <a:gd name="T107" fmla="*/ 2147483647 h 834"/>
                    <a:gd name="T108" fmla="*/ 2147483647 w 2100"/>
                    <a:gd name="T109" fmla="*/ 2147483647 h 834"/>
                    <a:gd name="T110" fmla="*/ 2147483647 w 2100"/>
                    <a:gd name="T111" fmla="*/ 2147483647 h 834"/>
                    <a:gd name="T112" fmla="*/ 2147483647 w 2100"/>
                    <a:gd name="T113" fmla="*/ 2147483647 h 834"/>
                    <a:gd name="T114" fmla="*/ 2147483647 w 2100"/>
                    <a:gd name="T115" fmla="*/ 2147483647 h 834"/>
                    <a:gd name="T116" fmla="*/ 2147483647 w 2100"/>
                    <a:gd name="T117" fmla="*/ 2147483647 h 834"/>
                    <a:gd name="T118" fmla="*/ 2147483647 w 2100"/>
                    <a:gd name="T119" fmla="*/ 2147483647 h 834"/>
                    <a:gd name="T120" fmla="*/ 2147483647 w 2100"/>
                    <a:gd name="T121" fmla="*/ 2147483647 h 834"/>
                    <a:gd name="T122" fmla="*/ 2147483647 w 2100"/>
                    <a:gd name="T123" fmla="*/ 2147483647 h 83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100"/>
                    <a:gd name="T187" fmla="*/ 0 h 834"/>
                    <a:gd name="T188" fmla="*/ 2100 w 2100"/>
                    <a:gd name="T189" fmla="*/ 834 h 83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100" h="834">
                      <a:moveTo>
                        <a:pt x="2088" y="408"/>
                      </a:moveTo>
                      <a:lnTo>
                        <a:pt x="2076" y="396"/>
                      </a:lnTo>
                      <a:lnTo>
                        <a:pt x="2070" y="384"/>
                      </a:lnTo>
                      <a:lnTo>
                        <a:pt x="2058" y="384"/>
                      </a:lnTo>
                      <a:lnTo>
                        <a:pt x="2034" y="372"/>
                      </a:lnTo>
                      <a:lnTo>
                        <a:pt x="2022" y="360"/>
                      </a:lnTo>
                      <a:lnTo>
                        <a:pt x="2010" y="354"/>
                      </a:lnTo>
                      <a:lnTo>
                        <a:pt x="2004" y="348"/>
                      </a:lnTo>
                      <a:lnTo>
                        <a:pt x="1986" y="348"/>
                      </a:lnTo>
                      <a:lnTo>
                        <a:pt x="1974" y="342"/>
                      </a:lnTo>
                      <a:lnTo>
                        <a:pt x="1968" y="336"/>
                      </a:lnTo>
                      <a:lnTo>
                        <a:pt x="1968" y="324"/>
                      </a:lnTo>
                      <a:lnTo>
                        <a:pt x="1902" y="324"/>
                      </a:lnTo>
                      <a:lnTo>
                        <a:pt x="1902" y="348"/>
                      </a:lnTo>
                      <a:lnTo>
                        <a:pt x="1896" y="354"/>
                      </a:lnTo>
                      <a:lnTo>
                        <a:pt x="1890" y="354"/>
                      </a:lnTo>
                      <a:lnTo>
                        <a:pt x="1878" y="348"/>
                      </a:lnTo>
                      <a:lnTo>
                        <a:pt x="1866" y="336"/>
                      </a:lnTo>
                      <a:lnTo>
                        <a:pt x="1812" y="336"/>
                      </a:lnTo>
                      <a:lnTo>
                        <a:pt x="1806" y="342"/>
                      </a:lnTo>
                      <a:lnTo>
                        <a:pt x="1812" y="342"/>
                      </a:lnTo>
                      <a:lnTo>
                        <a:pt x="1812" y="348"/>
                      </a:lnTo>
                      <a:lnTo>
                        <a:pt x="1794" y="348"/>
                      </a:lnTo>
                      <a:lnTo>
                        <a:pt x="1788" y="342"/>
                      </a:lnTo>
                      <a:lnTo>
                        <a:pt x="1776" y="336"/>
                      </a:lnTo>
                      <a:lnTo>
                        <a:pt x="1770" y="324"/>
                      </a:lnTo>
                      <a:lnTo>
                        <a:pt x="1770" y="306"/>
                      </a:lnTo>
                      <a:lnTo>
                        <a:pt x="1776" y="306"/>
                      </a:lnTo>
                      <a:lnTo>
                        <a:pt x="1770" y="294"/>
                      </a:lnTo>
                      <a:lnTo>
                        <a:pt x="1764" y="270"/>
                      </a:lnTo>
                      <a:lnTo>
                        <a:pt x="1758" y="258"/>
                      </a:lnTo>
                      <a:lnTo>
                        <a:pt x="1758" y="174"/>
                      </a:lnTo>
                      <a:lnTo>
                        <a:pt x="1740" y="174"/>
                      </a:lnTo>
                      <a:lnTo>
                        <a:pt x="1716" y="168"/>
                      </a:lnTo>
                      <a:lnTo>
                        <a:pt x="1710" y="174"/>
                      </a:lnTo>
                      <a:lnTo>
                        <a:pt x="1698" y="180"/>
                      </a:lnTo>
                      <a:lnTo>
                        <a:pt x="1674" y="180"/>
                      </a:lnTo>
                      <a:lnTo>
                        <a:pt x="1662" y="174"/>
                      </a:lnTo>
                      <a:lnTo>
                        <a:pt x="1644" y="156"/>
                      </a:lnTo>
                      <a:lnTo>
                        <a:pt x="1608" y="156"/>
                      </a:lnTo>
                      <a:lnTo>
                        <a:pt x="1596" y="150"/>
                      </a:lnTo>
                      <a:lnTo>
                        <a:pt x="1578" y="150"/>
                      </a:lnTo>
                      <a:lnTo>
                        <a:pt x="1548" y="180"/>
                      </a:lnTo>
                      <a:lnTo>
                        <a:pt x="1548" y="192"/>
                      </a:lnTo>
                      <a:lnTo>
                        <a:pt x="1536" y="204"/>
                      </a:lnTo>
                      <a:lnTo>
                        <a:pt x="1500" y="204"/>
                      </a:lnTo>
                      <a:lnTo>
                        <a:pt x="1488" y="216"/>
                      </a:lnTo>
                      <a:lnTo>
                        <a:pt x="1440" y="216"/>
                      </a:lnTo>
                      <a:lnTo>
                        <a:pt x="1440" y="222"/>
                      </a:lnTo>
                      <a:lnTo>
                        <a:pt x="1422" y="240"/>
                      </a:lnTo>
                      <a:lnTo>
                        <a:pt x="1416" y="240"/>
                      </a:lnTo>
                      <a:lnTo>
                        <a:pt x="1416" y="234"/>
                      </a:lnTo>
                      <a:lnTo>
                        <a:pt x="1410" y="228"/>
                      </a:lnTo>
                      <a:lnTo>
                        <a:pt x="1392" y="228"/>
                      </a:lnTo>
                      <a:lnTo>
                        <a:pt x="1380" y="234"/>
                      </a:lnTo>
                      <a:lnTo>
                        <a:pt x="1356" y="234"/>
                      </a:lnTo>
                      <a:lnTo>
                        <a:pt x="1344" y="228"/>
                      </a:lnTo>
                      <a:lnTo>
                        <a:pt x="1338" y="228"/>
                      </a:lnTo>
                      <a:lnTo>
                        <a:pt x="1332" y="222"/>
                      </a:lnTo>
                      <a:lnTo>
                        <a:pt x="1266" y="222"/>
                      </a:lnTo>
                      <a:lnTo>
                        <a:pt x="1260" y="216"/>
                      </a:lnTo>
                      <a:lnTo>
                        <a:pt x="1260" y="204"/>
                      </a:lnTo>
                      <a:lnTo>
                        <a:pt x="1248" y="198"/>
                      </a:lnTo>
                      <a:lnTo>
                        <a:pt x="1230" y="198"/>
                      </a:lnTo>
                      <a:lnTo>
                        <a:pt x="1230" y="192"/>
                      </a:lnTo>
                      <a:lnTo>
                        <a:pt x="1218" y="180"/>
                      </a:lnTo>
                      <a:lnTo>
                        <a:pt x="1218" y="174"/>
                      </a:lnTo>
                      <a:lnTo>
                        <a:pt x="1212" y="168"/>
                      </a:lnTo>
                      <a:lnTo>
                        <a:pt x="1152" y="168"/>
                      </a:lnTo>
                      <a:lnTo>
                        <a:pt x="1128" y="144"/>
                      </a:lnTo>
                      <a:lnTo>
                        <a:pt x="1092" y="144"/>
                      </a:lnTo>
                      <a:lnTo>
                        <a:pt x="1086" y="138"/>
                      </a:lnTo>
                      <a:lnTo>
                        <a:pt x="1080" y="138"/>
                      </a:lnTo>
                      <a:lnTo>
                        <a:pt x="1068" y="132"/>
                      </a:lnTo>
                      <a:lnTo>
                        <a:pt x="1020" y="132"/>
                      </a:lnTo>
                      <a:lnTo>
                        <a:pt x="966" y="150"/>
                      </a:lnTo>
                      <a:lnTo>
                        <a:pt x="954" y="156"/>
                      </a:lnTo>
                      <a:lnTo>
                        <a:pt x="942" y="156"/>
                      </a:lnTo>
                      <a:lnTo>
                        <a:pt x="930" y="150"/>
                      </a:lnTo>
                      <a:lnTo>
                        <a:pt x="918" y="150"/>
                      </a:lnTo>
                      <a:lnTo>
                        <a:pt x="912" y="144"/>
                      </a:lnTo>
                      <a:lnTo>
                        <a:pt x="882" y="144"/>
                      </a:lnTo>
                      <a:lnTo>
                        <a:pt x="864" y="126"/>
                      </a:lnTo>
                      <a:lnTo>
                        <a:pt x="864" y="120"/>
                      </a:lnTo>
                      <a:lnTo>
                        <a:pt x="840" y="126"/>
                      </a:lnTo>
                      <a:lnTo>
                        <a:pt x="840" y="120"/>
                      </a:lnTo>
                      <a:lnTo>
                        <a:pt x="834" y="114"/>
                      </a:lnTo>
                      <a:lnTo>
                        <a:pt x="822" y="90"/>
                      </a:lnTo>
                      <a:lnTo>
                        <a:pt x="810" y="78"/>
                      </a:lnTo>
                      <a:lnTo>
                        <a:pt x="804" y="66"/>
                      </a:lnTo>
                      <a:lnTo>
                        <a:pt x="798" y="60"/>
                      </a:lnTo>
                      <a:lnTo>
                        <a:pt x="786" y="54"/>
                      </a:lnTo>
                      <a:lnTo>
                        <a:pt x="768" y="54"/>
                      </a:lnTo>
                      <a:lnTo>
                        <a:pt x="756" y="60"/>
                      </a:lnTo>
                      <a:lnTo>
                        <a:pt x="750" y="60"/>
                      </a:lnTo>
                      <a:lnTo>
                        <a:pt x="726" y="48"/>
                      </a:lnTo>
                      <a:lnTo>
                        <a:pt x="720" y="42"/>
                      </a:lnTo>
                      <a:lnTo>
                        <a:pt x="708" y="36"/>
                      </a:lnTo>
                      <a:lnTo>
                        <a:pt x="672" y="36"/>
                      </a:lnTo>
                      <a:lnTo>
                        <a:pt x="648" y="30"/>
                      </a:lnTo>
                      <a:lnTo>
                        <a:pt x="636" y="30"/>
                      </a:lnTo>
                      <a:lnTo>
                        <a:pt x="576" y="0"/>
                      </a:lnTo>
                      <a:lnTo>
                        <a:pt x="576" y="18"/>
                      </a:lnTo>
                      <a:lnTo>
                        <a:pt x="570" y="30"/>
                      </a:lnTo>
                      <a:lnTo>
                        <a:pt x="558" y="36"/>
                      </a:lnTo>
                      <a:lnTo>
                        <a:pt x="552" y="36"/>
                      </a:lnTo>
                      <a:lnTo>
                        <a:pt x="558" y="48"/>
                      </a:lnTo>
                      <a:lnTo>
                        <a:pt x="540" y="48"/>
                      </a:lnTo>
                      <a:lnTo>
                        <a:pt x="540" y="60"/>
                      </a:lnTo>
                      <a:lnTo>
                        <a:pt x="552" y="72"/>
                      </a:lnTo>
                      <a:lnTo>
                        <a:pt x="558" y="90"/>
                      </a:lnTo>
                      <a:lnTo>
                        <a:pt x="582" y="126"/>
                      </a:lnTo>
                      <a:lnTo>
                        <a:pt x="588" y="126"/>
                      </a:lnTo>
                      <a:lnTo>
                        <a:pt x="594" y="132"/>
                      </a:lnTo>
                      <a:lnTo>
                        <a:pt x="600" y="144"/>
                      </a:lnTo>
                      <a:lnTo>
                        <a:pt x="600" y="168"/>
                      </a:lnTo>
                      <a:lnTo>
                        <a:pt x="582" y="168"/>
                      </a:lnTo>
                      <a:lnTo>
                        <a:pt x="582" y="174"/>
                      </a:lnTo>
                      <a:lnTo>
                        <a:pt x="576" y="180"/>
                      </a:lnTo>
                      <a:lnTo>
                        <a:pt x="552" y="192"/>
                      </a:lnTo>
                      <a:lnTo>
                        <a:pt x="546" y="186"/>
                      </a:lnTo>
                      <a:lnTo>
                        <a:pt x="546" y="174"/>
                      </a:lnTo>
                      <a:lnTo>
                        <a:pt x="498" y="180"/>
                      </a:lnTo>
                      <a:lnTo>
                        <a:pt x="498" y="168"/>
                      </a:lnTo>
                      <a:lnTo>
                        <a:pt x="456" y="168"/>
                      </a:lnTo>
                      <a:lnTo>
                        <a:pt x="450" y="174"/>
                      </a:lnTo>
                      <a:lnTo>
                        <a:pt x="450" y="180"/>
                      </a:lnTo>
                      <a:lnTo>
                        <a:pt x="444" y="168"/>
                      </a:lnTo>
                      <a:lnTo>
                        <a:pt x="420" y="174"/>
                      </a:lnTo>
                      <a:lnTo>
                        <a:pt x="414" y="162"/>
                      </a:lnTo>
                      <a:lnTo>
                        <a:pt x="384" y="162"/>
                      </a:lnTo>
                      <a:lnTo>
                        <a:pt x="366" y="156"/>
                      </a:lnTo>
                      <a:lnTo>
                        <a:pt x="360" y="150"/>
                      </a:lnTo>
                      <a:lnTo>
                        <a:pt x="360" y="138"/>
                      </a:lnTo>
                      <a:lnTo>
                        <a:pt x="354" y="132"/>
                      </a:lnTo>
                      <a:lnTo>
                        <a:pt x="354" y="126"/>
                      </a:lnTo>
                      <a:lnTo>
                        <a:pt x="312" y="126"/>
                      </a:lnTo>
                      <a:lnTo>
                        <a:pt x="294" y="132"/>
                      </a:lnTo>
                      <a:lnTo>
                        <a:pt x="270" y="132"/>
                      </a:lnTo>
                      <a:lnTo>
                        <a:pt x="264" y="114"/>
                      </a:lnTo>
                      <a:lnTo>
                        <a:pt x="228" y="114"/>
                      </a:lnTo>
                      <a:lnTo>
                        <a:pt x="228" y="108"/>
                      </a:lnTo>
                      <a:lnTo>
                        <a:pt x="210" y="114"/>
                      </a:lnTo>
                      <a:lnTo>
                        <a:pt x="204" y="108"/>
                      </a:lnTo>
                      <a:lnTo>
                        <a:pt x="186" y="108"/>
                      </a:lnTo>
                      <a:lnTo>
                        <a:pt x="180" y="114"/>
                      </a:lnTo>
                      <a:lnTo>
                        <a:pt x="180" y="120"/>
                      </a:lnTo>
                      <a:lnTo>
                        <a:pt x="174" y="126"/>
                      </a:lnTo>
                      <a:lnTo>
                        <a:pt x="174" y="132"/>
                      </a:lnTo>
                      <a:lnTo>
                        <a:pt x="150" y="132"/>
                      </a:lnTo>
                      <a:lnTo>
                        <a:pt x="138" y="150"/>
                      </a:lnTo>
                      <a:lnTo>
                        <a:pt x="120" y="150"/>
                      </a:lnTo>
                      <a:lnTo>
                        <a:pt x="84" y="186"/>
                      </a:lnTo>
                      <a:lnTo>
                        <a:pt x="84" y="192"/>
                      </a:lnTo>
                      <a:lnTo>
                        <a:pt x="90" y="198"/>
                      </a:lnTo>
                      <a:lnTo>
                        <a:pt x="66" y="198"/>
                      </a:lnTo>
                      <a:lnTo>
                        <a:pt x="72" y="210"/>
                      </a:lnTo>
                      <a:lnTo>
                        <a:pt x="12" y="210"/>
                      </a:lnTo>
                      <a:lnTo>
                        <a:pt x="12" y="228"/>
                      </a:lnTo>
                      <a:lnTo>
                        <a:pt x="0" y="240"/>
                      </a:lnTo>
                      <a:lnTo>
                        <a:pt x="6" y="246"/>
                      </a:lnTo>
                      <a:lnTo>
                        <a:pt x="6" y="258"/>
                      </a:lnTo>
                      <a:lnTo>
                        <a:pt x="0" y="264"/>
                      </a:lnTo>
                      <a:lnTo>
                        <a:pt x="24" y="264"/>
                      </a:lnTo>
                      <a:lnTo>
                        <a:pt x="24" y="282"/>
                      </a:lnTo>
                      <a:lnTo>
                        <a:pt x="36" y="288"/>
                      </a:lnTo>
                      <a:lnTo>
                        <a:pt x="48" y="288"/>
                      </a:lnTo>
                      <a:lnTo>
                        <a:pt x="60" y="294"/>
                      </a:lnTo>
                      <a:lnTo>
                        <a:pt x="72" y="294"/>
                      </a:lnTo>
                      <a:lnTo>
                        <a:pt x="78" y="306"/>
                      </a:lnTo>
                      <a:lnTo>
                        <a:pt x="102" y="330"/>
                      </a:lnTo>
                      <a:lnTo>
                        <a:pt x="138" y="318"/>
                      </a:lnTo>
                      <a:lnTo>
                        <a:pt x="156" y="330"/>
                      </a:lnTo>
                      <a:lnTo>
                        <a:pt x="162" y="336"/>
                      </a:lnTo>
                      <a:lnTo>
                        <a:pt x="174" y="336"/>
                      </a:lnTo>
                      <a:lnTo>
                        <a:pt x="186" y="342"/>
                      </a:lnTo>
                      <a:lnTo>
                        <a:pt x="204" y="348"/>
                      </a:lnTo>
                      <a:lnTo>
                        <a:pt x="222" y="366"/>
                      </a:lnTo>
                      <a:lnTo>
                        <a:pt x="228" y="378"/>
                      </a:lnTo>
                      <a:lnTo>
                        <a:pt x="240" y="396"/>
                      </a:lnTo>
                      <a:lnTo>
                        <a:pt x="264" y="414"/>
                      </a:lnTo>
                      <a:lnTo>
                        <a:pt x="276" y="426"/>
                      </a:lnTo>
                      <a:lnTo>
                        <a:pt x="282" y="438"/>
                      </a:lnTo>
                      <a:lnTo>
                        <a:pt x="282" y="450"/>
                      </a:lnTo>
                      <a:lnTo>
                        <a:pt x="288" y="456"/>
                      </a:lnTo>
                      <a:lnTo>
                        <a:pt x="294" y="468"/>
                      </a:lnTo>
                      <a:lnTo>
                        <a:pt x="300" y="474"/>
                      </a:lnTo>
                      <a:lnTo>
                        <a:pt x="300" y="480"/>
                      </a:lnTo>
                      <a:lnTo>
                        <a:pt x="288" y="492"/>
                      </a:lnTo>
                      <a:lnTo>
                        <a:pt x="288" y="504"/>
                      </a:lnTo>
                      <a:lnTo>
                        <a:pt x="294" y="522"/>
                      </a:lnTo>
                      <a:lnTo>
                        <a:pt x="300" y="534"/>
                      </a:lnTo>
                      <a:lnTo>
                        <a:pt x="306" y="540"/>
                      </a:lnTo>
                      <a:lnTo>
                        <a:pt x="318" y="546"/>
                      </a:lnTo>
                      <a:lnTo>
                        <a:pt x="330" y="546"/>
                      </a:lnTo>
                      <a:lnTo>
                        <a:pt x="342" y="552"/>
                      </a:lnTo>
                      <a:lnTo>
                        <a:pt x="348" y="552"/>
                      </a:lnTo>
                      <a:lnTo>
                        <a:pt x="366" y="558"/>
                      </a:lnTo>
                      <a:lnTo>
                        <a:pt x="390" y="564"/>
                      </a:lnTo>
                      <a:lnTo>
                        <a:pt x="486" y="564"/>
                      </a:lnTo>
                      <a:lnTo>
                        <a:pt x="492" y="570"/>
                      </a:lnTo>
                      <a:lnTo>
                        <a:pt x="498" y="570"/>
                      </a:lnTo>
                      <a:lnTo>
                        <a:pt x="510" y="576"/>
                      </a:lnTo>
                      <a:lnTo>
                        <a:pt x="516" y="576"/>
                      </a:lnTo>
                      <a:lnTo>
                        <a:pt x="528" y="582"/>
                      </a:lnTo>
                      <a:lnTo>
                        <a:pt x="534" y="594"/>
                      </a:lnTo>
                      <a:lnTo>
                        <a:pt x="540" y="594"/>
                      </a:lnTo>
                      <a:lnTo>
                        <a:pt x="546" y="600"/>
                      </a:lnTo>
                      <a:lnTo>
                        <a:pt x="552" y="600"/>
                      </a:lnTo>
                      <a:lnTo>
                        <a:pt x="576" y="612"/>
                      </a:lnTo>
                      <a:lnTo>
                        <a:pt x="588" y="612"/>
                      </a:lnTo>
                      <a:lnTo>
                        <a:pt x="594" y="618"/>
                      </a:lnTo>
                      <a:lnTo>
                        <a:pt x="630" y="618"/>
                      </a:lnTo>
                      <a:lnTo>
                        <a:pt x="642" y="642"/>
                      </a:lnTo>
                      <a:lnTo>
                        <a:pt x="684" y="684"/>
                      </a:lnTo>
                      <a:lnTo>
                        <a:pt x="690" y="696"/>
                      </a:lnTo>
                      <a:lnTo>
                        <a:pt x="720" y="726"/>
                      </a:lnTo>
                      <a:lnTo>
                        <a:pt x="732" y="732"/>
                      </a:lnTo>
                      <a:lnTo>
                        <a:pt x="738" y="744"/>
                      </a:lnTo>
                      <a:lnTo>
                        <a:pt x="750" y="750"/>
                      </a:lnTo>
                      <a:lnTo>
                        <a:pt x="810" y="744"/>
                      </a:lnTo>
                      <a:lnTo>
                        <a:pt x="864" y="750"/>
                      </a:lnTo>
                      <a:lnTo>
                        <a:pt x="912" y="750"/>
                      </a:lnTo>
                      <a:lnTo>
                        <a:pt x="948" y="756"/>
                      </a:lnTo>
                      <a:lnTo>
                        <a:pt x="954" y="750"/>
                      </a:lnTo>
                      <a:lnTo>
                        <a:pt x="966" y="744"/>
                      </a:lnTo>
                      <a:lnTo>
                        <a:pt x="972" y="738"/>
                      </a:lnTo>
                      <a:lnTo>
                        <a:pt x="984" y="738"/>
                      </a:lnTo>
                      <a:lnTo>
                        <a:pt x="996" y="744"/>
                      </a:lnTo>
                      <a:lnTo>
                        <a:pt x="1002" y="744"/>
                      </a:lnTo>
                      <a:lnTo>
                        <a:pt x="1008" y="750"/>
                      </a:lnTo>
                      <a:lnTo>
                        <a:pt x="1062" y="750"/>
                      </a:lnTo>
                      <a:lnTo>
                        <a:pt x="1080" y="756"/>
                      </a:lnTo>
                      <a:lnTo>
                        <a:pt x="1092" y="756"/>
                      </a:lnTo>
                      <a:lnTo>
                        <a:pt x="1110" y="774"/>
                      </a:lnTo>
                      <a:lnTo>
                        <a:pt x="1116" y="786"/>
                      </a:lnTo>
                      <a:lnTo>
                        <a:pt x="1128" y="792"/>
                      </a:lnTo>
                      <a:lnTo>
                        <a:pt x="1152" y="798"/>
                      </a:lnTo>
                      <a:lnTo>
                        <a:pt x="1200" y="798"/>
                      </a:lnTo>
                      <a:lnTo>
                        <a:pt x="1218" y="804"/>
                      </a:lnTo>
                      <a:lnTo>
                        <a:pt x="1242" y="816"/>
                      </a:lnTo>
                      <a:lnTo>
                        <a:pt x="1248" y="822"/>
                      </a:lnTo>
                      <a:lnTo>
                        <a:pt x="1260" y="822"/>
                      </a:lnTo>
                      <a:lnTo>
                        <a:pt x="1266" y="816"/>
                      </a:lnTo>
                      <a:lnTo>
                        <a:pt x="1278" y="816"/>
                      </a:lnTo>
                      <a:lnTo>
                        <a:pt x="1290" y="810"/>
                      </a:lnTo>
                      <a:lnTo>
                        <a:pt x="1302" y="810"/>
                      </a:lnTo>
                      <a:lnTo>
                        <a:pt x="1302" y="816"/>
                      </a:lnTo>
                      <a:lnTo>
                        <a:pt x="1308" y="828"/>
                      </a:lnTo>
                      <a:lnTo>
                        <a:pt x="1314" y="828"/>
                      </a:lnTo>
                      <a:lnTo>
                        <a:pt x="1320" y="834"/>
                      </a:lnTo>
                      <a:lnTo>
                        <a:pt x="1338" y="834"/>
                      </a:lnTo>
                      <a:lnTo>
                        <a:pt x="1344" y="828"/>
                      </a:lnTo>
                      <a:lnTo>
                        <a:pt x="1362" y="816"/>
                      </a:lnTo>
                      <a:lnTo>
                        <a:pt x="1422" y="780"/>
                      </a:lnTo>
                      <a:lnTo>
                        <a:pt x="1440" y="768"/>
                      </a:lnTo>
                      <a:lnTo>
                        <a:pt x="1596" y="768"/>
                      </a:lnTo>
                      <a:lnTo>
                        <a:pt x="1614" y="744"/>
                      </a:lnTo>
                      <a:lnTo>
                        <a:pt x="1638" y="744"/>
                      </a:lnTo>
                      <a:lnTo>
                        <a:pt x="1650" y="738"/>
                      </a:lnTo>
                      <a:lnTo>
                        <a:pt x="1662" y="714"/>
                      </a:lnTo>
                      <a:lnTo>
                        <a:pt x="1662" y="708"/>
                      </a:lnTo>
                      <a:lnTo>
                        <a:pt x="1668" y="696"/>
                      </a:lnTo>
                      <a:lnTo>
                        <a:pt x="1668" y="690"/>
                      </a:lnTo>
                      <a:lnTo>
                        <a:pt x="1692" y="690"/>
                      </a:lnTo>
                      <a:lnTo>
                        <a:pt x="1704" y="678"/>
                      </a:lnTo>
                      <a:lnTo>
                        <a:pt x="1710" y="666"/>
                      </a:lnTo>
                      <a:lnTo>
                        <a:pt x="1716" y="660"/>
                      </a:lnTo>
                      <a:lnTo>
                        <a:pt x="1716" y="654"/>
                      </a:lnTo>
                      <a:lnTo>
                        <a:pt x="1704" y="648"/>
                      </a:lnTo>
                      <a:lnTo>
                        <a:pt x="1686" y="630"/>
                      </a:lnTo>
                      <a:lnTo>
                        <a:pt x="1674" y="624"/>
                      </a:lnTo>
                      <a:lnTo>
                        <a:pt x="1656" y="606"/>
                      </a:lnTo>
                      <a:lnTo>
                        <a:pt x="1650" y="594"/>
                      </a:lnTo>
                      <a:lnTo>
                        <a:pt x="1650" y="582"/>
                      </a:lnTo>
                      <a:lnTo>
                        <a:pt x="1656" y="570"/>
                      </a:lnTo>
                      <a:lnTo>
                        <a:pt x="1656" y="558"/>
                      </a:lnTo>
                      <a:lnTo>
                        <a:pt x="1668" y="552"/>
                      </a:lnTo>
                      <a:lnTo>
                        <a:pt x="1692" y="552"/>
                      </a:lnTo>
                      <a:lnTo>
                        <a:pt x="1698" y="558"/>
                      </a:lnTo>
                      <a:lnTo>
                        <a:pt x="1704" y="558"/>
                      </a:lnTo>
                      <a:lnTo>
                        <a:pt x="1710" y="564"/>
                      </a:lnTo>
                      <a:lnTo>
                        <a:pt x="1722" y="570"/>
                      </a:lnTo>
                      <a:lnTo>
                        <a:pt x="1728" y="576"/>
                      </a:lnTo>
                      <a:lnTo>
                        <a:pt x="1740" y="582"/>
                      </a:lnTo>
                      <a:lnTo>
                        <a:pt x="1764" y="582"/>
                      </a:lnTo>
                      <a:lnTo>
                        <a:pt x="1776" y="576"/>
                      </a:lnTo>
                      <a:lnTo>
                        <a:pt x="1794" y="576"/>
                      </a:lnTo>
                      <a:lnTo>
                        <a:pt x="1806" y="570"/>
                      </a:lnTo>
                      <a:lnTo>
                        <a:pt x="1812" y="558"/>
                      </a:lnTo>
                      <a:lnTo>
                        <a:pt x="1818" y="552"/>
                      </a:lnTo>
                      <a:lnTo>
                        <a:pt x="1818" y="528"/>
                      </a:lnTo>
                      <a:lnTo>
                        <a:pt x="1890" y="528"/>
                      </a:lnTo>
                      <a:lnTo>
                        <a:pt x="1914" y="504"/>
                      </a:lnTo>
                      <a:lnTo>
                        <a:pt x="1902" y="492"/>
                      </a:lnTo>
                      <a:lnTo>
                        <a:pt x="1896" y="480"/>
                      </a:lnTo>
                      <a:lnTo>
                        <a:pt x="1902" y="474"/>
                      </a:lnTo>
                      <a:lnTo>
                        <a:pt x="1938" y="456"/>
                      </a:lnTo>
                      <a:lnTo>
                        <a:pt x="1950" y="456"/>
                      </a:lnTo>
                      <a:lnTo>
                        <a:pt x="1950" y="438"/>
                      </a:lnTo>
                      <a:lnTo>
                        <a:pt x="1980" y="444"/>
                      </a:lnTo>
                      <a:lnTo>
                        <a:pt x="1998" y="426"/>
                      </a:lnTo>
                      <a:lnTo>
                        <a:pt x="2004" y="426"/>
                      </a:lnTo>
                      <a:lnTo>
                        <a:pt x="2010" y="420"/>
                      </a:lnTo>
                      <a:lnTo>
                        <a:pt x="2040" y="420"/>
                      </a:lnTo>
                      <a:lnTo>
                        <a:pt x="2052" y="426"/>
                      </a:lnTo>
                      <a:lnTo>
                        <a:pt x="2058" y="432"/>
                      </a:lnTo>
                      <a:lnTo>
                        <a:pt x="2094" y="432"/>
                      </a:lnTo>
                      <a:lnTo>
                        <a:pt x="2100" y="426"/>
                      </a:lnTo>
                      <a:lnTo>
                        <a:pt x="2100" y="420"/>
                      </a:lnTo>
                      <a:lnTo>
                        <a:pt x="2088" y="408"/>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588" name="Moldova"/>
                <p:cNvSpPr>
                  <a:spLocks/>
                </p:cNvSpPr>
                <p:nvPr/>
              </p:nvSpPr>
              <p:spPr bwMode="gray">
                <a:xfrm>
                  <a:off x="3102" y="1314"/>
                  <a:ext cx="55" cy="61"/>
                </a:xfrm>
                <a:custGeom>
                  <a:avLst/>
                  <a:gdLst>
                    <a:gd name="T0" fmla="*/ 2147483647 w 216"/>
                    <a:gd name="T1" fmla="*/ 2147483647 h 240"/>
                    <a:gd name="T2" fmla="*/ 2147483647 w 216"/>
                    <a:gd name="T3" fmla="*/ 2147483647 h 240"/>
                    <a:gd name="T4" fmla="*/ 2147483647 w 216"/>
                    <a:gd name="T5" fmla="*/ 2147483647 h 240"/>
                    <a:gd name="T6" fmla="*/ 2147483647 w 216"/>
                    <a:gd name="T7" fmla="*/ 2147483647 h 240"/>
                    <a:gd name="T8" fmla="*/ 2147483647 w 216"/>
                    <a:gd name="T9" fmla="*/ 2147483647 h 240"/>
                    <a:gd name="T10" fmla="*/ 2147483647 w 216"/>
                    <a:gd name="T11" fmla="*/ 2147483647 h 240"/>
                    <a:gd name="T12" fmla="*/ 2147483647 w 216"/>
                    <a:gd name="T13" fmla="*/ 2147483647 h 240"/>
                    <a:gd name="T14" fmla="*/ 2147483647 w 216"/>
                    <a:gd name="T15" fmla="*/ 2147483647 h 240"/>
                    <a:gd name="T16" fmla="*/ 2147483647 w 216"/>
                    <a:gd name="T17" fmla="*/ 2147483647 h 240"/>
                    <a:gd name="T18" fmla="*/ 2147483647 w 216"/>
                    <a:gd name="T19" fmla="*/ 2147483647 h 240"/>
                    <a:gd name="T20" fmla="*/ 2147483647 w 216"/>
                    <a:gd name="T21" fmla="*/ 2147483647 h 240"/>
                    <a:gd name="T22" fmla="*/ 2147483647 w 216"/>
                    <a:gd name="T23" fmla="*/ 2147483647 h 240"/>
                    <a:gd name="T24" fmla="*/ 2147483647 w 216"/>
                    <a:gd name="T25" fmla="*/ 2147483647 h 240"/>
                    <a:gd name="T26" fmla="*/ 2147483647 w 216"/>
                    <a:gd name="T27" fmla="*/ 2147483647 h 240"/>
                    <a:gd name="T28" fmla="*/ 2147483647 w 216"/>
                    <a:gd name="T29" fmla="*/ 2147483647 h 240"/>
                    <a:gd name="T30" fmla="*/ 2147483647 w 216"/>
                    <a:gd name="T31" fmla="*/ 2147483647 h 240"/>
                    <a:gd name="T32" fmla="*/ 2147483647 w 216"/>
                    <a:gd name="T33" fmla="*/ 2147483647 h 240"/>
                    <a:gd name="T34" fmla="*/ 2147483647 w 216"/>
                    <a:gd name="T35" fmla="*/ 2147483647 h 240"/>
                    <a:gd name="T36" fmla="*/ 2147483647 w 216"/>
                    <a:gd name="T37" fmla="*/ 2147483647 h 240"/>
                    <a:gd name="T38" fmla="*/ 2147483647 w 216"/>
                    <a:gd name="T39" fmla="*/ 2147483647 h 240"/>
                    <a:gd name="T40" fmla="*/ 2147483647 w 216"/>
                    <a:gd name="T41" fmla="*/ 2147483647 h 240"/>
                    <a:gd name="T42" fmla="*/ 2147483647 w 216"/>
                    <a:gd name="T43" fmla="*/ 2147483647 h 240"/>
                    <a:gd name="T44" fmla="*/ 2147483647 w 216"/>
                    <a:gd name="T45" fmla="*/ 2147483647 h 240"/>
                    <a:gd name="T46" fmla="*/ 2147483647 w 216"/>
                    <a:gd name="T47" fmla="*/ 2147483647 h 240"/>
                    <a:gd name="T48" fmla="*/ 2147483647 w 216"/>
                    <a:gd name="T49" fmla="*/ 2147483647 h 240"/>
                    <a:gd name="T50" fmla="*/ 2147483647 w 216"/>
                    <a:gd name="T51" fmla="*/ 2147483647 h 240"/>
                    <a:gd name="T52" fmla="*/ 2147483647 w 216"/>
                    <a:gd name="T53" fmla="*/ 2147483647 h 240"/>
                    <a:gd name="T54" fmla="*/ 2147483647 w 216"/>
                    <a:gd name="T55" fmla="*/ 2147483647 h 240"/>
                    <a:gd name="T56" fmla="*/ 2147483647 w 216"/>
                    <a:gd name="T57" fmla="*/ 2147483647 h 240"/>
                    <a:gd name="T58" fmla="*/ 2147483647 w 216"/>
                    <a:gd name="T59" fmla="*/ 2147483647 h 240"/>
                    <a:gd name="T60" fmla="*/ 2147483647 w 216"/>
                    <a:gd name="T61" fmla="*/ 0 h 240"/>
                    <a:gd name="T62" fmla="*/ 2147483647 w 216"/>
                    <a:gd name="T63" fmla="*/ 2147483647 h 240"/>
                    <a:gd name="T64" fmla="*/ 2147483647 w 216"/>
                    <a:gd name="T65" fmla="*/ 2147483647 h 240"/>
                    <a:gd name="T66" fmla="*/ 2147483647 w 216"/>
                    <a:gd name="T67" fmla="*/ 2147483647 h 24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16"/>
                    <a:gd name="T103" fmla="*/ 0 h 240"/>
                    <a:gd name="T104" fmla="*/ 216 w 216"/>
                    <a:gd name="T105" fmla="*/ 240 h 240"/>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16" h="240">
                      <a:moveTo>
                        <a:pt x="0" y="18"/>
                      </a:moveTo>
                      <a:lnTo>
                        <a:pt x="18" y="24"/>
                      </a:lnTo>
                      <a:lnTo>
                        <a:pt x="24" y="30"/>
                      </a:lnTo>
                      <a:lnTo>
                        <a:pt x="30" y="42"/>
                      </a:lnTo>
                      <a:lnTo>
                        <a:pt x="36" y="48"/>
                      </a:lnTo>
                      <a:lnTo>
                        <a:pt x="36" y="60"/>
                      </a:lnTo>
                      <a:lnTo>
                        <a:pt x="60" y="72"/>
                      </a:lnTo>
                      <a:lnTo>
                        <a:pt x="66" y="96"/>
                      </a:lnTo>
                      <a:lnTo>
                        <a:pt x="78" y="96"/>
                      </a:lnTo>
                      <a:lnTo>
                        <a:pt x="84" y="114"/>
                      </a:lnTo>
                      <a:lnTo>
                        <a:pt x="102" y="114"/>
                      </a:lnTo>
                      <a:lnTo>
                        <a:pt x="108" y="120"/>
                      </a:lnTo>
                      <a:lnTo>
                        <a:pt x="108" y="162"/>
                      </a:lnTo>
                      <a:lnTo>
                        <a:pt x="114" y="162"/>
                      </a:lnTo>
                      <a:lnTo>
                        <a:pt x="108" y="168"/>
                      </a:lnTo>
                      <a:lnTo>
                        <a:pt x="108" y="180"/>
                      </a:lnTo>
                      <a:lnTo>
                        <a:pt x="102" y="186"/>
                      </a:lnTo>
                      <a:lnTo>
                        <a:pt x="102" y="198"/>
                      </a:lnTo>
                      <a:lnTo>
                        <a:pt x="108" y="210"/>
                      </a:lnTo>
                      <a:lnTo>
                        <a:pt x="114" y="216"/>
                      </a:lnTo>
                      <a:lnTo>
                        <a:pt x="114" y="240"/>
                      </a:lnTo>
                      <a:lnTo>
                        <a:pt x="138" y="234"/>
                      </a:lnTo>
                      <a:lnTo>
                        <a:pt x="138" y="222"/>
                      </a:lnTo>
                      <a:lnTo>
                        <a:pt x="132" y="216"/>
                      </a:lnTo>
                      <a:lnTo>
                        <a:pt x="132" y="204"/>
                      </a:lnTo>
                      <a:lnTo>
                        <a:pt x="138" y="204"/>
                      </a:lnTo>
                      <a:lnTo>
                        <a:pt x="150" y="198"/>
                      </a:lnTo>
                      <a:lnTo>
                        <a:pt x="156" y="192"/>
                      </a:lnTo>
                      <a:lnTo>
                        <a:pt x="174" y="180"/>
                      </a:lnTo>
                      <a:lnTo>
                        <a:pt x="168" y="174"/>
                      </a:lnTo>
                      <a:lnTo>
                        <a:pt x="156" y="168"/>
                      </a:lnTo>
                      <a:lnTo>
                        <a:pt x="150" y="168"/>
                      </a:lnTo>
                      <a:lnTo>
                        <a:pt x="150" y="162"/>
                      </a:lnTo>
                      <a:lnTo>
                        <a:pt x="156" y="156"/>
                      </a:lnTo>
                      <a:lnTo>
                        <a:pt x="174" y="156"/>
                      </a:lnTo>
                      <a:lnTo>
                        <a:pt x="180" y="162"/>
                      </a:lnTo>
                      <a:lnTo>
                        <a:pt x="198" y="162"/>
                      </a:lnTo>
                      <a:lnTo>
                        <a:pt x="210" y="156"/>
                      </a:lnTo>
                      <a:lnTo>
                        <a:pt x="216" y="156"/>
                      </a:lnTo>
                      <a:lnTo>
                        <a:pt x="216" y="126"/>
                      </a:lnTo>
                      <a:lnTo>
                        <a:pt x="210" y="120"/>
                      </a:lnTo>
                      <a:lnTo>
                        <a:pt x="198" y="120"/>
                      </a:lnTo>
                      <a:lnTo>
                        <a:pt x="192" y="114"/>
                      </a:lnTo>
                      <a:lnTo>
                        <a:pt x="180" y="114"/>
                      </a:lnTo>
                      <a:lnTo>
                        <a:pt x="180" y="96"/>
                      </a:lnTo>
                      <a:lnTo>
                        <a:pt x="186" y="90"/>
                      </a:lnTo>
                      <a:lnTo>
                        <a:pt x="180" y="84"/>
                      </a:lnTo>
                      <a:lnTo>
                        <a:pt x="174" y="84"/>
                      </a:lnTo>
                      <a:lnTo>
                        <a:pt x="162" y="90"/>
                      </a:lnTo>
                      <a:lnTo>
                        <a:pt x="162" y="66"/>
                      </a:lnTo>
                      <a:lnTo>
                        <a:pt x="168" y="60"/>
                      </a:lnTo>
                      <a:lnTo>
                        <a:pt x="162" y="48"/>
                      </a:lnTo>
                      <a:lnTo>
                        <a:pt x="156" y="42"/>
                      </a:lnTo>
                      <a:lnTo>
                        <a:pt x="144" y="36"/>
                      </a:lnTo>
                      <a:lnTo>
                        <a:pt x="126" y="36"/>
                      </a:lnTo>
                      <a:lnTo>
                        <a:pt x="126" y="24"/>
                      </a:lnTo>
                      <a:lnTo>
                        <a:pt x="120" y="18"/>
                      </a:lnTo>
                      <a:lnTo>
                        <a:pt x="78" y="18"/>
                      </a:lnTo>
                      <a:lnTo>
                        <a:pt x="78" y="12"/>
                      </a:lnTo>
                      <a:lnTo>
                        <a:pt x="72" y="12"/>
                      </a:lnTo>
                      <a:lnTo>
                        <a:pt x="60" y="0"/>
                      </a:lnTo>
                      <a:lnTo>
                        <a:pt x="54" y="0"/>
                      </a:lnTo>
                      <a:lnTo>
                        <a:pt x="42" y="6"/>
                      </a:lnTo>
                      <a:lnTo>
                        <a:pt x="36" y="6"/>
                      </a:lnTo>
                      <a:lnTo>
                        <a:pt x="36" y="12"/>
                      </a:lnTo>
                      <a:lnTo>
                        <a:pt x="24" y="12"/>
                      </a:lnTo>
                      <a:lnTo>
                        <a:pt x="12" y="6"/>
                      </a:lnTo>
                      <a:lnTo>
                        <a:pt x="6" y="6"/>
                      </a:lnTo>
                      <a:lnTo>
                        <a:pt x="0" y="18"/>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589" name="Mexico"/>
                <p:cNvSpPr>
                  <a:spLocks/>
                </p:cNvSpPr>
                <p:nvPr/>
              </p:nvSpPr>
              <p:spPr bwMode="gray">
                <a:xfrm>
                  <a:off x="631" y="1637"/>
                  <a:ext cx="476" cy="373"/>
                </a:xfrm>
                <a:custGeom>
                  <a:avLst/>
                  <a:gdLst>
                    <a:gd name="T0" fmla="*/ 2147483647 w 1860"/>
                    <a:gd name="T1" fmla="*/ 2147483647 h 1458"/>
                    <a:gd name="T2" fmla="*/ 2147483647 w 1860"/>
                    <a:gd name="T3" fmla="*/ 2147483647 h 1458"/>
                    <a:gd name="T4" fmla="*/ 2147483647 w 1860"/>
                    <a:gd name="T5" fmla="*/ 2147483647 h 1458"/>
                    <a:gd name="T6" fmla="*/ 2147483647 w 1860"/>
                    <a:gd name="T7" fmla="*/ 2147483647 h 1458"/>
                    <a:gd name="T8" fmla="*/ 2147483647 w 1860"/>
                    <a:gd name="T9" fmla="*/ 2147483647 h 1458"/>
                    <a:gd name="T10" fmla="*/ 2147483647 w 1860"/>
                    <a:gd name="T11" fmla="*/ 2147483647 h 1458"/>
                    <a:gd name="T12" fmla="*/ 2147483647 w 1860"/>
                    <a:gd name="T13" fmla="*/ 2147483647 h 1458"/>
                    <a:gd name="T14" fmla="*/ 2147483647 w 1860"/>
                    <a:gd name="T15" fmla="*/ 2147483647 h 1458"/>
                    <a:gd name="T16" fmla="*/ 2147483647 w 1860"/>
                    <a:gd name="T17" fmla="*/ 2147483647 h 1458"/>
                    <a:gd name="T18" fmla="*/ 2147483647 w 1860"/>
                    <a:gd name="T19" fmla="*/ 2147483647 h 1458"/>
                    <a:gd name="T20" fmla="*/ 2147483647 w 1860"/>
                    <a:gd name="T21" fmla="*/ 2147483647 h 1458"/>
                    <a:gd name="T22" fmla="*/ 2147483647 w 1860"/>
                    <a:gd name="T23" fmla="*/ 2147483647 h 1458"/>
                    <a:gd name="T24" fmla="*/ 2147483647 w 1860"/>
                    <a:gd name="T25" fmla="*/ 2147483647 h 1458"/>
                    <a:gd name="T26" fmla="*/ 2147483647 w 1860"/>
                    <a:gd name="T27" fmla="*/ 2147483647 h 1458"/>
                    <a:gd name="T28" fmla="*/ 2147483647 w 1860"/>
                    <a:gd name="T29" fmla="*/ 2147483647 h 1458"/>
                    <a:gd name="T30" fmla="*/ 2147483647 w 1860"/>
                    <a:gd name="T31" fmla="*/ 2147483647 h 1458"/>
                    <a:gd name="T32" fmla="*/ 2147483647 w 1860"/>
                    <a:gd name="T33" fmla="*/ 2147483647 h 1458"/>
                    <a:gd name="T34" fmla="*/ 2147483647 w 1860"/>
                    <a:gd name="T35" fmla="*/ 2147483647 h 1458"/>
                    <a:gd name="T36" fmla="*/ 2147483647 w 1860"/>
                    <a:gd name="T37" fmla="*/ 2147483647 h 1458"/>
                    <a:gd name="T38" fmla="*/ 2147483647 w 1860"/>
                    <a:gd name="T39" fmla="*/ 2147483647 h 1458"/>
                    <a:gd name="T40" fmla="*/ 2147483647 w 1860"/>
                    <a:gd name="T41" fmla="*/ 2147483647 h 1458"/>
                    <a:gd name="T42" fmla="*/ 2147483647 w 1860"/>
                    <a:gd name="T43" fmla="*/ 2147483647 h 1458"/>
                    <a:gd name="T44" fmla="*/ 2147483647 w 1860"/>
                    <a:gd name="T45" fmla="*/ 2147483647 h 1458"/>
                    <a:gd name="T46" fmla="*/ 2147483647 w 1860"/>
                    <a:gd name="T47" fmla="*/ 2147483647 h 1458"/>
                    <a:gd name="T48" fmla="*/ 2147483647 w 1860"/>
                    <a:gd name="T49" fmla="*/ 2147483647 h 1458"/>
                    <a:gd name="T50" fmla="*/ 2147483647 w 1860"/>
                    <a:gd name="T51" fmla="*/ 2147483647 h 1458"/>
                    <a:gd name="T52" fmla="*/ 2147483647 w 1860"/>
                    <a:gd name="T53" fmla="*/ 2147483647 h 1458"/>
                    <a:gd name="T54" fmla="*/ 2147483647 w 1860"/>
                    <a:gd name="T55" fmla="*/ 2147483647 h 1458"/>
                    <a:gd name="T56" fmla="*/ 0 w 1860"/>
                    <a:gd name="T57" fmla="*/ 2147483647 h 1458"/>
                    <a:gd name="T58" fmla="*/ 2147483647 w 1860"/>
                    <a:gd name="T59" fmla="*/ 2147483647 h 1458"/>
                    <a:gd name="T60" fmla="*/ 2147483647 w 1860"/>
                    <a:gd name="T61" fmla="*/ 2147483647 h 1458"/>
                    <a:gd name="T62" fmla="*/ 2147483647 w 1860"/>
                    <a:gd name="T63" fmla="*/ 2147483647 h 1458"/>
                    <a:gd name="T64" fmla="*/ 2147483647 w 1860"/>
                    <a:gd name="T65" fmla="*/ 2147483647 h 1458"/>
                    <a:gd name="T66" fmla="*/ 2147483647 w 1860"/>
                    <a:gd name="T67" fmla="*/ 2147483647 h 1458"/>
                    <a:gd name="T68" fmla="*/ 2147483647 w 1860"/>
                    <a:gd name="T69" fmla="*/ 2147483647 h 1458"/>
                    <a:gd name="T70" fmla="*/ 2147483647 w 1860"/>
                    <a:gd name="T71" fmla="*/ 2147483647 h 1458"/>
                    <a:gd name="T72" fmla="*/ 2147483647 w 1860"/>
                    <a:gd name="T73" fmla="*/ 2147483647 h 1458"/>
                    <a:gd name="T74" fmla="*/ 2147483647 w 1860"/>
                    <a:gd name="T75" fmla="*/ 2147483647 h 1458"/>
                    <a:gd name="T76" fmla="*/ 2147483647 w 1860"/>
                    <a:gd name="T77" fmla="*/ 2147483647 h 1458"/>
                    <a:gd name="T78" fmla="*/ 2147483647 w 1860"/>
                    <a:gd name="T79" fmla="*/ 2147483647 h 1458"/>
                    <a:gd name="T80" fmla="*/ 2147483647 w 1860"/>
                    <a:gd name="T81" fmla="*/ 2147483647 h 1458"/>
                    <a:gd name="T82" fmla="*/ 2147483647 w 1860"/>
                    <a:gd name="T83" fmla="*/ 2147483647 h 1458"/>
                    <a:gd name="T84" fmla="*/ 2147483647 w 1860"/>
                    <a:gd name="T85" fmla="*/ 2147483647 h 1458"/>
                    <a:gd name="T86" fmla="*/ 2147483647 w 1860"/>
                    <a:gd name="T87" fmla="*/ 2147483647 h 1458"/>
                    <a:gd name="T88" fmla="*/ 2147483647 w 1860"/>
                    <a:gd name="T89" fmla="*/ 2147483647 h 1458"/>
                    <a:gd name="T90" fmla="*/ 2147483647 w 1860"/>
                    <a:gd name="T91" fmla="*/ 2147483647 h 1458"/>
                    <a:gd name="T92" fmla="*/ 2147483647 w 1860"/>
                    <a:gd name="T93" fmla="*/ 2147483647 h 1458"/>
                    <a:gd name="T94" fmla="*/ 2147483647 w 1860"/>
                    <a:gd name="T95" fmla="*/ 2147483647 h 1458"/>
                    <a:gd name="T96" fmla="*/ 2147483647 w 1860"/>
                    <a:gd name="T97" fmla="*/ 2147483647 h 1458"/>
                    <a:gd name="T98" fmla="*/ 2147483647 w 1860"/>
                    <a:gd name="T99" fmla="*/ 2147483647 h 1458"/>
                    <a:gd name="T100" fmla="*/ 2147483647 w 1860"/>
                    <a:gd name="T101" fmla="*/ 2147483647 h 1458"/>
                    <a:gd name="T102" fmla="*/ 2147483647 w 1860"/>
                    <a:gd name="T103" fmla="*/ 2147483647 h 1458"/>
                    <a:gd name="T104" fmla="*/ 2147483647 w 1860"/>
                    <a:gd name="T105" fmla="*/ 2147483647 h 1458"/>
                    <a:gd name="T106" fmla="*/ 2147483647 w 1860"/>
                    <a:gd name="T107" fmla="*/ 2147483647 h 1458"/>
                    <a:gd name="T108" fmla="*/ 2147483647 w 1860"/>
                    <a:gd name="T109" fmla="*/ 2147483647 h 1458"/>
                    <a:gd name="T110" fmla="*/ 2147483647 w 1860"/>
                    <a:gd name="T111" fmla="*/ 2147483647 h 1458"/>
                    <a:gd name="T112" fmla="*/ 2147483647 w 1860"/>
                    <a:gd name="T113" fmla="*/ 2147483647 h 1458"/>
                    <a:gd name="T114" fmla="*/ 2147483647 w 1860"/>
                    <a:gd name="T115" fmla="*/ 2147483647 h 1458"/>
                    <a:gd name="T116" fmla="*/ 2147483647 w 1860"/>
                    <a:gd name="T117" fmla="*/ 2147483647 h 1458"/>
                    <a:gd name="T118" fmla="*/ 2147483647 w 1860"/>
                    <a:gd name="T119" fmla="*/ 2147483647 h 1458"/>
                    <a:gd name="T120" fmla="*/ 2147483647 w 1860"/>
                    <a:gd name="T121" fmla="*/ 2147483647 h 145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860"/>
                    <a:gd name="T184" fmla="*/ 0 h 1458"/>
                    <a:gd name="T185" fmla="*/ 1860 w 1860"/>
                    <a:gd name="T186" fmla="*/ 1458 h 145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860" h="1458">
                      <a:moveTo>
                        <a:pt x="1422" y="1440"/>
                      </a:moveTo>
                      <a:lnTo>
                        <a:pt x="1422" y="1380"/>
                      </a:lnTo>
                      <a:lnTo>
                        <a:pt x="1452" y="1332"/>
                      </a:lnTo>
                      <a:lnTo>
                        <a:pt x="1542" y="1338"/>
                      </a:lnTo>
                      <a:lnTo>
                        <a:pt x="1542" y="1320"/>
                      </a:lnTo>
                      <a:lnTo>
                        <a:pt x="1548" y="1320"/>
                      </a:lnTo>
                      <a:lnTo>
                        <a:pt x="1554" y="1314"/>
                      </a:lnTo>
                      <a:lnTo>
                        <a:pt x="1554" y="1302"/>
                      </a:lnTo>
                      <a:lnTo>
                        <a:pt x="1536" y="1302"/>
                      </a:lnTo>
                      <a:lnTo>
                        <a:pt x="1530" y="1278"/>
                      </a:lnTo>
                      <a:lnTo>
                        <a:pt x="1524" y="1278"/>
                      </a:lnTo>
                      <a:lnTo>
                        <a:pt x="1512" y="1272"/>
                      </a:lnTo>
                      <a:lnTo>
                        <a:pt x="1506" y="1272"/>
                      </a:lnTo>
                      <a:lnTo>
                        <a:pt x="1500" y="1266"/>
                      </a:lnTo>
                      <a:lnTo>
                        <a:pt x="1494" y="1254"/>
                      </a:lnTo>
                      <a:lnTo>
                        <a:pt x="1494" y="1248"/>
                      </a:lnTo>
                      <a:lnTo>
                        <a:pt x="1482" y="1242"/>
                      </a:lnTo>
                      <a:lnTo>
                        <a:pt x="1506" y="1242"/>
                      </a:lnTo>
                      <a:lnTo>
                        <a:pt x="1518" y="1236"/>
                      </a:lnTo>
                      <a:lnTo>
                        <a:pt x="1524" y="1236"/>
                      </a:lnTo>
                      <a:lnTo>
                        <a:pt x="1524" y="1212"/>
                      </a:lnTo>
                      <a:lnTo>
                        <a:pt x="1518" y="1200"/>
                      </a:lnTo>
                      <a:lnTo>
                        <a:pt x="1518" y="1188"/>
                      </a:lnTo>
                      <a:lnTo>
                        <a:pt x="1650" y="1194"/>
                      </a:lnTo>
                      <a:lnTo>
                        <a:pt x="1656" y="1182"/>
                      </a:lnTo>
                      <a:lnTo>
                        <a:pt x="1656" y="1176"/>
                      </a:lnTo>
                      <a:lnTo>
                        <a:pt x="1662" y="1176"/>
                      </a:lnTo>
                      <a:lnTo>
                        <a:pt x="1668" y="1182"/>
                      </a:lnTo>
                      <a:lnTo>
                        <a:pt x="1668" y="1188"/>
                      </a:lnTo>
                      <a:lnTo>
                        <a:pt x="1674" y="1188"/>
                      </a:lnTo>
                      <a:lnTo>
                        <a:pt x="1680" y="1182"/>
                      </a:lnTo>
                      <a:lnTo>
                        <a:pt x="1692" y="1176"/>
                      </a:lnTo>
                      <a:lnTo>
                        <a:pt x="1698" y="1164"/>
                      </a:lnTo>
                      <a:lnTo>
                        <a:pt x="1698" y="1152"/>
                      </a:lnTo>
                      <a:lnTo>
                        <a:pt x="1704" y="1146"/>
                      </a:lnTo>
                      <a:lnTo>
                        <a:pt x="1704" y="1140"/>
                      </a:lnTo>
                      <a:lnTo>
                        <a:pt x="1710" y="1152"/>
                      </a:lnTo>
                      <a:lnTo>
                        <a:pt x="1746" y="1116"/>
                      </a:lnTo>
                      <a:lnTo>
                        <a:pt x="1746" y="1122"/>
                      </a:lnTo>
                      <a:lnTo>
                        <a:pt x="1740" y="1128"/>
                      </a:lnTo>
                      <a:lnTo>
                        <a:pt x="1740" y="1146"/>
                      </a:lnTo>
                      <a:lnTo>
                        <a:pt x="1746" y="1152"/>
                      </a:lnTo>
                      <a:lnTo>
                        <a:pt x="1758" y="1152"/>
                      </a:lnTo>
                      <a:lnTo>
                        <a:pt x="1782" y="1086"/>
                      </a:lnTo>
                      <a:lnTo>
                        <a:pt x="1770" y="1074"/>
                      </a:lnTo>
                      <a:lnTo>
                        <a:pt x="1794" y="1068"/>
                      </a:lnTo>
                      <a:lnTo>
                        <a:pt x="1794" y="1056"/>
                      </a:lnTo>
                      <a:lnTo>
                        <a:pt x="1776" y="1050"/>
                      </a:lnTo>
                      <a:lnTo>
                        <a:pt x="1794" y="1032"/>
                      </a:lnTo>
                      <a:lnTo>
                        <a:pt x="1800" y="1008"/>
                      </a:lnTo>
                      <a:lnTo>
                        <a:pt x="1806" y="996"/>
                      </a:lnTo>
                      <a:lnTo>
                        <a:pt x="1818" y="990"/>
                      </a:lnTo>
                      <a:lnTo>
                        <a:pt x="1824" y="978"/>
                      </a:lnTo>
                      <a:lnTo>
                        <a:pt x="1836" y="966"/>
                      </a:lnTo>
                      <a:lnTo>
                        <a:pt x="1842" y="954"/>
                      </a:lnTo>
                      <a:lnTo>
                        <a:pt x="1848" y="948"/>
                      </a:lnTo>
                      <a:lnTo>
                        <a:pt x="1854" y="936"/>
                      </a:lnTo>
                      <a:lnTo>
                        <a:pt x="1854" y="930"/>
                      </a:lnTo>
                      <a:lnTo>
                        <a:pt x="1860" y="918"/>
                      </a:lnTo>
                      <a:lnTo>
                        <a:pt x="1860" y="900"/>
                      </a:lnTo>
                      <a:lnTo>
                        <a:pt x="1854" y="894"/>
                      </a:lnTo>
                      <a:lnTo>
                        <a:pt x="1818" y="894"/>
                      </a:lnTo>
                      <a:lnTo>
                        <a:pt x="1812" y="900"/>
                      </a:lnTo>
                      <a:lnTo>
                        <a:pt x="1800" y="900"/>
                      </a:lnTo>
                      <a:lnTo>
                        <a:pt x="1794" y="894"/>
                      </a:lnTo>
                      <a:lnTo>
                        <a:pt x="1782" y="894"/>
                      </a:lnTo>
                      <a:lnTo>
                        <a:pt x="1770" y="888"/>
                      </a:lnTo>
                      <a:lnTo>
                        <a:pt x="1746" y="888"/>
                      </a:lnTo>
                      <a:lnTo>
                        <a:pt x="1734" y="894"/>
                      </a:lnTo>
                      <a:lnTo>
                        <a:pt x="1716" y="900"/>
                      </a:lnTo>
                      <a:lnTo>
                        <a:pt x="1698" y="900"/>
                      </a:lnTo>
                      <a:lnTo>
                        <a:pt x="1686" y="906"/>
                      </a:lnTo>
                      <a:lnTo>
                        <a:pt x="1668" y="906"/>
                      </a:lnTo>
                      <a:lnTo>
                        <a:pt x="1656" y="912"/>
                      </a:lnTo>
                      <a:lnTo>
                        <a:pt x="1626" y="912"/>
                      </a:lnTo>
                      <a:lnTo>
                        <a:pt x="1614" y="918"/>
                      </a:lnTo>
                      <a:lnTo>
                        <a:pt x="1608" y="924"/>
                      </a:lnTo>
                      <a:lnTo>
                        <a:pt x="1596" y="948"/>
                      </a:lnTo>
                      <a:lnTo>
                        <a:pt x="1590" y="966"/>
                      </a:lnTo>
                      <a:lnTo>
                        <a:pt x="1590" y="1026"/>
                      </a:lnTo>
                      <a:lnTo>
                        <a:pt x="1572" y="1032"/>
                      </a:lnTo>
                      <a:lnTo>
                        <a:pt x="1572" y="1062"/>
                      </a:lnTo>
                      <a:lnTo>
                        <a:pt x="1566" y="1074"/>
                      </a:lnTo>
                      <a:lnTo>
                        <a:pt x="1542" y="1086"/>
                      </a:lnTo>
                      <a:lnTo>
                        <a:pt x="1524" y="1098"/>
                      </a:lnTo>
                      <a:lnTo>
                        <a:pt x="1512" y="1110"/>
                      </a:lnTo>
                      <a:lnTo>
                        <a:pt x="1512" y="1122"/>
                      </a:lnTo>
                      <a:lnTo>
                        <a:pt x="1506" y="1128"/>
                      </a:lnTo>
                      <a:lnTo>
                        <a:pt x="1506" y="1140"/>
                      </a:lnTo>
                      <a:lnTo>
                        <a:pt x="1500" y="1146"/>
                      </a:lnTo>
                      <a:lnTo>
                        <a:pt x="1488" y="1146"/>
                      </a:lnTo>
                      <a:lnTo>
                        <a:pt x="1476" y="1134"/>
                      </a:lnTo>
                      <a:lnTo>
                        <a:pt x="1476" y="1128"/>
                      </a:lnTo>
                      <a:lnTo>
                        <a:pt x="1470" y="1122"/>
                      </a:lnTo>
                      <a:lnTo>
                        <a:pt x="1440" y="1122"/>
                      </a:lnTo>
                      <a:lnTo>
                        <a:pt x="1416" y="1128"/>
                      </a:lnTo>
                      <a:lnTo>
                        <a:pt x="1392" y="1140"/>
                      </a:lnTo>
                      <a:lnTo>
                        <a:pt x="1356" y="1140"/>
                      </a:lnTo>
                      <a:lnTo>
                        <a:pt x="1338" y="1146"/>
                      </a:lnTo>
                      <a:lnTo>
                        <a:pt x="1290" y="1170"/>
                      </a:lnTo>
                      <a:lnTo>
                        <a:pt x="1284" y="1170"/>
                      </a:lnTo>
                      <a:lnTo>
                        <a:pt x="1272" y="1158"/>
                      </a:lnTo>
                      <a:lnTo>
                        <a:pt x="1266" y="1146"/>
                      </a:lnTo>
                      <a:lnTo>
                        <a:pt x="1266" y="1140"/>
                      </a:lnTo>
                      <a:lnTo>
                        <a:pt x="1260" y="1128"/>
                      </a:lnTo>
                      <a:lnTo>
                        <a:pt x="1242" y="1128"/>
                      </a:lnTo>
                      <a:lnTo>
                        <a:pt x="1224" y="1122"/>
                      </a:lnTo>
                      <a:lnTo>
                        <a:pt x="1194" y="1122"/>
                      </a:lnTo>
                      <a:lnTo>
                        <a:pt x="1194" y="1104"/>
                      </a:lnTo>
                      <a:lnTo>
                        <a:pt x="1188" y="1092"/>
                      </a:lnTo>
                      <a:lnTo>
                        <a:pt x="1176" y="1080"/>
                      </a:lnTo>
                      <a:lnTo>
                        <a:pt x="1170" y="1068"/>
                      </a:lnTo>
                      <a:lnTo>
                        <a:pt x="1164" y="1062"/>
                      </a:lnTo>
                      <a:lnTo>
                        <a:pt x="1164" y="1026"/>
                      </a:lnTo>
                      <a:lnTo>
                        <a:pt x="1128" y="966"/>
                      </a:lnTo>
                      <a:lnTo>
                        <a:pt x="1122" y="924"/>
                      </a:lnTo>
                      <a:lnTo>
                        <a:pt x="1110" y="894"/>
                      </a:lnTo>
                      <a:lnTo>
                        <a:pt x="1104" y="804"/>
                      </a:lnTo>
                      <a:lnTo>
                        <a:pt x="1110" y="798"/>
                      </a:lnTo>
                      <a:lnTo>
                        <a:pt x="1122" y="774"/>
                      </a:lnTo>
                      <a:lnTo>
                        <a:pt x="1128" y="768"/>
                      </a:lnTo>
                      <a:lnTo>
                        <a:pt x="1128" y="654"/>
                      </a:lnTo>
                      <a:lnTo>
                        <a:pt x="1152" y="648"/>
                      </a:lnTo>
                      <a:lnTo>
                        <a:pt x="1152" y="612"/>
                      </a:lnTo>
                      <a:lnTo>
                        <a:pt x="1158" y="600"/>
                      </a:lnTo>
                      <a:lnTo>
                        <a:pt x="1158" y="594"/>
                      </a:lnTo>
                      <a:lnTo>
                        <a:pt x="1164" y="588"/>
                      </a:lnTo>
                      <a:lnTo>
                        <a:pt x="1176" y="588"/>
                      </a:lnTo>
                      <a:lnTo>
                        <a:pt x="1182" y="594"/>
                      </a:lnTo>
                      <a:lnTo>
                        <a:pt x="1188" y="594"/>
                      </a:lnTo>
                      <a:lnTo>
                        <a:pt x="1188" y="588"/>
                      </a:lnTo>
                      <a:lnTo>
                        <a:pt x="1194" y="576"/>
                      </a:lnTo>
                      <a:lnTo>
                        <a:pt x="1194" y="564"/>
                      </a:lnTo>
                      <a:lnTo>
                        <a:pt x="1200" y="558"/>
                      </a:lnTo>
                      <a:lnTo>
                        <a:pt x="1206" y="546"/>
                      </a:lnTo>
                      <a:lnTo>
                        <a:pt x="1206" y="540"/>
                      </a:lnTo>
                      <a:lnTo>
                        <a:pt x="1206" y="546"/>
                      </a:lnTo>
                      <a:lnTo>
                        <a:pt x="1182" y="546"/>
                      </a:lnTo>
                      <a:lnTo>
                        <a:pt x="1176" y="534"/>
                      </a:lnTo>
                      <a:lnTo>
                        <a:pt x="1176" y="528"/>
                      </a:lnTo>
                      <a:lnTo>
                        <a:pt x="1134" y="528"/>
                      </a:lnTo>
                      <a:lnTo>
                        <a:pt x="1122" y="516"/>
                      </a:lnTo>
                      <a:lnTo>
                        <a:pt x="1110" y="516"/>
                      </a:lnTo>
                      <a:lnTo>
                        <a:pt x="1092" y="510"/>
                      </a:lnTo>
                      <a:lnTo>
                        <a:pt x="1080" y="498"/>
                      </a:lnTo>
                      <a:lnTo>
                        <a:pt x="1080" y="468"/>
                      </a:lnTo>
                      <a:lnTo>
                        <a:pt x="1068" y="456"/>
                      </a:lnTo>
                      <a:lnTo>
                        <a:pt x="1068" y="420"/>
                      </a:lnTo>
                      <a:lnTo>
                        <a:pt x="1074" y="420"/>
                      </a:lnTo>
                      <a:lnTo>
                        <a:pt x="1080" y="414"/>
                      </a:lnTo>
                      <a:lnTo>
                        <a:pt x="1080" y="408"/>
                      </a:lnTo>
                      <a:lnTo>
                        <a:pt x="1068" y="396"/>
                      </a:lnTo>
                      <a:lnTo>
                        <a:pt x="1056" y="390"/>
                      </a:lnTo>
                      <a:lnTo>
                        <a:pt x="1050" y="384"/>
                      </a:lnTo>
                      <a:lnTo>
                        <a:pt x="1050" y="360"/>
                      </a:lnTo>
                      <a:lnTo>
                        <a:pt x="1038" y="354"/>
                      </a:lnTo>
                      <a:lnTo>
                        <a:pt x="1032" y="342"/>
                      </a:lnTo>
                      <a:lnTo>
                        <a:pt x="1032" y="330"/>
                      </a:lnTo>
                      <a:lnTo>
                        <a:pt x="1038" y="318"/>
                      </a:lnTo>
                      <a:lnTo>
                        <a:pt x="1038" y="294"/>
                      </a:lnTo>
                      <a:lnTo>
                        <a:pt x="1026" y="282"/>
                      </a:lnTo>
                      <a:lnTo>
                        <a:pt x="1020" y="270"/>
                      </a:lnTo>
                      <a:lnTo>
                        <a:pt x="1008" y="258"/>
                      </a:lnTo>
                      <a:lnTo>
                        <a:pt x="1002" y="246"/>
                      </a:lnTo>
                      <a:lnTo>
                        <a:pt x="996" y="240"/>
                      </a:lnTo>
                      <a:lnTo>
                        <a:pt x="990" y="228"/>
                      </a:lnTo>
                      <a:lnTo>
                        <a:pt x="948" y="228"/>
                      </a:lnTo>
                      <a:lnTo>
                        <a:pt x="930" y="222"/>
                      </a:lnTo>
                      <a:lnTo>
                        <a:pt x="930" y="228"/>
                      </a:lnTo>
                      <a:lnTo>
                        <a:pt x="912" y="228"/>
                      </a:lnTo>
                      <a:lnTo>
                        <a:pt x="900" y="240"/>
                      </a:lnTo>
                      <a:lnTo>
                        <a:pt x="888" y="264"/>
                      </a:lnTo>
                      <a:lnTo>
                        <a:pt x="876" y="276"/>
                      </a:lnTo>
                      <a:lnTo>
                        <a:pt x="852" y="288"/>
                      </a:lnTo>
                      <a:lnTo>
                        <a:pt x="840" y="288"/>
                      </a:lnTo>
                      <a:lnTo>
                        <a:pt x="822" y="276"/>
                      </a:lnTo>
                      <a:lnTo>
                        <a:pt x="810" y="270"/>
                      </a:lnTo>
                      <a:lnTo>
                        <a:pt x="780" y="240"/>
                      </a:lnTo>
                      <a:lnTo>
                        <a:pt x="780" y="228"/>
                      </a:lnTo>
                      <a:lnTo>
                        <a:pt x="786" y="216"/>
                      </a:lnTo>
                      <a:lnTo>
                        <a:pt x="786" y="174"/>
                      </a:lnTo>
                      <a:lnTo>
                        <a:pt x="780" y="162"/>
                      </a:lnTo>
                      <a:lnTo>
                        <a:pt x="768" y="150"/>
                      </a:lnTo>
                      <a:lnTo>
                        <a:pt x="756" y="144"/>
                      </a:lnTo>
                      <a:lnTo>
                        <a:pt x="744" y="144"/>
                      </a:lnTo>
                      <a:lnTo>
                        <a:pt x="738" y="114"/>
                      </a:lnTo>
                      <a:lnTo>
                        <a:pt x="708" y="102"/>
                      </a:lnTo>
                      <a:lnTo>
                        <a:pt x="708" y="78"/>
                      </a:lnTo>
                      <a:lnTo>
                        <a:pt x="696" y="66"/>
                      </a:lnTo>
                      <a:lnTo>
                        <a:pt x="582" y="66"/>
                      </a:lnTo>
                      <a:lnTo>
                        <a:pt x="576" y="72"/>
                      </a:lnTo>
                      <a:lnTo>
                        <a:pt x="576" y="90"/>
                      </a:lnTo>
                      <a:lnTo>
                        <a:pt x="570" y="102"/>
                      </a:lnTo>
                      <a:lnTo>
                        <a:pt x="570" y="108"/>
                      </a:lnTo>
                      <a:lnTo>
                        <a:pt x="366" y="108"/>
                      </a:lnTo>
                      <a:lnTo>
                        <a:pt x="156" y="12"/>
                      </a:lnTo>
                      <a:lnTo>
                        <a:pt x="150" y="12"/>
                      </a:lnTo>
                      <a:lnTo>
                        <a:pt x="150" y="6"/>
                      </a:lnTo>
                      <a:lnTo>
                        <a:pt x="156" y="0"/>
                      </a:lnTo>
                      <a:lnTo>
                        <a:pt x="12" y="6"/>
                      </a:lnTo>
                      <a:lnTo>
                        <a:pt x="6" y="0"/>
                      </a:lnTo>
                      <a:lnTo>
                        <a:pt x="0" y="18"/>
                      </a:lnTo>
                      <a:lnTo>
                        <a:pt x="0" y="48"/>
                      </a:lnTo>
                      <a:lnTo>
                        <a:pt x="6" y="60"/>
                      </a:lnTo>
                      <a:lnTo>
                        <a:pt x="12" y="66"/>
                      </a:lnTo>
                      <a:lnTo>
                        <a:pt x="18" y="78"/>
                      </a:lnTo>
                      <a:lnTo>
                        <a:pt x="0" y="90"/>
                      </a:lnTo>
                      <a:lnTo>
                        <a:pt x="12" y="114"/>
                      </a:lnTo>
                      <a:lnTo>
                        <a:pt x="6" y="126"/>
                      </a:lnTo>
                      <a:lnTo>
                        <a:pt x="24" y="144"/>
                      </a:lnTo>
                      <a:lnTo>
                        <a:pt x="6" y="174"/>
                      </a:lnTo>
                      <a:lnTo>
                        <a:pt x="18" y="180"/>
                      </a:lnTo>
                      <a:lnTo>
                        <a:pt x="18" y="210"/>
                      </a:lnTo>
                      <a:lnTo>
                        <a:pt x="24" y="228"/>
                      </a:lnTo>
                      <a:lnTo>
                        <a:pt x="24" y="240"/>
                      </a:lnTo>
                      <a:lnTo>
                        <a:pt x="30" y="252"/>
                      </a:lnTo>
                      <a:lnTo>
                        <a:pt x="42" y="264"/>
                      </a:lnTo>
                      <a:lnTo>
                        <a:pt x="60" y="264"/>
                      </a:lnTo>
                      <a:lnTo>
                        <a:pt x="60" y="270"/>
                      </a:lnTo>
                      <a:lnTo>
                        <a:pt x="66" y="276"/>
                      </a:lnTo>
                      <a:lnTo>
                        <a:pt x="72" y="288"/>
                      </a:lnTo>
                      <a:lnTo>
                        <a:pt x="84" y="300"/>
                      </a:lnTo>
                      <a:lnTo>
                        <a:pt x="90" y="318"/>
                      </a:lnTo>
                      <a:lnTo>
                        <a:pt x="96" y="330"/>
                      </a:lnTo>
                      <a:lnTo>
                        <a:pt x="96" y="342"/>
                      </a:lnTo>
                      <a:lnTo>
                        <a:pt x="78" y="378"/>
                      </a:lnTo>
                      <a:lnTo>
                        <a:pt x="72" y="384"/>
                      </a:lnTo>
                      <a:lnTo>
                        <a:pt x="72" y="390"/>
                      </a:lnTo>
                      <a:lnTo>
                        <a:pt x="84" y="396"/>
                      </a:lnTo>
                      <a:lnTo>
                        <a:pt x="72" y="414"/>
                      </a:lnTo>
                      <a:lnTo>
                        <a:pt x="60" y="396"/>
                      </a:lnTo>
                      <a:lnTo>
                        <a:pt x="12" y="390"/>
                      </a:lnTo>
                      <a:lnTo>
                        <a:pt x="36" y="414"/>
                      </a:lnTo>
                      <a:lnTo>
                        <a:pt x="42" y="438"/>
                      </a:lnTo>
                      <a:lnTo>
                        <a:pt x="66" y="444"/>
                      </a:lnTo>
                      <a:lnTo>
                        <a:pt x="78" y="456"/>
                      </a:lnTo>
                      <a:lnTo>
                        <a:pt x="84" y="468"/>
                      </a:lnTo>
                      <a:lnTo>
                        <a:pt x="90" y="474"/>
                      </a:lnTo>
                      <a:lnTo>
                        <a:pt x="96" y="474"/>
                      </a:lnTo>
                      <a:lnTo>
                        <a:pt x="102" y="468"/>
                      </a:lnTo>
                      <a:lnTo>
                        <a:pt x="108" y="468"/>
                      </a:lnTo>
                      <a:lnTo>
                        <a:pt x="120" y="462"/>
                      </a:lnTo>
                      <a:lnTo>
                        <a:pt x="126" y="456"/>
                      </a:lnTo>
                      <a:lnTo>
                        <a:pt x="126" y="480"/>
                      </a:lnTo>
                      <a:lnTo>
                        <a:pt x="144" y="516"/>
                      </a:lnTo>
                      <a:lnTo>
                        <a:pt x="156" y="528"/>
                      </a:lnTo>
                      <a:lnTo>
                        <a:pt x="168" y="552"/>
                      </a:lnTo>
                      <a:lnTo>
                        <a:pt x="168" y="564"/>
                      </a:lnTo>
                      <a:lnTo>
                        <a:pt x="156" y="588"/>
                      </a:lnTo>
                      <a:lnTo>
                        <a:pt x="150" y="606"/>
                      </a:lnTo>
                      <a:lnTo>
                        <a:pt x="150" y="618"/>
                      </a:lnTo>
                      <a:lnTo>
                        <a:pt x="180" y="648"/>
                      </a:lnTo>
                      <a:lnTo>
                        <a:pt x="192" y="666"/>
                      </a:lnTo>
                      <a:lnTo>
                        <a:pt x="222" y="696"/>
                      </a:lnTo>
                      <a:lnTo>
                        <a:pt x="234" y="714"/>
                      </a:lnTo>
                      <a:lnTo>
                        <a:pt x="264" y="744"/>
                      </a:lnTo>
                      <a:lnTo>
                        <a:pt x="258" y="750"/>
                      </a:lnTo>
                      <a:lnTo>
                        <a:pt x="258" y="762"/>
                      </a:lnTo>
                      <a:lnTo>
                        <a:pt x="252" y="768"/>
                      </a:lnTo>
                      <a:lnTo>
                        <a:pt x="252" y="780"/>
                      </a:lnTo>
                      <a:lnTo>
                        <a:pt x="258" y="786"/>
                      </a:lnTo>
                      <a:lnTo>
                        <a:pt x="276" y="786"/>
                      </a:lnTo>
                      <a:lnTo>
                        <a:pt x="288" y="780"/>
                      </a:lnTo>
                      <a:lnTo>
                        <a:pt x="294" y="768"/>
                      </a:lnTo>
                      <a:lnTo>
                        <a:pt x="306" y="762"/>
                      </a:lnTo>
                      <a:lnTo>
                        <a:pt x="312" y="756"/>
                      </a:lnTo>
                      <a:lnTo>
                        <a:pt x="306" y="738"/>
                      </a:lnTo>
                      <a:lnTo>
                        <a:pt x="306" y="732"/>
                      </a:lnTo>
                      <a:lnTo>
                        <a:pt x="300" y="726"/>
                      </a:lnTo>
                      <a:lnTo>
                        <a:pt x="300" y="708"/>
                      </a:lnTo>
                      <a:lnTo>
                        <a:pt x="288" y="684"/>
                      </a:lnTo>
                      <a:lnTo>
                        <a:pt x="282" y="678"/>
                      </a:lnTo>
                      <a:lnTo>
                        <a:pt x="258" y="678"/>
                      </a:lnTo>
                      <a:lnTo>
                        <a:pt x="240" y="648"/>
                      </a:lnTo>
                      <a:lnTo>
                        <a:pt x="240" y="576"/>
                      </a:lnTo>
                      <a:lnTo>
                        <a:pt x="222" y="546"/>
                      </a:lnTo>
                      <a:lnTo>
                        <a:pt x="228" y="534"/>
                      </a:lnTo>
                      <a:lnTo>
                        <a:pt x="228" y="528"/>
                      </a:lnTo>
                      <a:lnTo>
                        <a:pt x="234" y="516"/>
                      </a:lnTo>
                      <a:lnTo>
                        <a:pt x="234" y="492"/>
                      </a:lnTo>
                      <a:lnTo>
                        <a:pt x="228" y="486"/>
                      </a:lnTo>
                      <a:lnTo>
                        <a:pt x="216" y="480"/>
                      </a:lnTo>
                      <a:lnTo>
                        <a:pt x="210" y="474"/>
                      </a:lnTo>
                      <a:lnTo>
                        <a:pt x="198" y="474"/>
                      </a:lnTo>
                      <a:lnTo>
                        <a:pt x="198" y="432"/>
                      </a:lnTo>
                      <a:lnTo>
                        <a:pt x="168" y="396"/>
                      </a:lnTo>
                      <a:lnTo>
                        <a:pt x="174" y="336"/>
                      </a:lnTo>
                      <a:lnTo>
                        <a:pt x="168" y="330"/>
                      </a:lnTo>
                      <a:lnTo>
                        <a:pt x="162" y="318"/>
                      </a:lnTo>
                      <a:lnTo>
                        <a:pt x="144" y="300"/>
                      </a:lnTo>
                      <a:lnTo>
                        <a:pt x="138" y="288"/>
                      </a:lnTo>
                      <a:lnTo>
                        <a:pt x="138" y="276"/>
                      </a:lnTo>
                      <a:lnTo>
                        <a:pt x="132" y="264"/>
                      </a:lnTo>
                      <a:lnTo>
                        <a:pt x="132" y="246"/>
                      </a:lnTo>
                      <a:lnTo>
                        <a:pt x="126" y="240"/>
                      </a:lnTo>
                      <a:lnTo>
                        <a:pt x="120" y="228"/>
                      </a:lnTo>
                      <a:lnTo>
                        <a:pt x="108" y="216"/>
                      </a:lnTo>
                      <a:lnTo>
                        <a:pt x="102" y="204"/>
                      </a:lnTo>
                      <a:lnTo>
                        <a:pt x="96" y="198"/>
                      </a:lnTo>
                      <a:lnTo>
                        <a:pt x="96" y="192"/>
                      </a:lnTo>
                      <a:lnTo>
                        <a:pt x="102" y="186"/>
                      </a:lnTo>
                      <a:lnTo>
                        <a:pt x="114" y="162"/>
                      </a:lnTo>
                      <a:lnTo>
                        <a:pt x="114" y="114"/>
                      </a:lnTo>
                      <a:lnTo>
                        <a:pt x="120" y="108"/>
                      </a:lnTo>
                      <a:lnTo>
                        <a:pt x="126" y="96"/>
                      </a:lnTo>
                      <a:lnTo>
                        <a:pt x="126" y="60"/>
                      </a:lnTo>
                      <a:lnTo>
                        <a:pt x="132" y="66"/>
                      </a:lnTo>
                      <a:lnTo>
                        <a:pt x="144" y="72"/>
                      </a:lnTo>
                      <a:lnTo>
                        <a:pt x="150" y="84"/>
                      </a:lnTo>
                      <a:lnTo>
                        <a:pt x="162" y="90"/>
                      </a:lnTo>
                      <a:lnTo>
                        <a:pt x="180" y="90"/>
                      </a:lnTo>
                      <a:lnTo>
                        <a:pt x="186" y="84"/>
                      </a:lnTo>
                      <a:lnTo>
                        <a:pt x="198" y="84"/>
                      </a:lnTo>
                      <a:lnTo>
                        <a:pt x="198" y="102"/>
                      </a:lnTo>
                      <a:lnTo>
                        <a:pt x="204" y="108"/>
                      </a:lnTo>
                      <a:lnTo>
                        <a:pt x="216" y="114"/>
                      </a:lnTo>
                      <a:lnTo>
                        <a:pt x="234" y="114"/>
                      </a:lnTo>
                      <a:lnTo>
                        <a:pt x="234" y="120"/>
                      </a:lnTo>
                      <a:lnTo>
                        <a:pt x="228" y="126"/>
                      </a:lnTo>
                      <a:lnTo>
                        <a:pt x="228" y="186"/>
                      </a:lnTo>
                      <a:lnTo>
                        <a:pt x="240" y="258"/>
                      </a:lnTo>
                      <a:lnTo>
                        <a:pt x="240" y="270"/>
                      </a:lnTo>
                      <a:lnTo>
                        <a:pt x="246" y="282"/>
                      </a:lnTo>
                      <a:lnTo>
                        <a:pt x="252" y="306"/>
                      </a:lnTo>
                      <a:lnTo>
                        <a:pt x="264" y="342"/>
                      </a:lnTo>
                      <a:lnTo>
                        <a:pt x="276" y="372"/>
                      </a:lnTo>
                      <a:lnTo>
                        <a:pt x="282" y="384"/>
                      </a:lnTo>
                      <a:lnTo>
                        <a:pt x="324" y="384"/>
                      </a:lnTo>
                      <a:lnTo>
                        <a:pt x="318" y="390"/>
                      </a:lnTo>
                      <a:lnTo>
                        <a:pt x="306" y="414"/>
                      </a:lnTo>
                      <a:lnTo>
                        <a:pt x="318" y="438"/>
                      </a:lnTo>
                      <a:lnTo>
                        <a:pt x="330" y="444"/>
                      </a:lnTo>
                      <a:lnTo>
                        <a:pt x="336" y="450"/>
                      </a:lnTo>
                      <a:lnTo>
                        <a:pt x="348" y="450"/>
                      </a:lnTo>
                      <a:lnTo>
                        <a:pt x="354" y="474"/>
                      </a:lnTo>
                      <a:lnTo>
                        <a:pt x="384" y="474"/>
                      </a:lnTo>
                      <a:lnTo>
                        <a:pt x="390" y="516"/>
                      </a:lnTo>
                      <a:lnTo>
                        <a:pt x="384" y="516"/>
                      </a:lnTo>
                      <a:lnTo>
                        <a:pt x="378" y="522"/>
                      </a:lnTo>
                      <a:lnTo>
                        <a:pt x="366" y="528"/>
                      </a:lnTo>
                      <a:lnTo>
                        <a:pt x="360" y="534"/>
                      </a:lnTo>
                      <a:lnTo>
                        <a:pt x="354" y="546"/>
                      </a:lnTo>
                      <a:lnTo>
                        <a:pt x="354" y="558"/>
                      </a:lnTo>
                      <a:lnTo>
                        <a:pt x="360" y="564"/>
                      </a:lnTo>
                      <a:lnTo>
                        <a:pt x="372" y="570"/>
                      </a:lnTo>
                      <a:lnTo>
                        <a:pt x="384" y="558"/>
                      </a:lnTo>
                      <a:lnTo>
                        <a:pt x="384" y="564"/>
                      </a:lnTo>
                      <a:lnTo>
                        <a:pt x="396" y="576"/>
                      </a:lnTo>
                      <a:lnTo>
                        <a:pt x="396" y="588"/>
                      </a:lnTo>
                      <a:lnTo>
                        <a:pt x="402" y="594"/>
                      </a:lnTo>
                      <a:lnTo>
                        <a:pt x="414" y="594"/>
                      </a:lnTo>
                      <a:lnTo>
                        <a:pt x="426" y="600"/>
                      </a:lnTo>
                      <a:lnTo>
                        <a:pt x="432" y="600"/>
                      </a:lnTo>
                      <a:lnTo>
                        <a:pt x="438" y="606"/>
                      </a:lnTo>
                      <a:lnTo>
                        <a:pt x="438" y="624"/>
                      </a:lnTo>
                      <a:lnTo>
                        <a:pt x="432" y="630"/>
                      </a:lnTo>
                      <a:lnTo>
                        <a:pt x="432" y="636"/>
                      </a:lnTo>
                      <a:lnTo>
                        <a:pt x="426" y="648"/>
                      </a:lnTo>
                      <a:lnTo>
                        <a:pt x="426" y="654"/>
                      </a:lnTo>
                      <a:lnTo>
                        <a:pt x="468" y="654"/>
                      </a:lnTo>
                      <a:lnTo>
                        <a:pt x="468" y="684"/>
                      </a:lnTo>
                      <a:lnTo>
                        <a:pt x="504" y="720"/>
                      </a:lnTo>
                      <a:lnTo>
                        <a:pt x="510" y="732"/>
                      </a:lnTo>
                      <a:lnTo>
                        <a:pt x="528" y="750"/>
                      </a:lnTo>
                      <a:lnTo>
                        <a:pt x="534" y="768"/>
                      </a:lnTo>
                      <a:lnTo>
                        <a:pt x="546" y="780"/>
                      </a:lnTo>
                      <a:lnTo>
                        <a:pt x="552" y="798"/>
                      </a:lnTo>
                      <a:lnTo>
                        <a:pt x="558" y="810"/>
                      </a:lnTo>
                      <a:lnTo>
                        <a:pt x="558" y="870"/>
                      </a:lnTo>
                      <a:lnTo>
                        <a:pt x="564" y="882"/>
                      </a:lnTo>
                      <a:lnTo>
                        <a:pt x="576" y="894"/>
                      </a:lnTo>
                      <a:lnTo>
                        <a:pt x="576" y="906"/>
                      </a:lnTo>
                      <a:lnTo>
                        <a:pt x="570" y="918"/>
                      </a:lnTo>
                      <a:lnTo>
                        <a:pt x="552" y="936"/>
                      </a:lnTo>
                      <a:lnTo>
                        <a:pt x="546" y="948"/>
                      </a:lnTo>
                      <a:lnTo>
                        <a:pt x="546" y="954"/>
                      </a:lnTo>
                      <a:lnTo>
                        <a:pt x="552" y="960"/>
                      </a:lnTo>
                      <a:lnTo>
                        <a:pt x="564" y="966"/>
                      </a:lnTo>
                      <a:lnTo>
                        <a:pt x="540" y="966"/>
                      </a:lnTo>
                      <a:lnTo>
                        <a:pt x="528" y="972"/>
                      </a:lnTo>
                      <a:lnTo>
                        <a:pt x="528" y="1038"/>
                      </a:lnTo>
                      <a:lnTo>
                        <a:pt x="534" y="1056"/>
                      </a:lnTo>
                      <a:lnTo>
                        <a:pt x="540" y="1062"/>
                      </a:lnTo>
                      <a:lnTo>
                        <a:pt x="546" y="1074"/>
                      </a:lnTo>
                      <a:lnTo>
                        <a:pt x="558" y="1074"/>
                      </a:lnTo>
                      <a:lnTo>
                        <a:pt x="576" y="1080"/>
                      </a:lnTo>
                      <a:lnTo>
                        <a:pt x="600" y="1080"/>
                      </a:lnTo>
                      <a:lnTo>
                        <a:pt x="612" y="1086"/>
                      </a:lnTo>
                      <a:lnTo>
                        <a:pt x="636" y="1110"/>
                      </a:lnTo>
                      <a:lnTo>
                        <a:pt x="642" y="1122"/>
                      </a:lnTo>
                      <a:lnTo>
                        <a:pt x="648" y="1140"/>
                      </a:lnTo>
                      <a:lnTo>
                        <a:pt x="654" y="1152"/>
                      </a:lnTo>
                      <a:lnTo>
                        <a:pt x="666" y="1164"/>
                      </a:lnTo>
                      <a:lnTo>
                        <a:pt x="678" y="1170"/>
                      </a:lnTo>
                      <a:lnTo>
                        <a:pt x="732" y="1170"/>
                      </a:lnTo>
                      <a:lnTo>
                        <a:pt x="750" y="1176"/>
                      </a:lnTo>
                      <a:lnTo>
                        <a:pt x="762" y="1182"/>
                      </a:lnTo>
                      <a:lnTo>
                        <a:pt x="768" y="1188"/>
                      </a:lnTo>
                      <a:lnTo>
                        <a:pt x="774" y="1200"/>
                      </a:lnTo>
                      <a:lnTo>
                        <a:pt x="786" y="1218"/>
                      </a:lnTo>
                      <a:lnTo>
                        <a:pt x="810" y="1242"/>
                      </a:lnTo>
                      <a:lnTo>
                        <a:pt x="834" y="1254"/>
                      </a:lnTo>
                      <a:lnTo>
                        <a:pt x="870" y="1266"/>
                      </a:lnTo>
                      <a:lnTo>
                        <a:pt x="912" y="1272"/>
                      </a:lnTo>
                      <a:lnTo>
                        <a:pt x="942" y="1278"/>
                      </a:lnTo>
                      <a:lnTo>
                        <a:pt x="960" y="1290"/>
                      </a:lnTo>
                      <a:lnTo>
                        <a:pt x="966" y="1302"/>
                      </a:lnTo>
                      <a:lnTo>
                        <a:pt x="978" y="1314"/>
                      </a:lnTo>
                      <a:lnTo>
                        <a:pt x="990" y="1320"/>
                      </a:lnTo>
                      <a:lnTo>
                        <a:pt x="996" y="1320"/>
                      </a:lnTo>
                      <a:lnTo>
                        <a:pt x="1002" y="1326"/>
                      </a:lnTo>
                      <a:lnTo>
                        <a:pt x="1008" y="1338"/>
                      </a:lnTo>
                      <a:lnTo>
                        <a:pt x="1014" y="1344"/>
                      </a:lnTo>
                      <a:lnTo>
                        <a:pt x="1080" y="1344"/>
                      </a:lnTo>
                      <a:lnTo>
                        <a:pt x="1092" y="1356"/>
                      </a:lnTo>
                      <a:lnTo>
                        <a:pt x="1098" y="1368"/>
                      </a:lnTo>
                      <a:lnTo>
                        <a:pt x="1104" y="1374"/>
                      </a:lnTo>
                      <a:lnTo>
                        <a:pt x="1116" y="1374"/>
                      </a:lnTo>
                      <a:lnTo>
                        <a:pt x="1140" y="1362"/>
                      </a:lnTo>
                      <a:lnTo>
                        <a:pt x="1170" y="1350"/>
                      </a:lnTo>
                      <a:lnTo>
                        <a:pt x="1206" y="1332"/>
                      </a:lnTo>
                      <a:lnTo>
                        <a:pt x="1260" y="1314"/>
                      </a:lnTo>
                      <a:lnTo>
                        <a:pt x="1278" y="1326"/>
                      </a:lnTo>
                      <a:lnTo>
                        <a:pt x="1308" y="1350"/>
                      </a:lnTo>
                      <a:lnTo>
                        <a:pt x="1344" y="1374"/>
                      </a:lnTo>
                      <a:lnTo>
                        <a:pt x="1386" y="1416"/>
                      </a:lnTo>
                      <a:lnTo>
                        <a:pt x="1386" y="1428"/>
                      </a:lnTo>
                      <a:lnTo>
                        <a:pt x="1392" y="1446"/>
                      </a:lnTo>
                      <a:lnTo>
                        <a:pt x="1398" y="1458"/>
                      </a:lnTo>
                      <a:lnTo>
                        <a:pt x="1416" y="1458"/>
                      </a:lnTo>
                      <a:lnTo>
                        <a:pt x="1422" y="1452"/>
                      </a:lnTo>
                      <a:lnTo>
                        <a:pt x="1422" y="1440"/>
                      </a:lnTo>
                      <a:close/>
                    </a:path>
                  </a:pathLst>
                </a:custGeom>
                <a:solidFill>
                  <a:schemeClr val="accent1"/>
                </a:solidFill>
                <a:ln w="3175">
                  <a:solidFill>
                    <a:schemeClr val="bg1"/>
                  </a:solidFill>
                  <a:round/>
                  <a:headEnd/>
                  <a:tailEnd/>
                </a:ln>
                <a:effec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590" name="Malta"/>
                <p:cNvSpPr>
                  <a:spLocks/>
                </p:cNvSpPr>
                <p:nvPr/>
              </p:nvSpPr>
              <p:spPr bwMode="gray">
                <a:xfrm>
                  <a:off x="2905" y="1564"/>
                  <a:ext cx="8" cy="7"/>
                </a:xfrm>
                <a:custGeom>
                  <a:avLst/>
                  <a:gdLst>
                    <a:gd name="T0" fmla="*/ 2147483647 w 30"/>
                    <a:gd name="T1" fmla="*/ 2147483647 h 30"/>
                    <a:gd name="T2" fmla="*/ 2147483647 w 30"/>
                    <a:gd name="T3" fmla="*/ 2147483647 h 30"/>
                    <a:gd name="T4" fmla="*/ 2147483647 w 30"/>
                    <a:gd name="T5" fmla="*/ 2147483647 h 30"/>
                    <a:gd name="T6" fmla="*/ 2147483647 w 30"/>
                    <a:gd name="T7" fmla="*/ 0 h 30"/>
                    <a:gd name="T8" fmla="*/ 2147483647 w 30"/>
                    <a:gd name="T9" fmla="*/ 0 h 30"/>
                    <a:gd name="T10" fmla="*/ 0 w 30"/>
                    <a:gd name="T11" fmla="*/ 2147483647 h 30"/>
                    <a:gd name="T12" fmla="*/ 0 w 30"/>
                    <a:gd name="T13" fmla="*/ 2147483647 h 30"/>
                    <a:gd name="T14" fmla="*/ 2147483647 w 30"/>
                    <a:gd name="T15" fmla="*/ 2147483647 h 30"/>
                    <a:gd name="T16" fmla="*/ 2147483647 w 30"/>
                    <a:gd name="T17" fmla="*/ 2147483647 h 30"/>
                    <a:gd name="T18" fmla="*/ 2147483647 w 30"/>
                    <a:gd name="T19" fmla="*/ 2147483647 h 3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0"/>
                    <a:gd name="T31" fmla="*/ 0 h 30"/>
                    <a:gd name="T32" fmla="*/ 30 w 30"/>
                    <a:gd name="T33" fmla="*/ 30 h 3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0" h="30">
                      <a:moveTo>
                        <a:pt x="24" y="30"/>
                      </a:moveTo>
                      <a:lnTo>
                        <a:pt x="30" y="24"/>
                      </a:lnTo>
                      <a:lnTo>
                        <a:pt x="30" y="12"/>
                      </a:lnTo>
                      <a:lnTo>
                        <a:pt x="18" y="0"/>
                      </a:lnTo>
                      <a:lnTo>
                        <a:pt x="6" y="0"/>
                      </a:lnTo>
                      <a:lnTo>
                        <a:pt x="0" y="6"/>
                      </a:lnTo>
                      <a:lnTo>
                        <a:pt x="0" y="18"/>
                      </a:lnTo>
                      <a:lnTo>
                        <a:pt x="6" y="24"/>
                      </a:lnTo>
                      <a:lnTo>
                        <a:pt x="18" y="30"/>
                      </a:lnTo>
                      <a:lnTo>
                        <a:pt x="24" y="3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591" name="Mauritania"/>
                <p:cNvSpPr>
                  <a:spLocks/>
                </p:cNvSpPr>
                <p:nvPr/>
              </p:nvSpPr>
              <p:spPr bwMode="gray">
                <a:xfrm>
                  <a:off x="2353" y="1749"/>
                  <a:ext cx="219" cy="257"/>
                </a:xfrm>
                <a:custGeom>
                  <a:avLst/>
                  <a:gdLst>
                    <a:gd name="T0" fmla="*/ 2147483647 w 858"/>
                    <a:gd name="T1" fmla="*/ 2147483647 h 1002"/>
                    <a:gd name="T2" fmla="*/ 2147483647 w 858"/>
                    <a:gd name="T3" fmla="*/ 2147483647 h 1002"/>
                    <a:gd name="T4" fmla="*/ 2147483647 w 858"/>
                    <a:gd name="T5" fmla="*/ 2147483647 h 1002"/>
                    <a:gd name="T6" fmla="*/ 2147483647 w 858"/>
                    <a:gd name="T7" fmla="*/ 2147483647 h 1002"/>
                    <a:gd name="T8" fmla="*/ 2147483647 w 858"/>
                    <a:gd name="T9" fmla="*/ 2147483647 h 1002"/>
                    <a:gd name="T10" fmla="*/ 2147483647 w 858"/>
                    <a:gd name="T11" fmla="*/ 2147483647 h 1002"/>
                    <a:gd name="T12" fmla="*/ 2147483647 w 858"/>
                    <a:gd name="T13" fmla="*/ 2147483647 h 1002"/>
                    <a:gd name="T14" fmla="*/ 2147483647 w 858"/>
                    <a:gd name="T15" fmla="*/ 2147483647 h 1002"/>
                    <a:gd name="T16" fmla="*/ 2147483647 w 858"/>
                    <a:gd name="T17" fmla="*/ 2147483647 h 1002"/>
                    <a:gd name="T18" fmla="*/ 2147483647 w 858"/>
                    <a:gd name="T19" fmla="*/ 2147483647 h 1002"/>
                    <a:gd name="T20" fmla="*/ 2147483647 w 858"/>
                    <a:gd name="T21" fmla="*/ 2147483647 h 1002"/>
                    <a:gd name="T22" fmla="*/ 2147483647 w 858"/>
                    <a:gd name="T23" fmla="*/ 2147483647 h 1002"/>
                    <a:gd name="T24" fmla="*/ 2147483647 w 858"/>
                    <a:gd name="T25" fmla="*/ 2147483647 h 1002"/>
                    <a:gd name="T26" fmla="*/ 2147483647 w 858"/>
                    <a:gd name="T27" fmla="*/ 2147483647 h 1002"/>
                    <a:gd name="T28" fmla="*/ 2147483647 w 858"/>
                    <a:gd name="T29" fmla="*/ 2147483647 h 1002"/>
                    <a:gd name="T30" fmla="*/ 2147483647 w 858"/>
                    <a:gd name="T31" fmla="*/ 2147483647 h 1002"/>
                    <a:gd name="T32" fmla="*/ 2147483647 w 858"/>
                    <a:gd name="T33" fmla="*/ 2147483647 h 1002"/>
                    <a:gd name="T34" fmla="*/ 2147483647 w 858"/>
                    <a:gd name="T35" fmla="*/ 2147483647 h 1002"/>
                    <a:gd name="T36" fmla="*/ 2147483647 w 858"/>
                    <a:gd name="T37" fmla="*/ 2147483647 h 1002"/>
                    <a:gd name="T38" fmla="*/ 2147483647 w 858"/>
                    <a:gd name="T39" fmla="*/ 2147483647 h 1002"/>
                    <a:gd name="T40" fmla="*/ 2147483647 w 858"/>
                    <a:gd name="T41" fmla="*/ 2147483647 h 1002"/>
                    <a:gd name="T42" fmla="*/ 2147483647 w 858"/>
                    <a:gd name="T43" fmla="*/ 2147483647 h 1002"/>
                    <a:gd name="T44" fmla="*/ 2147483647 w 858"/>
                    <a:gd name="T45" fmla="*/ 2147483647 h 1002"/>
                    <a:gd name="T46" fmla="*/ 2147483647 w 858"/>
                    <a:gd name="T47" fmla="*/ 2147483647 h 1002"/>
                    <a:gd name="T48" fmla="*/ 2147483647 w 858"/>
                    <a:gd name="T49" fmla="*/ 2147483647 h 1002"/>
                    <a:gd name="T50" fmla="*/ 2147483647 w 858"/>
                    <a:gd name="T51" fmla="*/ 2147483647 h 1002"/>
                    <a:gd name="T52" fmla="*/ 2147483647 w 858"/>
                    <a:gd name="T53" fmla="*/ 2147483647 h 1002"/>
                    <a:gd name="T54" fmla="*/ 2147483647 w 858"/>
                    <a:gd name="T55" fmla="*/ 2147483647 h 1002"/>
                    <a:gd name="T56" fmla="*/ 2147483647 w 858"/>
                    <a:gd name="T57" fmla="*/ 2147483647 h 1002"/>
                    <a:gd name="T58" fmla="*/ 2147483647 w 858"/>
                    <a:gd name="T59" fmla="*/ 2147483647 h 1002"/>
                    <a:gd name="T60" fmla="*/ 2147483647 w 858"/>
                    <a:gd name="T61" fmla="*/ 2147483647 h 1002"/>
                    <a:gd name="T62" fmla="*/ 2147483647 w 858"/>
                    <a:gd name="T63" fmla="*/ 2147483647 h 1002"/>
                    <a:gd name="T64" fmla="*/ 2147483647 w 858"/>
                    <a:gd name="T65" fmla="*/ 2147483647 h 1002"/>
                    <a:gd name="T66" fmla="*/ 2147483647 w 858"/>
                    <a:gd name="T67" fmla="*/ 2147483647 h 1002"/>
                    <a:gd name="T68" fmla="*/ 2147483647 w 858"/>
                    <a:gd name="T69" fmla="*/ 2147483647 h 1002"/>
                    <a:gd name="T70" fmla="*/ 2147483647 w 858"/>
                    <a:gd name="T71" fmla="*/ 2147483647 h 1002"/>
                    <a:gd name="T72" fmla="*/ 2147483647 w 858"/>
                    <a:gd name="T73" fmla="*/ 2147483647 h 1002"/>
                    <a:gd name="T74" fmla="*/ 2147483647 w 858"/>
                    <a:gd name="T75" fmla="*/ 2147483647 h 1002"/>
                    <a:gd name="T76" fmla="*/ 2147483647 w 858"/>
                    <a:gd name="T77" fmla="*/ 2147483647 h 1002"/>
                    <a:gd name="T78" fmla="*/ 2147483647 w 858"/>
                    <a:gd name="T79" fmla="*/ 2147483647 h 1002"/>
                    <a:gd name="T80" fmla="*/ 2147483647 w 858"/>
                    <a:gd name="T81" fmla="*/ 2147483647 h 1002"/>
                    <a:gd name="T82" fmla="*/ 2147483647 w 858"/>
                    <a:gd name="T83" fmla="*/ 2147483647 h 1002"/>
                    <a:gd name="T84" fmla="*/ 2147483647 w 858"/>
                    <a:gd name="T85" fmla="*/ 2147483647 h 1002"/>
                    <a:gd name="T86" fmla="*/ 2147483647 w 858"/>
                    <a:gd name="T87" fmla="*/ 2147483647 h 1002"/>
                    <a:gd name="T88" fmla="*/ 2147483647 w 858"/>
                    <a:gd name="T89" fmla="*/ 2147483647 h 1002"/>
                    <a:gd name="T90" fmla="*/ 2147483647 w 858"/>
                    <a:gd name="T91" fmla="*/ 2147483647 h 1002"/>
                    <a:gd name="T92" fmla="*/ 2147483647 w 858"/>
                    <a:gd name="T93" fmla="*/ 2147483647 h 1002"/>
                    <a:gd name="T94" fmla="*/ 2147483647 w 858"/>
                    <a:gd name="T95" fmla="*/ 2147483647 h 1002"/>
                    <a:gd name="T96" fmla="*/ 2147483647 w 858"/>
                    <a:gd name="T97" fmla="*/ 2147483647 h 1002"/>
                    <a:gd name="T98" fmla="*/ 0 w 858"/>
                    <a:gd name="T99" fmla="*/ 2147483647 h 1002"/>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858"/>
                    <a:gd name="T151" fmla="*/ 0 h 1002"/>
                    <a:gd name="T152" fmla="*/ 858 w 858"/>
                    <a:gd name="T153" fmla="*/ 1002 h 1002"/>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858" h="1002">
                      <a:moveTo>
                        <a:pt x="0" y="498"/>
                      </a:moveTo>
                      <a:lnTo>
                        <a:pt x="18" y="498"/>
                      </a:lnTo>
                      <a:lnTo>
                        <a:pt x="18" y="528"/>
                      </a:lnTo>
                      <a:lnTo>
                        <a:pt x="24" y="534"/>
                      </a:lnTo>
                      <a:lnTo>
                        <a:pt x="30" y="534"/>
                      </a:lnTo>
                      <a:lnTo>
                        <a:pt x="30" y="528"/>
                      </a:lnTo>
                      <a:lnTo>
                        <a:pt x="36" y="522"/>
                      </a:lnTo>
                      <a:lnTo>
                        <a:pt x="48" y="558"/>
                      </a:lnTo>
                      <a:lnTo>
                        <a:pt x="42" y="600"/>
                      </a:lnTo>
                      <a:lnTo>
                        <a:pt x="30" y="600"/>
                      </a:lnTo>
                      <a:lnTo>
                        <a:pt x="36" y="624"/>
                      </a:lnTo>
                      <a:lnTo>
                        <a:pt x="24" y="630"/>
                      </a:lnTo>
                      <a:lnTo>
                        <a:pt x="30" y="642"/>
                      </a:lnTo>
                      <a:lnTo>
                        <a:pt x="36" y="648"/>
                      </a:lnTo>
                      <a:lnTo>
                        <a:pt x="48" y="666"/>
                      </a:lnTo>
                      <a:lnTo>
                        <a:pt x="60" y="690"/>
                      </a:lnTo>
                      <a:lnTo>
                        <a:pt x="60" y="720"/>
                      </a:lnTo>
                      <a:lnTo>
                        <a:pt x="54" y="738"/>
                      </a:lnTo>
                      <a:lnTo>
                        <a:pt x="54" y="750"/>
                      </a:lnTo>
                      <a:lnTo>
                        <a:pt x="48" y="756"/>
                      </a:lnTo>
                      <a:lnTo>
                        <a:pt x="48" y="804"/>
                      </a:lnTo>
                      <a:lnTo>
                        <a:pt x="42" y="816"/>
                      </a:lnTo>
                      <a:lnTo>
                        <a:pt x="30" y="822"/>
                      </a:lnTo>
                      <a:lnTo>
                        <a:pt x="24" y="840"/>
                      </a:lnTo>
                      <a:lnTo>
                        <a:pt x="18" y="852"/>
                      </a:lnTo>
                      <a:lnTo>
                        <a:pt x="18" y="864"/>
                      </a:lnTo>
                      <a:lnTo>
                        <a:pt x="12" y="876"/>
                      </a:lnTo>
                      <a:lnTo>
                        <a:pt x="12" y="906"/>
                      </a:lnTo>
                      <a:lnTo>
                        <a:pt x="18" y="900"/>
                      </a:lnTo>
                      <a:lnTo>
                        <a:pt x="36" y="864"/>
                      </a:lnTo>
                      <a:lnTo>
                        <a:pt x="42" y="858"/>
                      </a:lnTo>
                      <a:lnTo>
                        <a:pt x="54" y="852"/>
                      </a:lnTo>
                      <a:lnTo>
                        <a:pt x="60" y="852"/>
                      </a:lnTo>
                      <a:lnTo>
                        <a:pt x="66" y="858"/>
                      </a:lnTo>
                      <a:lnTo>
                        <a:pt x="72" y="858"/>
                      </a:lnTo>
                      <a:lnTo>
                        <a:pt x="84" y="852"/>
                      </a:lnTo>
                      <a:lnTo>
                        <a:pt x="114" y="858"/>
                      </a:lnTo>
                      <a:lnTo>
                        <a:pt x="114" y="840"/>
                      </a:lnTo>
                      <a:lnTo>
                        <a:pt x="138" y="852"/>
                      </a:lnTo>
                      <a:lnTo>
                        <a:pt x="162" y="852"/>
                      </a:lnTo>
                      <a:lnTo>
                        <a:pt x="174" y="858"/>
                      </a:lnTo>
                      <a:lnTo>
                        <a:pt x="180" y="858"/>
                      </a:lnTo>
                      <a:lnTo>
                        <a:pt x="186" y="870"/>
                      </a:lnTo>
                      <a:lnTo>
                        <a:pt x="198" y="882"/>
                      </a:lnTo>
                      <a:lnTo>
                        <a:pt x="204" y="894"/>
                      </a:lnTo>
                      <a:lnTo>
                        <a:pt x="216" y="888"/>
                      </a:lnTo>
                      <a:lnTo>
                        <a:pt x="234" y="888"/>
                      </a:lnTo>
                      <a:lnTo>
                        <a:pt x="240" y="894"/>
                      </a:lnTo>
                      <a:lnTo>
                        <a:pt x="240" y="900"/>
                      </a:lnTo>
                      <a:lnTo>
                        <a:pt x="246" y="912"/>
                      </a:lnTo>
                      <a:lnTo>
                        <a:pt x="246" y="942"/>
                      </a:lnTo>
                      <a:lnTo>
                        <a:pt x="264" y="942"/>
                      </a:lnTo>
                      <a:lnTo>
                        <a:pt x="270" y="948"/>
                      </a:lnTo>
                      <a:lnTo>
                        <a:pt x="270" y="972"/>
                      </a:lnTo>
                      <a:lnTo>
                        <a:pt x="300" y="978"/>
                      </a:lnTo>
                      <a:lnTo>
                        <a:pt x="312" y="1002"/>
                      </a:lnTo>
                      <a:lnTo>
                        <a:pt x="330" y="1002"/>
                      </a:lnTo>
                      <a:lnTo>
                        <a:pt x="342" y="996"/>
                      </a:lnTo>
                      <a:lnTo>
                        <a:pt x="348" y="996"/>
                      </a:lnTo>
                      <a:lnTo>
                        <a:pt x="348" y="948"/>
                      </a:lnTo>
                      <a:lnTo>
                        <a:pt x="360" y="936"/>
                      </a:lnTo>
                      <a:lnTo>
                        <a:pt x="378" y="936"/>
                      </a:lnTo>
                      <a:lnTo>
                        <a:pt x="402" y="960"/>
                      </a:lnTo>
                      <a:lnTo>
                        <a:pt x="408" y="972"/>
                      </a:lnTo>
                      <a:lnTo>
                        <a:pt x="420" y="948"/>
                      </a:lnTo>
                      <a:lnTo>
                        <a:pt x="456" y="948"/>
                      </a:lnTo>
                      <a:lnTo>
                        <a:pt x="462" y="954"/>
                      </a:lnTo>
                      <a:lnTo>
                        <a:pt x="492" y="954"/>
                      </a:lnTo>
                      <a:lnTo>
                        <a:pt x="504" y="948"/>
                      </a:lnTo>
                      <a:lnTo>
                        <a:pt x="510" y="948"/>
                      </a:lnTo>
                      <a:lnTo>
                        <a:pt x="510" y="936"/>
                      </a:lnTo>
                      <a:lnTo>
                        <a:pt x="516" y="930"/>
                      </a:lnTo>
                      <a:lnTo>
                        <a:pt x="522" y="930"/>
                      </a:lnTo>
                      <a:lnTo>
                        <a:pt x="522" y="942"/>
                      </a:lnTo>
                      <a:lnTo>
                        <a:pt x="786" y="942"/>
                      </a:lnTo>
                      <a:lnTo>
                        <a:pt x="798" y="900"/>
                      </a:lnTo>
                      <a:lnTo>
                        <a:pt x="804" y="894"/>
                      </a:lnTo>
                      <a:lnTo>
                        <a:pt x="804" y="882"/>
                      </a:lnTo>
                      <a:lnTo>
                        <a:pt x="786" y="864"/>
                      </a:lnTo>
                      <a:lnTo>
                        <a:pt x="780" y="864"/>
                      </a:lnTo>
                      <a:lnTo>
                        <a:pt x="738" y="174"/>
                      </a:lnTo>
                      <a:lnTo>
                        <a:pt x="858" y="180"/>
                      </a:lnTo>
                      <a:lnTo>
                        <a:pt x="600" y="0"/>
                      </a:lnTo>
                      <a:lnTo>
                        <a:pt x="594" y="48"/>
                      </a:lnTo>
                      <a:lnTo>
                        <a:pt x="588" y="54"/>
                      </a:lnTo>
                      <a:lnTo>
                        <a:pt x="588" y="90"/>
                      </a:lnTo>
                      <a:lnTo>
                        <a:pt x="366" y="96"/>
                      </a:lnTo>
                      <a:lnTo>
                        <a:pt x="366" y="108"/>
                      </a:lnTo>
                      <a:lnTo>
                        <a:pt x="354" y="114"/>
                      </a:lnTo>
                      <a:lnTo>
                        <a:pt x="354" y="306"/>
                      </a:lnTo>
                      <a:lnTo>
                        <a:pt x="348" y="312"/>
                      </a:lnTo>
                      <a:lnTo>
                        <a:pt x="336" y="318"/>
                      </a:lnTo>
                      <a:lnTo>
                        <a:pt x="306" y="318"/>
                      </a:lnTo>
                      <a:lnTo>
                        <a:pt x="282" y="330"/>
                      </a:lnTo>
                      <a:lnTo>
                        <a:pt x="276" y="342"/>
                      </a:lnTo>
                      <a:lnTo>
                        <a:pt x="276" y="360"/>
                      </a:lnTo>
                      <a:lnTo>
                        <a:pt x="282" y="372"/>
                      </a:lnTo>
                      <a:lnTo>
                        <a:pt x="276" y="474"/>
                      </a:lnTo>
                      <a:lnTo>
                        <a:pt x="0" y="474"/>
                      </a:lnTo>
                      <a:lnTo>
                        <a:pt x="0" y="498"/>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592" name="Mali"/>
                <p:cNvSpPr>
                  <a:spLocks/>
                </p:cNvSpPr>
                <p:nvPr/>
              </p:nvSpPr>
              <p:spPr bwMode="gray">
                <a:xfrm>
                  <a:off x="2433" y="1794"/>
                  <a:ext cx="297" cy="307"/>
                </a:xfrm>
                <a:custGeom>
                  <a:avLst/>
                  <a:gdLst>
                    <a:gd name="T0" fmla="*/ 2147483647 w 1164"/>
                    <a:gd name="T1" fmla="*/ 2147483647 h 1200"/>
                    <a:gd name="T2" fmla="*/ 2147483647 w 1164"/>
                    <a:gd name="T3" fmla="*/ 2147483647 h 1200"/>
                    <a:gd name="T4" fmla="*/ 2147483647 w 1164"/>
                    <a:gd name="T5" fmla="*/ 2147483647 h 1200"/>
                    <a:gd name="T6" fmla="*/ 2147483647 w 1164"/>
                    <a:gd name="T7" fmla="*/ 2147483647 h 1200"/>
                    <a:gd name="T8" fmla="*/ 2147483647 w 1164"/>
                    <a:gd name="T9" fmla="*/ 2147483647 h 1200"/>
                    <a:gd name="T10" fmla="*/ 2147483647 w 1164"/>
                    <a:gd name="T11" fmla="*/ 2147483647 h 1200"/>
                    <a:gd name="T12" fmla="*/ 2147483647 w 1164"/>
                    <a:gd name="T13" fmla="*/ 2147483647 h 1200"/>
                    <a:gd name="T14" fmla="*/ 2147483647 w 1164"/>
                    <a:gd name="T15" fmla="*/ 2147483647 h 1200"/>
                    <a:gd name="T16" fmla="*/ 2147483647 w 1164"/>
                    <a:gd name="T17" fmla="*/ 2147483647 h 1200"/>
                    <a:gd name="T18" fmla="*/ 2147483647 w 1164"/>
                    <a:gd name="T19" fmla="*/ 2147483647 h 1200"/>
                    <a:gd name="T20" fmla="*/ 2147483647 w 1164"/>
                    <a:gd name="T21" fmla="*/ 2147483647 h 1200"/>
                    <a:gd name="T22" fmla="*/ 2147483647 w 1164"/>
                    <a:gd name="T23" fmla="*/ 2147483647 h 1200"/>
                    <a:gd name="T24" fmla="*/ 2147483647 w 1164"/>
                    <a:gd name="T25" fmla="*/ 2147483647 h 1200"/>
                    <a:gd name="T26" fmla="*/ 2147483647 w 1164"/>
                    <a:gd name="T27" fmla="*/ 2147483647 h 1200"/>
                    <a:gd name="T28" fmla="*/ 2147483647 w 1164"/>
                    <a:gd name="T29" fmla="*/ 2147483647 h 1200"/>
                    <a:gd name="T30" fmla="*/ 2147483647 w 1164"/>
                    <a:gd name="T31" fmla="*/ 2147483647 h 1200"/>
                    <a:gd name="T32" fmla="*/ 2147483647 w 1164"/>
                    <a:gd name="T33" fmla="*/ 2147483647 h 1200"/>
                    <a:gd name="T34" fmla="*/ 2147483647 w 1164"/>
                    <a:gd name="T35" fmla="*/ 2147483647 h 1200"/>
                    <a:gd name="T36" fmla="*/ 2147483647 w 1164"/>
                    <a:gd name="T37" fmla="*/ 2147483647 h 1200"/>
                    <a:gd name="T38" fmla="*/ 2147483647 w 1164"/>
                    <a:gd name="T39" fmla="*/ 2147483647 h 1200"/>
                    <a:gd name="T40" fmla="*/ 2147483647 w 1164"/>
                    <a:gd name="T41" fmla="*/ 2147483647 h 1200"/>
                    <a:gd name="T42" fmla="*/ 2147483647 w 1164"/>
                    <a:gd name="T43" fmla="*/ 2147483647 h 1200"/>
                    <a:gd name="T44" fmla="*/ 2147483647 w 1164"/>
                    <a:gd name="T45" fmla="*/ 2147483647 h 1200"/>
                    <a:gd name="T46" fmla="*/ 2147483647 w 1164"/>
                    <a:gd name="T47" fmla="*/ 2147483647 h 1200"/>
                    <a:gd name="T48" fmla="*/ 2147483647 w 1164"/>
                    <a:gd name="T49" fmla="*/ 2147483647 h 1200"/>
                    <a:gd name="T50" fmla="*/ 2147483647 w 1164"/>
                    <a:gd name="T51" fmla="*/ 2147483647 h 1200"/>
                    <a:gd name="T52" fmla="*/ 2147483647 w 1164"/>
                    <a:gd name="T53" fmla="*/ 2147483647 h 1200"/>
                    <a:gd name="T54" fmla="*/ 0 w 1164"/>
                    <a:gd name="T55" fmla="*/ 2147483647 h 1200"/>
                    <a:gd name="T56" fmla="*/ 2147483647 w 1164"/>
                    <a:gd name="T57" fmla="*/ 2147483647 h 1200"/>
                    <a:gd name="T58" fmla="*/ 2147483647 w 1164"/>
                    <a:gd name="T59" fmla="*/ 2147483647 h 1200"/>
                    <a:gd name="T60" fmla="*/ 2147483647 w 1164"/>
                    <a:gd name="T61" fmla="*/ 2147483647 h 1200"/>
                    <a:gd name="T62" fmla="*/ 2147483647 w 1164"/>
                    <a:gd name="T63" fmla="*/ 2147483647 h 1200"/>
                    <a:gd name="T64" fmla="*/ 2147483647 w 1164"/>
                    <a:gd name="T65" fmla="*/ 2147483647 h 1200"/>
                    <a:gd name="T66" fmla="*/ 2147483647 w 1164"/>
                    <a:gd name="T67" fmla="*/ 2147483647 h 1200"/>
                    <a:gd name="T68" fmla="*/ 2147483647 w 1164"/>
                    <a:gd name="T69" fmla="*/ 2147483647 h 1200"/>
                    <a:gd name="T70" fmla="*/ 2147483647 w 1164"/>
                    <a:gd name="T71" fmla="*/ 2147483647 h 1200"/>
                    <a:gd name="T72" fmla="*/ 2147483647 w 1164"/>
                    <a:gd name="T73" fmla="*/ 2147483647 h 1200"/>
                    <a:gd name="T74" fmla="*/ 2147483647 w 1164"/>
                    <a:gd name="T75" fmla="*/ 2147483647 h 1200"/>
                    <a:gd name="T76" fmla="*/ 2147483647 w 1164"/>
                    <a:gd name="T77" fmla="*/ 2147483647 h 1200"/>
                    <a:gd name="T78" fmla="*/ 2147483647 w 1164"/>
                    <a:gd name="T79" fmla="*/ 2147483647 h 1200"/>
                    <a:gd name="T80" fmla="*/ 2147483647 w 1164"/>
                    <a:gd name="T81" fmla="*/ 2147483647 h 1200"/>
                    <a:gd name="T82" fmla="*/ 2147483647 w 1164"/>
                    <a:gd name="T83" fmla="*/ 2147483647 h 1200"/>
                    <a:gd name="T84" fmla="*/ 2147483647 w 1164"/>
                    <a:gd name="T85" fmla="*/ 2147483647 h 1200"/>
                    <a:gd name="T86" fmla="*/ 2147483647 w 1164"/>
                    <a:gd name="T87" fmla="*/ 2147483647 h 1200"/>
                    <a:gd name="T88" fmla="*/ 2147483647 w 1164"/>
                    <a:gd name="T89" fmla="*/ 2147483647 h 1200"/>
                    <a:gd name="T90" fmla="*/ 2147483647 w 1164"/>
                    <a:gd name="T91" fmla="*/ 2147483647 h 1200"/>
                    <a:gd name="T92" fmla="*/ 2147483647 w 1164"/>
                    <a:gd name="T93" fmla="*/ 2147483647 h 1200"/>
                    <a:gd name="T94" fmla="*/ 2147483647 w 1164"/>
                    <a:gd name="T95" fmla="*/ 2147483647 h 1200"/>
                    <a:gd name="T96" fmla="*/ 2147483647 w 1164"/>
                    <a:gd name="T97" fmla="*/ 2147483647 h 1200"/>
                    <a:gd name="T98" fmla="*/ 2147483647 w 1164"/>
                    <a:gd name="T99" fmla="*/ 2147483647 h 1200"/>
                    <a:gd name="T100" fmla="*/ 2147483647 w 1164"/>
                    <a:gd name="T101" fmla="*/ 2147483647 h 1200"/>
                    <a:gd name="T102" fmla="*/ 2147483647 w 1164"/>
                    <a:gd name="T103" fmla="*/ 2147483647 h 1200"/>
                    <a:gd name="T104" fmla="*/ 2147483647 w 1164"/>
                    <a:gd name="T105" fmla="*/ 2147483647 h 1200"/>
                    <a:gd name="T106" fmla="*/ 2147483647 w 1164"/>
                    <a:gd name="T107" fmla="*/ 2147483647 h 120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164"/>
                    <a:gd name="T163" fmla="*/ 0 h 1200"/>
                    <a:gd name="T164" fmla="*/ 1164 w 1164"/>
                    <a:gd name="T165" fmla="*/ 1200 h 120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164" h="1200">
                      <a:moveTo>
                        <a:pt x="612" y="954"/>
                      </a:moveTo>
                      <a:lnTo>
                        <a:pt x="636" y="948"/>
                      </a:lnTo>
                      <a:lnTo>
                        <a:pt x="636" y="912"/>
                      </a:lnTo>
                      <a:lnTo>
                        <a:pt x="654" y="912"/>
                      </a:lnTo>
                      <a:lnTo>
                        <a:pt x="654" y="906"/>
                      </a:lnTo>
                      <a:lnTo>
                        <a:pt x="660" y="900"/>
                      </a:lnTo>
                      <a:lnTo>
                        <a:pt x="666" y="888"/>
                      </a:lnTo>
                      <a:lnTo>
                        <a:pt x="678" y="882"/>
                      </a:lnTo>
                      <a:lnTo>
                        <a:pt x="684" y="870"/>
                      </a:lnTo>
                      <a:lnTo>
                        <a:pt x="690" y="864"/>
                      </a:lnTo>
                      <a:lnTo>
                        <a:pt x="696" y="864"/>
                      </a:lnTo>
                      <a:lnTo>
                        <a:pt x="708" y="876"/>
                      </a:lnTo>
                      <a:lnTo>
                        <a:pt x="720" y="876"/>
                      </a:lnTo>
                      <a:lnTo>
                        <a:pt x="720" y="870"/>
                      </a:lnTo>
                      <a:lnTo>
                        <a:pt x="726" y="864"/>
                      </a:lnTo>
                      <a:lnTo>
                        <a:pt x="726" y="846"/>
                      </a:lnTo>
                      <a:lnTo>
                        <a:pt x="750" y="846"/>
                      </a:lnTo>
                      <a:lnTo>
                        <a:pt x="768" y="822"/>
                      </a:lnTo>
                      <a:lnTo>
                        <a:pt x="792" y="822"/>
                      </a:lnTo>
                      <a:lnTo>
                        <a:pt x="810" y="804"/>
                      </a:lnTo>
                      <a:lnTo>
                        <a:pt x="858" y="804"/>
                      </a:lnTo>
                      <a:lnTo>
                        <a:pt x="882" y="816"/>
                      </a:lnTo>
                      <a:lnTo>
                        <a:pt x="930" y="804"/>
                      </a:lnTo>
                      <a:lnTo>
                        <a:pt x="954" y="786"/>
                      </a:lnTo>
                      <a:lnTo>
                        <a:pt x="1020" y="792"/>
                      </a:lnTo>
                      <a:lnTo>
                        <a:pt x="1020" y="774"/>
                      </a:lnTo>
                      <a:lnTo>
                        <a:pt x="1068" y="780"/>
                      </a:lnTo>
                      <a:lnTo>
                        <a:pt x="1080" y="774"/>
                      </a:lnTo>
                      <a:lnTo>
                        <a:pt x="1104" y="774"/>
                      </a:lnTo>
                      <a:lnTo>
                        <a:pt x="1122" y="768"/>
                      </a:lnTo>
                      <a:lnTo>
                        <a:pt x="1134" y="762"/>
                      </a:lnTo>
                      <a:lnTo>
                        <a:pt x="1140" y="750"/>
                      </a:lnTo>
                      <a:lnTo>
                        <a:pt x="1140" y="732"/>
                      </a:lnTo>
                      <a:lnTo>
                        <a:pt x="1146" y="720"/>
                      </a:lnTo>
                      <a:lnTo>
                        <a:pt x="1146" y="708"/>
                      </a:lnTo>
                      <a:lnTo>
                        <a:pt x="1164" y="684"/>
                      </a:lnTo>
                      <a:lnTo>
                        <a:pt x="1164" y="480"/>
                      </a:lnTo>
                      <a:lnTo>
                        <a:pt x="1140" y="480"/>
                      </a:lnTo>
                      <a:lnTo>
                        <a:pt x="1134" y="486"/>
                      </a:lnTo>
                      <a:lnTo>
                        <a:pt x="1104" y="486"/>
                      </a:lnTo>
                      <a:lnTo>
                        <a:pt x="1092" y="480"/>
                      </a:lnTo>
                      <a:lnTo>
                        <a:pt x="1086" y="474"/>
                      </a:lnTo>
                      <a:lnTo>
                        <a:pt x="1086" y="468"/>
                      </a:lnTo>
                      <a:lnTo>
                        <a:pt x="1104" y="450"/>
                      </a:lnTo>
                      <a:lnTo>
                        <a:pt x="1104" y="432"/>
                      </a:lnTo>
                      <a:lnTo>
                        <a:pt x="1092" y="408"/>
                      </a:lnTo>
                      <a:lnTo>
                        <a:pt x="1080" y="402"/>
                      </a:lnTo>
                      <a:lnTo>
                        <a:pt x="1050" y="402"/>
                      </a:lnTo>
                      <a:lnTo>
                        <a:pt x="1044" y="408"/>
                      </a:lnTo>
                      <a:lnTo>
                        <a:pt x="1038" y="408"/>
                      </a:lnTo>
                      <a:lnTo>
                        <a:pt x="1032" y="378"/>
                      </a:lnTo>
                      <a:lnTo>
                        <a:pt x="996" y="378"/>
                      </a:lnTo>
                      <a:lnTo>
                        <a:pt x="984" y="366"/>
                      </a:lnTo>
                      <a:lnTo>
                        <a:pt x="984" y="348"/>
                      </a:lnTo>
                      <a:lnTo>
                        <a:pt x="978" y="342"/>
                      </a:lnTo>
                      <a:lnTo>
                        <a:pt x="954" y="342"/>
                      </a:lnTo>
                      <a:lnTo>
                        <a:pt x="954" y="318"/>
                      </a:lnTo>
                      <a:lnTo>
                        <a:pt x="546" y="6"/>
                      </a:lnTo>
                      <a:lnTo>
                        <a:pt x="426" y="0"/>
                      </a:lnTo>
                      <a:lnTo>
                        <a:pt x="468" y="690"/>
                      </a:lnTo>
                      <a:lnTo>
                        <a:pt x="474" y="690"/>
                      </a:lnTo>
                      <a:lnTo>
                        <a:pt x="492" y="708"/>
                      </a:lnTo>
                      <a:lnTo>
                        <a:pt x="492" y="720"/>
                      </a:lnTo>
                      <a:lnTo>
                        <a:pt x="486" y="726"/>
                      </a:lnTo>
                      <a:lnTo>
                        <a:pt x="474" y="768"/>
                      </a:lnTo>
                      <a:lnTo>
                        <a:pt x="210" y="768"/>
                      </a:lnTo>
                      <a:lnTo>
                        <a:pt x="210" y="756"/>
                      </a:lnTo>
                      <a:lnTo>
                        <a:pt x="204" y="756"/>
                      </a:lnTo>
                      <a:lnTo>
                        <a:pt x="198" y="762"/>
                      </a:lnTo>
                      <a:lnTo>
                        <a:pt x="198" y="774"/>
                      </a:lnTo>
                      <a:lnTo>
                        <a:pt x="192" y="774"/>
                      </a:lnTo>
                      <a:lnTo>
                        <a:pt x="180" y="780"/>
                      </a:lnTo>
                      <a:lnTo>
                        <a:pt x="150" y="780"/>
                      </a:lnTo>
                      <a:lnTo>
                        <a:pt x="144" y="774"/>
                      </a:lnTo>
                      <a:lnTo>
                        <a:pt x="108" y="774"/>
                      </a:lnTo>
                      <a:lnTo>
                        <a:pt x="96" y="798"/>
                      </a:lnTo>
                      <a:lnTo>
                        <a:pt x="90" y="786"/>
                      </a:lnTo>
                      <a:lnTo>
                        <a:pt x="66" y="762"/>
                      </a:lnTo>
                      <a:lnTo>
                        <a:pt x="48" y="762"/>
                      </a:lnTo>
                      <a:lnTo>
                        <a:pt x="36" y="774"/>
                      </a:lnTo>
                      <a:lnTo>
                        <a:pt x="36" y="822"/>
                      </a:lnTo>
                      <a:lnTo>
                        <a:pt x="30" y="822"/>
                      </a:lnTo>
                      <a:lnTo>
                        <a:pt x="18" y="828"/>
                      </a:lnTo>
                      <a:lnTo>
                        <a:pt x="0" y="828"/>
                      </a:lnTo>
                      <a:lnTo>
                        <a:pt x="0" y="852"/>
                      </a:lnTo>
                      <a:lnTo>
                        <a:pt x="12" y="870"/>
                      </a:lnTo>
                      <a:lnTo>
                        <a:pt x="12" y="876"/>
                      </a:lnTo>
                      <a:lnTo>
                        <a:pt x="24" y="888"/>
                      </a:lnTo>
                      <a:lnTo>
                        <a:pt x="24" y="906"/>
                      </a:lnTo>
                      <a:lnTo>
                        <a:pt x="18" y="912"/>
                      </a:lnTo>
                      <a:lnTo>
                        <a:pt x="18" y="936"/>
                      </a:lnTo>
                      <a:lnTo>
                        <a:pt x="24" y="942"/>
                      </a:lnTo>
                      <a:lnTo>
                        <a:pt x="36" y="942"/>
                      </a:lnTo>
                      <a:lnTo>
                        <a:pt x="36" y="936"/>
                      </a:lnTo>
                      <a:lnTo>
                        <a:pt x="42" y="936"/>
                      </a:lnTo>
                      <a:lnTo>
                        <a:pt x="48" y="942"/>
                      </a:lnTo>
                      <a:lnTo>
                        <a:pt x="54" y="954"/>
                      </a:lnTo>
                      <a:lnTo>
                        <a:pt x="54" y="1032"/>
                      </a:lnTo>
                      <a:lnTo>
                        <a:pt x="60" y="1044"/>
                      </a:lnTo>
                      <a:lnTo>
                        <a:pt x="60" y="1050"/>
                      </a:lnTo>
                      <a:lnTo>
                        <a:pt x="66" y="1056"/>
                      </a:lnTo>
                      <a:lnTo>
                        <a:pt x="72" y="1050"/>
                      </a:lnTo>
                      <a:lnTo>
                        <a:pt x="78" y="1038"/>
                      </a:lnTo>
                      <a:lnTo>
                        <a:pt x="90" y="1026"/>
                      </a:lnTo>
                      <a:lnTo>
                        <a:pt x="102" y="1038"/>
                      </a:lnTo>
                      <a:lnTo>
                        <a:pt x="108" y="1050"/>
                      </a:lnTo>
                      <a:lnTo>
                        <a:pt x="108" y="1062"/>
                      </a:lnTo>
                      <a:lnTo>
                        <a:pt x="114" y="1050"/>
                      </a:lnTo>
                      <a:lnTo>
                        <a:pt x="126" y="1038"/>
                      </a:lnTo>
                      <a:lnTo>
                        <a:pt x="132" y="1026"/>
                      </a:lnTo>
                      <a:lnTo>
                        <a:pt x="138" y="1026"/>
                      </a:lnTo>
                      <a:lnTo>
                        <a:pt x="144" y="1032"/>
                      </a:lnTo>
                      <a:lnTo>
                        <a:pt x="150" y="1032"/>
                      </a:lnTo>
                      <a:lnTo>
                        <a:pt x="162" y="1038"/>
                      </a:lnTo>
                      <a:lnTo>
                        <a:pt x="168" y="1044"/>
                      </a:lnTo>
                      <a:lnTo>
                        <a:pt x="180" y="1050"/>
                      </a:lnTo>
                      <a:lnTo>
                        <a:pt x="198" y="1032"/>
                      </a:lnTo>
                      <a:lnTo>
                        <a:pt x="198" y="1014"/>
                      </a:lnTo>
                      <a:lnTo>
                        <a:pt x="204" y="1008"/>
                      </a:lnTo>
                      <a:lnTo>
                        <a:pt x="216" y="1008"/>
                      </a:lnTo>
                      <a:lnTo>
                        <a:pt x="228" y="1014"/>
                      </a:lnTo>
                      <a:lnTo>
                        <a:pt x="228" y="1032"/>
                      </a:lnTo>
                      <a:lnTo>
                        <a:pt x="246" y="1044"/>
                      </a:lnTo>
                      <a:lnTo>
                        <a:pt x="234" y="1074"/>
                      </a:lnTo>
                      <a:lnTo>
                        <a:pt x="270" y="1092"/>
                      </a:lnTo>
                      <a:lnTo>
                        <a:pt x="246" y="1128"/>
                      </a:lnTo>
                      <a:lnTo>
                        <a:pt x="270" y="1128"/>
                      </a:lnTo>
                      <a:lnTo>
                        <a:pt x="270" y="1164"/>
                      </a:lnTo>
                      <a:lnTo>
                        <a:pt x="300" y="1194"/>
                      </a:lnTo>
                      <a:lnTo>
                        <a:pt x="312" y="1200"/>
                      </a:lnTo>
                      <a:lnTo>
                        <a:pt x="312" y="1182"/>
                      </a:lnTo>
                      <a:lnTo>
                        <a:pt x="318" y="1176"/>
                      </a:lnTo>
                      <a:lnTo>
                        <a:pt x="330" y="1176"/>
                      </a:lnTo>
                      <a:lnTo>
                        <a:pt x="348" y="1182"/>
                      </a:lnTo>
                      <a:lnTo>
                        <a:pt x="366" y="1200"/>
                      </a:lnTo>
                      <a:lnTo>
                        <a:pt x="372" y="1182"/>
                      </a:lnTo>
                      <a:lnTo>
                        <a:pt x="390" y="1182"/>
                      </a:lnTo>
                      <a:lnTo>
                        <a:pt x="396" y="1158"/>
                      </a:lnTo>
                      <a:lnTo>
                        <a:pt x="408" y="1176"/>
                      </a:lnTo>
                      <a:lnTo>
                        <a:pt x="420" y="1152"/>
                      </a:lnTo>
                      <a:lnTo>
                        <a:pt x="420" y="1188"/>
                      </a:lnTo>
                      <a:lnTo>
                        <a:pt x="444" y="1194"/>
                      </a:lnTo>
                      <a:lnTo>
                        <a:pt x="450" y="1188"/>
                      </a:lnTo>
                      <a:lnTo>
                        <a:pt x="456" y="1176"/>
                      </a:lnTo>
                      <a:lnTo>
                        <a:pt x="462" y="1170"/>
                      </a:lnTo>
                      <a:lnTo>
                        <a:pt x="474" y="1170"/>
                      </a:lnTo>
                      <a:lnTo>
                        <a:pt x="468" y="1116"/>
                      </a:lnTo>
                      <a:lnTo>
                        <a:pt x="492" y="1116"/>
                      </a:lnTo>
                      <a:lnTo>
                        <a:pt x="504" y="1092"/>
                      </a:lnTo>
                      <a:lnTo>
                        <a:pt x="480" y="1062"/>
                      </a:lnTo>
                      <a:lnTo>
                        <a:pt x="498" y="1050"/>
                      </a:lnTo>
                      <a:lnTo>
                        <a:pt x="504" y="1050"/>
                      </a:lnTo>
                      <a:lnTo>
                        <a:pt x="510" y="1044"/>
                      </a:lnTo>
                      <a:lnTo>
                        <a:pt x="546" y="1044"/>
                      </a:lnTo>
                      <a:lnTo>
                        <a:pt x="546" y="1032"/>
                      </a:lnTo>
                      <a:lnTo>
                        <a:pt x="540" y="1026"/>
                      </a:lnTo>
                      <a:lnTo>
                        <a:pt x="546" y="1026"/>
                      </a:lnTo>
                      <a:lnTo>
                        <a:pt x="552" y="1020"/>
                      </a:lnTo>
                      <a:lnTo>
                        <a:pt x="552" y="990"/>
                      </a:lnTo>
                      <a:lnTo>
                        <a:pt x="570" y="990"/>
                      </a:lnTo>
                      <a:lnTo>
                        <a:pt x="570" y="960"/>
                      </a:lnTo>
                      <a:lnTo>
                        <a:pt x="564" y="954"/>
                      </a:lnTo>
                      <a:lnTo>
                        <a:pt x="582" y="924"/>
                      </a:lnTo>
                      <a:lnTo>
                        <a:pt x="612" y="954"/>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593" name="Malaysia"/>
                <p:cNvSpPr>
                  <a:spLocks/>
                </p:cNvSpPr>
                <p:nvPr/>
              </p:nvSpPr>
              <p:spPr bwMode="gray">
                <a:xfrm>
                  <a:off x="4470" y="2171"/>
                  <a:ext cx="78" cy="112"/>
                </a:xfrm>
                <a:custGeom>
                  <a:avLst/>
                  <a:gdLst>
                    <a:gd name="T0" fmla="*/ 2147483647 w 306"/>
                    <a:gd name="T1" fmla="*/ 2147483647 h 438"/>
                    <a:gd name="T2" fmla="*/ 2147483647 w 306"/>
                    <a:gd name="T3" fmla="*/ 2147483647 h 438"/>
                    <a:gd name="T4" fmla="*/ 2147483647 w 306"/>
                    <a:gd name="T5" fmla="*/ 2147483647 h 438"/>
                    <a:gd name="T6" fmla="*/ 2147483647 w 306"/>
                    <a:gd name="T7" fmla="*/ 2147483647 h 438"/>
                    <a:gd name="T8" fmla="*/ 2147483647 w 306"/>
                    <a:gd name="T9" fmla="*/ 2147483647 h 438"/>
                    <a:gd name="T10" fmla="*/ 2147483647 w 306"/>
                    <a:gd name="T11" fmla="*/ 2147483647 h 438"/>
                    <a:gd name="T12" fmla="*/ 2147483647 w 306"/>
                    <a:gd name="T13" fmla="*/ 2147483647 h 438"/>
                    <a:gd name="T14" fmla="*/ 2147483647 w 306"/>
                    <a:gd name="T15" fmla="*/ 2147483647 h 438"/>
                    <a:gd name="T16" fmla="*/ 2147483647 w 306"/>
                    <a:gd name="T17" fmla="*/ 2147483647 h 438"/>
                    <a:gd name="T18" fmla="*/ 2147483647 w 306"/>
                    <a:gd name="T19" fmla="*/ 2147483647 h 438"/>
                    <a:gd name="T20" fmla="*/ 2147483647 w 306"/>
                    <a:gd name="T21" fmla="*/ 2147483647 h 438"/>
                    <a:gd name="T22" fmla="*/ 2147483647 w 306"/>
                    <a:gd name="T23" fmla="*/ 2147483647 h 438"/>
                    <a:gd name="T24" fmla="*/ 2147483647 w 306"/>
                    <a:gd name="T25" fmla="*/ 2147483647 h 438"/>
                    <a:gd name="T26" fmla="*/ 2147483647 w 306"/>
                    <a:gd name="T27" fmla="*/ 2147483647 h 438"/>
                    <a:gd name="T28" fmla="*/ 2147483647 w 306"/>
                    <a:gd name="T29" fmla="*/ 2147483647 h 438"/>
                    <a:gd name="T30" fmla="*/ 2147483647 w 306"/>
                    <a:gd name="T31" fmla="*/ 2147483647 h 438"/>
                    <a:gd name="T32" fmla="*/ 2147483647 w 306"/>
                    <a:gd name="T33" fmla="*/ 2147483647 h 438"/>
                    <a:gd name="T34" fmla="*/ 2147483647 w 306"/>
                    <a:gd name="T35" fmla="*/ 2147483647 h 438"/>
                    <a:gd name="T36" fmla="*/ 2147483647 w 306"/>
                    <a:gd name="T37" fmla="*/ 2147483647 h 438"/>
                    <a:gd name="T38" fmla="*/ 2147483647 w 306"/>
                    <a:gd name="T39" fmla="*/ 2147483647 h 438"/>
                    <a:gd name="T40" fmla="*/ 2147483647 w 306"/>
                    <a:gd name="T41" fmla="*/ 2147483647 h 438"/>
                    <a:gd name="T42" fmla="*/ 2147483647 w 306"/>
                    <a:gd name="T43" fmla="*/ 2147483647 h 438"/>
                    <a:gd name="T44" fmla="*/ 2147483647 w 306"/>
                    <a:gd name="T45" fmla="*/ 2147483647 h 438"/>
                    <a:gd name="T46" fmla="*/ 2147483647 w 306"/>
                    <a:gd name="T47" fmla="*/ 2147483647 h 438"/>
                    <a:gd name="T48" fmla="*/ 2147483647 w 306"/>
                    <a:gd name="T49" fmla="*/ 2147483647 h 438"/>
                    <a:gd name="T50" fmla="*/ 2147483647 w 306"/>
                    <a:gd name="T51" fmla="*/ 2147483647 h 438"/>
                    <a:gd name="T52" fmla="*/ 2147483647 w 306"/>
                    <a:gd name="T53" fmla="*/ 2147483647 h 438"/>
                    <a:gd name="T54" fmla="*/ 2147483647 w 306"/>
                    <a:gd name="T55" fmla="*/ 2147483647 h 438"/>
                    <a:gd name="T56" fmla="*/ 2147483647 w 306"/>
                    <a:gd name="T57" fmla="*/ 2147483647 h 438"/>
                    <a:gd name="T58" fmla="*/ 2147483647 w 306"/>
                    <a:gd name="T59" fmla="*/ 2147483647 h 438"/>
                    <a:gd name="T60" fmla="*/ 2147483647 w 306"/>
                    <a:gd name="T61" fmla="*/ 2147483647 h 438"/>
                    <a:gd name="T62" fmla="*/ 2147483647 w 306"/>
                    <a:gd name="T63" fmla="*/ 2147483647 h 438"/>
                    <a:gd name="T64" fmla="*/ 2147483647 w 306"/>
                    <a:gd name="T65" fmla="*/ 2147483647 h 438"/>
                    <a:gd name="T66" fmla="*/ 2147483647 w 306"/>
                    <a:gd name="T67" fmla="*/ 2147483647 h 438"/>
                    <a:gd name="T68" fmla="*/ 2147483647 w 306"/>
                    <a:gd name="T69" fmla="*/ 2147483647 h 438"/>
                    <a:gd name="T70" fmla="*/ 2147483647 w 306"/>
                    <a:gd name="T71" fmla="*/ 2147483647 h 438"/>
                    <a:gd name="T72" fmla="*/ 2147483647 w 306"/>
                    <a:gd name="T73" fmla="*/ 2147483647 h 438"/>
                    <a:gd name="T74" fmla="*/ 2147483647 w 306"/>
                    <a:gd name="T75" fmla="*/ 2147483647 h 438"/>
                    <a:gd name="T76" fmla="*/ 2147483647 w 306"/>
                    <a:gd name="T77" fmla="*/ 0 h 438"/>
                    <a:gd name="T78" fmla="*/ 2147483647 w 306"/>
                    <a:gd name="T79" fmla="*/ 2147483647 h 438"/>
                    <a:gd name="T80" fmla="*/ 2147483647 w 306"/>
                    <a:gd name="T81" fmla="*/ 2147483647 h 43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06"/>
                    <a:gd name="T124" fmla="*/ 0 h 438"/>
                    <a:gd name="T125" fmla="*/ 306 w 306"/>
                    <a:gd name="T126" fmla="*/ 438 h 43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06" h="438">
                      <a:moveTo>
                        <a:pt x="0" y="42"/>
                      </a:moveTo>
                      <a:lnTo>
                        <a:pt x="6" y="138"/>
                      </a:lnTo>
                      <a:lnTo>
                        <a:pt x="18" y="138"/>
                      </a:lnTo>
                      <a:lnTo>
                        <a:pt x="24" y="132"/>
                      </a:lnTo>
                      <a:lnTo>
                        <a:pt x="42" y="132"/>
                      </a:lnTo>
                      <a:lnTo>
                        <a:pt x="54" y="138"/>
                      </a:lnTo>
                      <a:lnTo>
                        <a:pt x="54" y="168"/>
                      </a:lnTo>
                      <a:lnTo>
                        <a:pt x="48" y="180"/>
                      </a:lnTo>
                      <a:lnTo>
                        <a:pt x="48" y="198"/>
                      </a:lnTo>
                      <a:lnTo>
                        <a:pt x="54" y="216"/>
                      </a:lnTo>
                      <a:lnTo>
                        <a:pt x="60" y="228"/>
                      </a:lnTo>
                      <a:lnTo>
                        <a:pt x="66" y="234"/>
                      </a:lnTo>
                      <a:lnTo>
                        <a:pt x="84" y="234"/>
                      </a:lnTo>
                      <a:lnTo>
                        <a:pt x="90" y="228"/>
                      </a:lnTo>
                      <a:lnTo>
                        <a:pt x="90" y="240"/>
                      </a:lnTo>
                      <a:lnTo>
                        <a:pt x="84" y="252"/>
                      </a:lnTo>
                      <a:lnTo>
                        <a:pt x="84" y="282"/>
                      </a:lnTo>
                      <a:lnTo>
                        <a:pt x="96" y="306"/>
                      </a:lnTo>
                      <a:lnTo>
                        <a:pt x="102" y="312"/>
                      </a:lnTo>
                      <a:lnTo>
                        <a:pt x="114" y="318"/>
                      </a:lnTo>
                      <a:lnTo>
                        <a:pt x="132" y="330"/>
                      </a:lnTo>
                      <a:lnTo>
                        <a:pt x="144" y="336"/>
                      </a:lnTo>
                      <a:lnTo>
                        <a:pt x="162" y="354"/>
                      </a:lnTo>
                      <a:lnTo>
                        <a:pt x="168" y="354"/>
                      </a:lnTo>
                      <a:lnTo>
                        <a:pt x="168" y="366"/>
                      </a:lnTo>
                      <a:lnTo>
                        <a:pt x="174" y="372"/>
                      </a:lnTo>
                      <a:lnTo>
                        <a:pt x="174" y="378"/>
                      </a:lnTo>
                      <a:lnTo>
                        <a:pt x="180" y="384"/>
                      </a:lnTo>
                      <a:lnTo>
                        <a:pt x="186" y="384"/>
                      </a:lnTo>
                      <a:lnTo>
                        <a:pt x="198" y="390"/>
                      </a:lnTo>
                      <a:lnTo>
                        <a:pt x="204" y="396"/>
                      </a:lnTo>
                      <a:lnTo>
                        <a:pt x="216" y="396"/>
                      </a:lnTo>
                      <a:lnTo>
                        <a:pt x="222" y="402"/>
                      </a:lnTo>
                      <a:lnTo>
                        <a:pt x="228" y="402"/>
                      </a:lnTo>
                      <a:lnTo>
                        <a:pt x="252" y="438"/>
                      </a:lnTo>
                      <a:lnTo>
                        <a:pt x="300" y="432"/>
                      </a:lnTo>
                      <a:lnTo>
                        <a:pt x="300" y="420"/>
                      </a:lnTo>
                      <a:lnTo>
                        <a:pt x="306" y="408"/>
                      </a:lnTo>
                      <a:lnTo>
                        <a:pt x="306" y="378"/>
                      </a:lnTo>
                      <a:lnTo>
                        <a:pt x="294" y="354"/>
                      </a:lnTo>
                      <a:lnTo>
                        <a:pt x="270" y="330"/>
                      </a:lnTo>
                      <a:lnTo>
                        <a:pt x="264" y="318"/>
                      </a:lnTo>
                      <a:lnTo>
                        <a:pt x="258" y="312"/>
                      </a:lnTo>
                      <a:lnTo>
                        <a:pt x="258" y="288"/>
                      </a:lnTo>
                      <a:lnTo>
                        <a:pt x="252" y="276"/>
                      </a:lnTo>
                      <a:lnTo>
                        <a:pt x="246" y="270"/>
                      </a:lnTo>
                      <a:lnTo>
                        <a:pt x="246" y="258"/>
                      </a:lnTo>
                      <a:lnTo>
                        <a:pt x="252" y="252"/>
                      </a:lnTo>
                      <a:lnTo>
                        <a:pt x="252" y="126"/>
                      </a:lnTo>
                      <a:lnTo>
                        <a:pt x="246" y="114"/>
                      </a:lnTo>
                      <a:lnTo>
                        <a:pt x="222" y="90"/>
                      </a:lnTo>
                      <a:lnTo>
                        <a:pt x="204" y="84"/>
                      </a:lnTo>
                      <a:lnTo>
                        <a:pt x="192" y="72"/>
                      </a:lnTo>
                      <a:lnTo>
                        <a:pt x="180" y="66"/>
                      </a:lnTo>
                      <a:lnTo>
                        <a:pt x="156" y="42"/>
                      </a:lnTo>
                      <a:lnTo>
                        <a:pt x="150" y="54"/>
                      </a:lnTo>
                      <a:lnTo>
                        <a:pt x="144" y="60"/>
                      </a:lnTo>
                      <a:lnTo>
                        <a:pt x="138" y="72"/>
                      </a:lnTo>
                      <a:lnTo>
                        <a:pt x="138" y="78"/>
                      </a:lnTo>
                      <a:lnTo>
                        <a:pt x="132" y="84"/>
                      </a:lnTo>
                      <a:lnTo>
                        <a:pt x="114" y="66"/>
                      </a:lnTo>
                      <a:lnTo>
                        <a:pt x="108" y="66"/>
                      </a:lnTo>
                      <a:lnTo>
                        <a:pt x="102" y="72"/>
                      </a:lnTo>
                      <a:lnTo>
                        <a:pt x="90" y="72"/>
                      </a:lnTo>
                      <a:lnTo>
                        <a:pt x="90" y="78"/>
                      </a:lnTo>
                      <a:lnTo>
                        <a:pt x="72" y="78"/>
                      </a:lnTo>
                      <a:lnTo>
                        <a:pt x="66" y="72"/>
                      </a:lnTo>
                      <a:lnTo>
                        <a:pt x="66" y="66"/>
                      </a:lnTo>
                      <a:lnTo>
                        <a:pt x="78" y="54"/>
                      </a:lnTo>
                      <a:lnTo>
                        <a:pt x="78" y="42"/>
                      </a:lnTo>
                      <a:lnTo>
                        <a:pt x="66" y="42"/>
                      </a:lnTo>
                      <a:lnTo>
                        <a:pt x="66" y="30"/>
                      </a:lnTo>
                      <a:lnTo>
                        <a:pt x="60" y="24"/>
                      </a:lnTo>
                      <a:lnTo>
                        <a:pt x="48" y="18"/>
                      </a:lnTo>
                      <a:lnTo>
                        <a:pt x="30" y="18"/>
                      </a:lnTo>
                      <a:lnTo>
                        <a:pt x="30" y="12"/>
                      </a:lnTo>
                      <a:lnTo>
                        <a:pt x="24" y="0"/>
                      </a:lnTo>
                      <a:lnTo>
                        <a:pt x="12" y="0"/>
                      </a:lnTo>
                      <a:lnTo>
                        <a:pt x="6" y="6"/>
                      </a:lnTo>
                      <a:lnTo>
                        <a:pt x="6" y="18"/>
                      </a:lnTo>
                      <a:lnTo>
                        <a:pt x="12" y="24"/>
                      </a:lnTo>
                      <a:lnTo>
                        <a:pt x="6" y="36"/>
                      </a:lnTo>
                      <a:lnTo>
                        <a:pt x="0" y="42"/>
                      </a:lnTo>
                      <a:close/>
                    </a:path>
                  </a:pathLst>
                </a:custGeom>
                <a:solidFill>
                  <a:schemeClr val="accent1"/>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594" name="AutoShape 77"/>
                <p:cNvSpPr>
                  <a:spLocks/>
                </p:cNvSpPr>
                <p:nvPr/>
              </p:nvSpPr>
              <p:spPr bwMode="gray">
                <a:xfrm>
                  <a:off x="4653" y="2158"/>
                  <a:ext cx="176" cy="135"/>
                </a:xfrm>
                <a:custGeom>
                  <a:avLst/>
                  <a:gdLst>
                    <a:gd name="T0" fmla="*/ 2147483647 w 690"/>
                    <a:gd name="T1" fmla="*/ 2147483647 h 528"/>
                    <a:gd name="T2" fmla="*/ 2147483647 w 690"/>
                    <a:gd name="T3" fmla="*/ 2147483647 h 528"/>
                    <a:gd name="T4" fmla="*/ 2147483647 w 690"/>
                    <a:gd name="T5" fmla="*/ 2147483647 h 528"/>
                    <a:gd name="T6" fmla="*/ 2147483647 w 690"/>
                    <a:gd name="T7" fmla="*/ 2147483647 h 528"/>
                    <a:gd name="T8" fmla="*/ 2147483647 w 690"/>
                    <a:gd name="T9" fmla="*/ 2147483647 h 528"/>
                    <a:gd name="T10" fmla="*/ 2147483647 w 690"/>
                    <a:gd name="T11" fmla="*/ 2147483647 h 528"/>
                    <a:gd name="T12" fmla="*/ 2147483647 w 690"/>
                    <a:gd name="T13" fmla="*/ 2147483647 h 528"/>
                    <a:gd name="T14" fmla="*/ 2147483647 w 690"/>
                    <a:gd name="T15" fmla="*/ 2147483647 h 528"/>
                    <a:gd name="T16" fmla="*/ 2147483647 w 690"/>
                    <a:gd name="T17" fmla="*/ 2147483647 h 528"/>
                    <a:gd name="T18" fmla="*/ 2147483647 w 690"/>
                    <a:gd name="T19" fmla="*/ 2147483647 h 528"/>
                    <a:gd name="T20" fmla="*/ 2147483647 w 690"/>
                    <a:gd name="T21" fmla="*/ 2147483647 h 528"/>
                    <a:gd name="T22" fmla="*/ 2147483647 w 690"/>
                    <a:gd name="T23" fmla="*/ 2147483647 h 528"/>
                    <a:gd name="T24" fmla="*/ 2147483647 w 690"/>
                    <a:gd name="T25" fmla="*/ 2147483647 h 528"/>
                    <a:gd name="T26" fmla="*/ 2147483647 w 690"/>
                    <a:gd name="T27" fmla="*/ 2147483647 h 528"/>
                    <a:gd name="T28" fmla="*/ 2147483647 w 690"/>
                    <a:gd name="T29" fmla="*/ 2147483647 h 528"/>
                    <a:gd name="T30" fmla="*/ 2147483647 w 690"/>
                    <a:gd name="T31" fmla="*/ 2147483647 h 528"/>
                    <a:gd name="T32" fmla="*/ 2147483647 w 690"/>
                    <a:gd name="T33" fmla="*/ 2147483647 h 528"/>
                    <a:gd name="T34" fmla="*/ 2147483647 w 690"/>
                    <a:gd name="T35" fmla="*/ 2147483647 h 528"/>
                    <a:gd name="T36" fmla="*/ 2147483647 w 690"/>
                    <a:gd name="T37" fmla="*/ 2147483647 h 528"/>
                    <a:gd name="T38" fmla="*/ 2147483647 w 690"/>
                    <a:gd name="T39" fmla="*/ 2147483647 h 528"/>
                    <a:gd name="T40" fmla="*/ 2147483647 w 690"/>
                    <a:gd name="T41" fmla="*/ 2147483647 h 528"/>
                    <a:gd name="T42" fmla="*/ 2147483647 w 690"/>
                    <a:gd name="T43" fmla="*/ 2147483647 h 528"/>
                    <a:gd name="T44" fmla="*/ 2147483647 w 690"/>
                    <a:gd name="T45" fmla="*/ 2147483647 h 528"/>
                    <a:gd name="T46" fmla="*/ 2147483647 w 690"/>
                    <a:gd name="T47" fmla="*/ 2147483647 h 528"/>
                    <a:gd name="T48" fmla="*/ 2147483647 w 690"/>
                    <a:gd name="T49" fmla="*/ 2147483647 h 528"/>
                    <a:gd name="T50" fmla="*/ 2147483647 w 690"/>
                    <a:gd name="T51" fmla="*/ 2147483647 h 528"/>
                    <a:gd name="T52" fmla="*/ 2147483647 w 690"/>
                    <a:gd name="T53" fmla="*/ 2147483647 h 528"/>
                    <a:gd name="T54" fmla="*/ 2147483647 w 690"/>
                    <a:gd name="T55" fmla="*/ 2147483647 h 528"/>
                    <a:gd name="T56" fmla="*/ 2147483647 w 690"/>
                    <a:gd name="T57" fmla="*/ 2147483647 h 528"/>
                    <a:gd name="T58" fmla="*/ 2147483647 w 690"/>
                    <a:gd name="T59" fmla="*/ 2147483647 h 528"/>
                    <a:gd name="T60" fmla="*/ 2147483647 w 690"/>
                    <a:gd name="T61" fmla="*/ 2147483647 h 528"/>
                    <a:gd name="T62" fmla="*/ 2147483647 w 690"/>
                    <a:gd name="T63" fmla="*/ 2147483647 h 528"/>
                    <a:gd name="T64" fmla="*/ 2147483647 w 690"/>
                    <a:gd name="T65" fmla="*/ 2147483647 h 528"/>
                    <a:gd name="T66" fmla="*/ 2147483647 w 690"/>
                    <a:gd name="T67" fmla="*/ 2147483647 h 528"/>
                    <a:gd name="T68" fmla="*/ 2147483647 w 690"/>
                    <a:gd name="T69" fmla="*/ 2147483647 h 528"/>
                    <a:gd name="T70" fmla="*/ 2147483647 w 690"/>
                    <a:gd name="T71" fmla="*/ 0 h 528"/>
                    <a:gd name="T72" fmla="*/ 2147483647 w 690"/>
                    <a:gd name="T73" fmla="*/ 0 h 528"/>
                    <a:gd name="T74" fmla="*/ 2147483647 w 690"/>
                    <a:gd name="T75" fmla="*/ 2147483647 h 528"/>
                    <a:gd name="T76" fmla="*/ 2147483647 w 690"/>
                    <a:gd name="T77" fmla="*/ 2147483647 h 528"/>
                    <a:gd name="T78" fmla="*/ 2147483647 w 690"/>
                    <a:gd name="T79" fmla="*/ 2147483647 h 528"/>
                    <a:gd name="T80" fmla="*/ 2147483647 w 690"/>
                    <a:gd name="T81" fmla="*/ 2147483647 h 528"/>
                    <a:gd name="T82" fmla="*/ 2147483647 w 690"/>
                    <a:gd name="T83" fmla="*/ 2147483647 h 528"/>
                    <a:gd name="T84" fmla="*/ 2147483647 w 690"/>
                    <a:gd name="T85" fmla="*/ 2147483647 h 528"/>
                    <a:gd name="T86" fmla="*/ 2147483647 w 690"/>
                    <a:gd name="T87" fmla="*/ 2147483647 h 528"/>
                    <a:gd name="T88" fmla="*/ 2147483647 w 690"/>
                    <a:gd name="T89" fmla="*/ 2147483647 h 528"/>
                    <a:gd name="T90" fmla="*/ 2147483647 w 690"/>
                    <a:gd name="T91" fmla="*/ 2147483647 h 528"/>
                    <a:gd name="T92" fmla="*/ 2147483647 w 690"/>
                    <a:gd name="T93" fmla="*/ 2147483647 h 528"/>
                    <a:gd name="T94" fmla="*/ 2147483647 w 690"/>
                    <a:gd name="T95" fmla="*/ 2147483647 h 528"/>
                    <a:gd name="T96" fmla="*/ 2147483647 w 690"/>
                    <a:gd name="T97" fmla="*/ 2147483647 h 528"/>
                    <a:gd name="T98" fmla="*/ 2147483647 w 690"/>
                    <a:gd name="T99" fmla="*/ 2147483647 h 528"/>
                    <a:gd name="T100" fmla="*/ 2147483647 w 690"/>
                    <a:gd name="T101" fmla="*/ 2147483647 h 528"/>
                    <a:gd name="T102" fmla="*/ 2147483647 w 690"/>
                    <a:gd name="T103" fmla="*/ 2147483647 h 528"/>
                    <a:gd name="T104" fmla="*/ 2147483647 w 690"/>
                    <a:gd name="T105" fmla="*/ 2147483647 h 528"/>
                    <a:gd name="T106" fmla="*/ 2147483647 w 690"/>
                    <a:gd name="T107" fmla="*/ 2147483647 h 528"/>
                    <a:gd name="T108" fmla="*/ 2147483647 w 690"/>
                    <a:gd name="T109" fmla="*/ 2147483647 h 528"/>
                    <a:gd name="T110" fmla="*/ 2147483647 w 690"/>
                    <a:gd name="T111" fmla="*/ 2147483647 h 528"/>
                    <a:gd name="T112" fmla="*/ 2147483647 w 690"/>
                    <a:gd name="T113" fmla="*/ 2147483647 h 528"/>
                    <a:gd name="T114" fmla="*/ 0 w 690"/>
                    <a:gd name="T115" fmla="*/ 2147483647 h 52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90"/>
                    <a:gd name="T175" fmla="*/ 0 h 528"/>
                    <a:gd name="T176" fmla="*/ 690 w 690"/>
                    <a:gd name="T177" fmla="*/ 528 h 528"/>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90" h="528">
                      <a:moveTo>
                        <a:pt x="12" y="504"/>
                      </a:moveTo>
                      <a:lnTo>
                        <a:pt x="24" y="510"/>
                      </a:lnTo>
                      <a:lnTo>
                        <a:pt x="30" y="516"/>
                      </a:lnTo>
                      <a:lnTo>
                        <a:pt x="54" y="528"/>
                      </a:lnTo>
                      <a:lnTo>
                        <a:pt x="60" y="528"/>
                      </a:lnTo>
                      <a:lnTo>
                        <a:pt x="78" y="510"/>
                      </a:lnTo>
                      <a:lnTo>
                        <a:pt x="102" y="510"/>
                      </a:lnTo>
                      <a:lnTo>
                        <a:pt x="120" y="516"/>
                      </a:lnTo>
                      <a:lnTo>
                        <a:pt x="144" y="516"/>
                      </a:lnTo>
                      <a:lnTo>
                        <a:pt x="174" y="486"/>
                      </a:lnTo>
                      <a:lnTo>
                        <a:pt x="180" y="474"/>
                      </a:lnTo>
                      <a:lnTo>
                        <a:pt x="222" y="474"/>
                      </a:lnTo>
                      <a:lnTo>
                        <a:pt x="234" y="486"/>
                      </a:lnTo>
                      <a:lnTo>
                        <a:pt x="258" y="498"/>
                      </a:lnTo>
                      <a:lnTo>
                        <a:pt x="264" y="504"/>
                      </a:lnTo>
                      <a:lnTo>
                        <a:pt x="270" y="504"/>
                      </a:lnTo>
                      <a:lnTo>
                        <a:pt x="282" y="492"/>
                      </a:lnTo>
                      <a:lnTo>
                        <a:pt x="294" y="486"/>
                      </a:lnTo>
                      <a:lnTo>
                        <a:pt x="300" y="480"/>
                      </a:lnTo>
                      <a:lnTo>
                        <a:pt x="324" y="480"/>
                      </a:lnTo>
                      <a:lnTo>
                        <a:pt x="354" y="444"/>
                      </a:lnTo>
                      <a:lnTo>
                        <a:pt x="348" y="432"/>
                      </a:lnTo>
                      <a:lnTo>
                        <a:pt x="384" y="402"/>
                      </a:lnTo>
                      <a:lnTo>
                        <a:pt x="378" y="390"/>
                      </a:lnTo>
                      <a:lnTo>
                        <a:pt x="372" y="384"/>
                      </a:lnTo>
                      <a:lnTo>
                        <a:pt x="372" y="360"/>
                      </a:lnTo>
                      <a:lnTo>
                        <a:pt x="378" y="354"/>
                      </a:lnTo>
                      <a:lnTo>
                        <a:pt x="396" y="354"/>
                      </a:lnTo>
                      <a:lnTo>
                        <a:pt x="402" y="342"/>
                      </a:lnTo>
                      <a:lnTo>
                        <a:pt x="402" y="336"/>
                      </a:lnTo>
                      <a:lnTo>
                        <a:pt x="408" y="318"/>
                      </a:lnTo>
                      <a:lnTo>
                        <a:pt x="408" y="264"/>
                      </a:lnTo>
                      <a:lnTo>
                        <a:pt x="414" y="252"/>
                      </a:lnTo>
                      <a:lnTo>
                        <a:pt x="420" y="246"/>
                      </a:lnTo>
                      <a:lnTo>
                        <a:pt x="516" y="246"/>
                      </a:lnTo>
                      <a:lnTo>
                        <a:pt x="540" y="270"/>
                      </a:lnTo>
                      <a:lnTo>
                        <a:pt x="552" y="276"/>
                      </a:lnTo>
                      <a:lnTo>
                        <a:pt x="558" y="282"/>
                      </a:lnTo>
                      <a:lnTo>
                        <a:pt x="576" y="276"/>
                      </a:lnTo>
                      <a:lnTo>
                        <a:pt x="564" y="216"/>
                      </a:lnTo>
                      <a:lnTo>
                        <a:pt x="576" y="222"/>
                      </a:lnTo>
                      <a:lnTo>
                        <a:pt x="582" y="234"/>
                      </a:lnTo>
                      <a:lnTo>
                        <a:pt x="594" y="240"/>
                      </a:lnTo>
                      <a:lnTo>
                        <a:pt x="636" y="240"/>
                      </a:lnTo>
                      <a:lnTo>
                        <a:pt x="630" y="234"/>
                      </a:lnTo>
                      <a:lnTo>
                        <a:pt x="624" y="222"/>
                      </a:lnTo>
                      <a:lnTo>
                        <a:pt x="618" y="216"/>
                      </a:lnTo>
                      <a:lnTo>
                        <a:pt x="606" y="192"/>
                      </a:lnTo>
                      <a:lnTo>
                        <a:pt x="606" y="186"/>
                      </a:lnTo>
                      <a:lnTo>
                        <a:pt x="612" y="180"/>
                      </a:lnTo>
                      <a:lnTo>
                        <a:pt x="624" y="180"/>
                      </a:lnTo>
                      <a:lnTo>
                        <a:pt x="642" y="186"/>
                      </a:lnTo>
                      <a:lnTo>
                        <a:pt x="654" y="186"/>
                      </a:lnTo>
                      <a:lnTo>
                        <a:pt x="660" y="192"/>
                      </a:lnTo>
                      <a:lnTo>
                        <a:pt x="666" y="192"/>
                      </a:lnTo>
                      <a:lnTo>
                        <a:pt x="690" y="162"/>
                      </a:lnTo>
                      <a:lnTo>
                        <a:pt x="666" y="156"/>
                      </a:lnTo>
                      <a:lnTo>
                        <a:pt x="660" y="144"/>
                      </a:lnTo>
                      <a:lnTo>
                        <a:pt x="642" y="126"/>
                      </a:lnTo>
                      <a:lnTo>
                        <a:pt x="630" y="120"/>
                      </a:lnTo>
                      <a:lnTo>
                        <a:pt x="612" y="120"/>
                      </a:lnTo>
                      <a:lnTo>
                        <a:pt x="600" y="114"/>
                      </a:lnTo>
                      <a:lnTo>
                        <a:pt x="588" y="114"/>
                      </a:lnTo>
                      <a:lnTo>
                        <a:pt x="588" y="108"/>
                      </a:lnTo>
                      <a:lnTo>
                        <a:pt x="582" y="102"/>
                      </a:lnTo>
                      <a:lnTo>
                        <a:pt x="582" y="90"/>
                      </a:lnTo>
                      <a:lnTo>
                        <a:pt x="576" y="78"/>
                      </a:lnTo>
                      <a:lnTo>
                        <a:pt x="564" y="66"/>
                      </a:lnTo>
                      <a:lnTo>
                        <a:pt x="540" y="54"/>
                      </a:lnTo>
                      <a:lnTo>
                        <a:pt x="534" y="60"/>
                      </a:lnTo>
                      <a:lnTo>
                        <a:pt x="528" y="60"/>
                      </a:lnTo>
                      <a:lnTo>
                        <a:pt x="510" y="0"/>
                      </a:lnTo>
                      <a:lnTo>
                        <a:pt x="504" y="18"/>
                      </a:lnTo>
                      <a:lnTo>
                        <a:pt x="492" y="0"/>
                      </a:lnTo>
                      <a:lnTo>
                        <a:pt x="480" y="60"/>
                      </a:lnTo>
                      <a:lnTo>
                        <a:pt x="468" y="66"/>
                      </a:lnTo>
                      <a:lnTo>
                        <a:pt x="462" y="66"/>
                      </a:lnTo>
                      <a:lnTo>
                        <a:pt x="450" y="72"/>
                      </a:lnTo>
                      <a:lnTo>
                        <a:pt x="438" y="96"/>
                      </a:lnTo>
                      <a:lnTo>
                        <a:pt x="438" y="114"/>
                      </a:lnTo>
                      <a:lnTo>
                        <a:pt x="408" y="126"/>
                      </a:lnTo>
                      <a:lnTo>
                        <a:pt x="420" y="162"/>
                      </a:lnTo>
                      <a:lnTo>
                        <a:pt x="408" y="162"/>
                      </a:lnTo>
                      <a:lnTo>
                        <a:pt x="390" y="156"/>
                      </a:lnTo>
                      <a:lnTo>
                        <a:pt x="378" y="156"/>
                      </a:lnTo>
                      <a:lnTo>
                        <a:pt x="360" y="150"/>
                      </a:lnTo>
                      <a:lnTo>
                        <a:pt x="354" y="150"/>
                      </a:lnTo>
                      <a:lnTo>
                        <a:pt x="342" y="156"/>
                      </a:lnTo>
                      <a:lnTo>
                        <a:pt x="342" y="168"/>
                      </a:lnTo>
                      <a:lnTo>
                        <a:pt x="336" y="180"/>
                      </a:lnTo>
                      <a:lnTo>
                        <a:pt x="336" y="204"/>
                      </a:lnTo>
                      <a:lnTo>
                        <a:pt x="294" y="246"/>
                      </a:lnTo>
                      <a:lnTo>
                        <a:pt x="294" y="258"/>
                      </a:lnTo>
                      <a:lnTo>
                        <a:pt x="282" y="294"/>
                      </a:lnTo>
                      <a:lnTo>
                        <a:pt x="276" y="306"/>
                      </a:lnTo>
                      <a:lnTo>
                        <a:pt x="264" y="318"/>
                      </a:lnTo>
                      <a:lnTo>
                        <a:pt x="228" y="336"/>
                      </a:lnTo>
                      <a:lnTo>
                        <a:pt x="186" y="342"/>
                      </a:lnTo>
                      <a:lnTo>
                        <a:pt x="162" y="348"/>
                      </a:lnTo>
                      <a:lnTo>
                        <a:pt x="156" y="354"/>
                      </a:lnTo>
                      <a:lnTo>
                        <a:pt x="132" y="366"/>
                      </a:lnTo>
                      <a:lnTo>
                        <a:pt x="114" y="384"/>
                      </a:lnTo>
                      <a:lnTo>
                        <a:pt x="102" y="390"/>
                      </a:lnTo>
                      <a:lnTo>
                        <a:pt x="84" y="426"/>
                      </a:lnTo>
                      <a:lnTo>
                        <a:pt x="102" y="444"/>
                      </a:lnTo>
                      <a:lnTo>
                        <a:pt x="102" y="462"/>
                      </a:lnTo>
                      <a:lnTo>
                        <a:pt x="96" y="474"/>
                      </a:lnTo>
                      <a:lnTo>
                        <a:pt x="84" y="480"/>
                      </a:lnTo>
                      <a:lnTo>
                        <a:pt x="72" y="480"/>
                      </a:lnTo>
                      <a:lnTo>
                        <a:pt x="48" y="468"/>
                      </a:lnTo>
                      <a:lnTo>
                        <a:pt x="42" y="462"/>
                      </a:lnTo>
                      <a:lnTo>
                        <a:pt x="30" y="456"/>
                      </a:lnTo>
                      <a:lnTo>
                        <a:pt x="24" y="456"/>
                      </a:lnTo>
                      <a:lnTo>
                        <a:pt x="12" y="462"/>
                      </a:lnTo>
                      <a:lnTo>
                        <a:pt x="0" y="474"/>
                      </a:lnTo>
                      <a:lnTo>
                        <a:pt x="0" y="492"/>
                      </a:lnTo>
                      <a:lnTo>
                        <a:pt x="12" y="504"/>
                      </a:lnTo>
                      <a:close/>
                    </a:path>
                  </a:pathLst>
                </a:custGeom>
                <a:solidFill>
                  <a:schemeClr val="accent1"/>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595" name="Malawi"/>
                <p:cNvSpPr>
                  <a:spLocks/>
                </p:cNvSpPr>
                <p:nvPr/>
              </p:nvSpPr>
              <p:spPr bwMode="gray">
                <a:xfrm>
                  <a:off x="3244" y="2504"/>
                  <a:ext cx="60" cy="160"/>
                </a:xfrm>
                <a:custGeom>
                  <a:avLst/>
                  <a:gdLst>
                    <a:gd name="T0" fmla="*/ 2147483647 w 234"/>
                    <a:gd name="T1" fmla="*/ 2147483647 h 624"/>
                    <a:gd name="T2" fmla="*/ 2147483647 w 234"/>
                    <a:gd name="T3" fmla="*/ 2147483647 h 624"/>
                    <a:gd name="T4" fmla="*/ 2147483647 w 234"/>
                    <a:gd name="T5" fmla="*/ 2147483647 h 624"/>
                    <a:gd name="T6" fmla="*/ 2147483647 w 234"/>
                    <a:gd name="T7" fmla="*/ 2147483647 h 624"/>
                    <a:gd name="T8" fmla="*/ 2147483647 w 234"/>
                    <a:gd name="T9" fmla="*/ 2147483647 h 624"/>
                    <a:gd name="T10" fmla="*/ 2147483647 w 234"/>
                    <a:gd name="T11" fmla="*/ 2147483647 h 624"/>
                    <a:gd name="T12" fmla="*/ 2147483647 w 234"/>
                    <a:gd name="T13" fmla="*/ 2147483647 h 624"/>
                    <a:gd name="T14" fmla="*/ 2147483647 w 234"/>
                    <a:gd name="T15" fmla="*/ 2147483647 h 624"/>
                    <a:gd name="T16" fmla="*/ 2147483647 w 234"/>
                    <a:gd name="T17" fmla="*/ 2147483647 h 624"/>
                    <a:gd name="T18" fmla="*/ 2147483647 w 234"/>
                    <a:gd name="T19" fmla="*/ 2147483647 h 624"/>
                    <a:gd name="T20" fmla="*/ 2147483647 w 234"/>
                    <a:gd name="T21" fmla="*/ 2147483647 h 624"/>
                    <a:gd name="T22" fmla="*/ 2147483647 w 234"/>
                    <a:gd name="T23" fmla="*/ 2147483647 h 624"/>
                    <a:gd name="T24" fmla="*/ 2147483647 w 234"/>
                    <a:gd name="T25" fmla="*/ 2147483647 h 624"/>
                    <a:gd name="T26" fmla="*/ 2147483647 w 234"/>
                    <a:gd name="T27" fmla="*/ 2147483647 h 624"/>
                    <a:gd name="T28" fmla="*/ 2147483647 w 234"/>
                    <a:gd name="T29" fmla="*/ 2147483647 h 624"/>
                    <a:gd name="T30" fmla="*/ 2147483647 w 234"/>
                    <a:gd name="T31" fmla="*/ 2147483647 h 624"/>
                    <a:gd name="T32" fmla="*/ 2147483647 w 234"/>
                    <a:gd name="T33" fmla="*/ 2147483647 h 624"/>
                    <a:gd name="T34" fmla="*/ 2147483647 w 234"/>
                    <a:gd name="T35" fmla="*/ 2147483647 h 624"/>
                    <a:gd name="T36" fmla="*/ 2147483647 w 234"/>
                    <a:gd name="T37" fmla="*/ 2147483647 h 624"/>
                    <a:gd name="T38" fmla="*/ 2147483647 w 234"/>
                    <a:gd name="T39" fmla="*/ 2147483647 h 624"/>
                    <a:gd name="T40" fmla="*/ 2147483647 w 234"/>
                    <a:gd name="T41" fmla="*/ 2147483647 h 624"/>
                    <a:gd name="T42" fmla="*/ 2147483647 w 234"/>
                    <a:gd name="T43" fmla="*/ 2147483647 h 624"/>
                    <a:gd name="T44" fmla="*/ 2147483647 w 234"/>
                    <a:gd name="T45" fmla="*/ 2147483647 h 624"/>
                    <a:gd name="T46" fmla="*/ 2147483647 w 234"/>
                    <a:gd name="T47" fmla="*/ 0 h 624"/>
                    <a:gd name="T48" fmla="*/ 2147483647 w 234"/>
                    <a:gd name="T49" fmla="*/ 2147483647 h 624"/>
                    <a:gd name="T50" fmla="*/ 2147483647 w 234"/>
                    <a:gd name="T51" fmla="*/ 2147483647 h 624"/>
                    <a:gd name="T52" fmla="*/ 2147483647 w 234"/>
                    <a:gd name="T53" fmla="*/ 2147483647 h 624"/>
                    <a:gd name="T54" fmla="*/ 2147483647 w 234"/>
                    <a:gd name="T55" fmla="*/ 2147483647 h 624"/>
                    <a:gd name="T56" fmla="*/ 2147483647 w 234"/>
                    <a:gd name="T57" fmla="*/ 2147483647 h 624"/>
                    <a:gd name="T58" fmla="*/ 2147483647 w 234"/>
                    <a:gd name="T59" fmla="*/ 2147483647 h 624"/>
                    <a:gd name="T60" fmla="*/ 2147483647 w 234"/>
                    <a:gd name="T61" fmla="*/ 2147483647 h 624"/>
                    <a:gd name="T62" fmla="*/ 2147483647 w 234"/>
                    <a:gd name="T63" fmla="*/ 2147483647 h 624"/>
                    <a:gd name="T64" fmla="*/ 2147483647 w 234"/>
                    <a:gd name="T65" fmla="*/ 2147483647 h 624"/>
                    <a:gd name="T66" fmla="*/ 2147483647 w 234"/>
                    <a:gd name="T67" fmla="*/ 2147483647 h 624"/>
                    <a:gd name="T68" fmla="*/ 2147483647 w 234"/>
                    <a:gd name="T69" fmla="*/ 2147483647 h 624"/>
                    <a:gd name="T70" fmla="*/ 2147483647 w 234"/>
                    <a:gd name="T71" fmla="*/ 2147483647 h 624"/>
                    <a:gd name="T72" fmla="*/ 2147483647 w 234"/>
                    <a:gd name="T73" fmla="*/ 2147483647 h 624"/>
                    <a:gd name="T74" fmla="*/ 0 w 234"/>
                    <a:gd name="T75" fmla="*/ 2147483647 h 624"/>
                    <a:gd name="T76" fmla="*/ 2147483647 w 234"/>
                    <a:gd name="T77" fmla="*/ 2147483647 h 624"/>
                    <a:gd name="T78" fmla="*/ 2147483647 w 234"/>
                    <a:gd name="T79" fmla="*/ 2147483647 h 624"/>
                    <a:gd name="T80" fmla="*/ 2147483647 w 234"/>
                    <a:gd name="T81" fmla="*/ 2147483647 h 624"/>
                    <a:gd name="T82" fmla="*/ 2147483647 w 234"/>
                    <a:gd name="T83" fmla="*/ 2147483647 h 624"/>
                    <a:gd name="T84" fmla="*/ 2147483647 w 234"/>
                    <a:gd name="T85" fmla="*/ 2147483647 h 624"/>
                    <a:gd name="T86" fmla="*/ 2147483647 w 234"/>
                    <a:gd name="T87" fmla="*/ 2147483647 h 624"/>
                    <a:gd name="T88" fmla="*/ 2147483647 w 234"/>
                    <a:gd name="T89" fmla="*/ 2147483647 h 624"/>
                    <a:gd name="T90" fmla="*/ 2147483647 w 234"/>
                    <a:gd name="T91" fmla="*/ 2147483647 h 624"/>
                    <a:gd name="T92" fmla="*/ 2147483647 w 234"/>
                    <a:gd name="T93" fmla="*/ 2147483647 h 624"/>
                    <a:gd name="T94" fmla="*/ 2147483647 w 234"/>
                    <a:gd name="T95" fmla="*/ 2147483647 h 624"/>
                    <a:gd name="T96" fmla="*/ 2147483647 w 234"/>
                    <a:gd name="T97" fmla="*/ 2147483647 h 624"/>
                    <a:gd name="T98" fmla="*/ 2147483647 w 234"/>
                    <a:gd name="T99" fmla="*/ 2147483647 h 624"/>
                    <a:gd name="T100" fmla="*/ 2147483647 w 234"/>
                    <a:gd name="T101" fmla="*/ 2147483647 h 624"/>
                    <a:gd name="T102" fmla="*/ 2147483647 w 234"/>
                    <a:gd name="T103" fmla="*/ 2147483647 h 624"/>
                    <a:gd name="T104" fmla="*/ 2147483647 w 234"/>
                    <a:gd name="T105" fmla="*/ 2147483647 h 624"/>
                    <a:gd name="T106" fmla="*/ 2147483647 w 234"/>
                    <a:gd name="T107" fmla="*/ 2147483647 h 624"/>
                    <a:gd name="T108" fmla="*/ 2147483647 w 234"/>
                    <a:gd name="T109" fmla="*/ 2147483647 h 624"/>
                    <a:gd name="T110" fmla="*/ 2147483647 w 234"/>
                    <a:gd name="T111" fmla="*/ 2147483647 h 624"/>
                    <a:gd name="T112" fmla="*/ 2147483647 w 234"/>
                    <a:gd name="T113" fmla="*/ 2147483647 h 624"/>
                    <a:gd name="T114" fmla="*/ 2147483647 w 234"/>
                    <a:gd name="T115" fmla="*/ 2147483647 h 624"/>
                    <a:gd name="T116" fmla="*/ 2147483647 w 234"/>
                    <a:gd name="T117" fmla="*/ 2147483647 h 62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34"/>
                    <a:gd name="T178" fmla="*/ 0 h 624"/>
                    <a:gd name="T179" fmla="*/ 234 w 234"/>
                    <a:gd name="T180" fmla="*/ 624 h 62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34" h="624">
                      <a:moveTo>
                        <a:pt x="234" y="432"/>
                      </a:moveTo>
                      <a:lnTo>
                        <a:pt x="222" y="420"/>
                      </a:lnTo>
                      <a:lnTo>
                        <a:pt x="210" y="402"/>
                      </a:lnTo>
                      <a:lnTo>
                        <a:pt x="204" y="390"/>
                      </a:lnTo>
                      <a:lnTo>
                        <a:pt x="198" y="384"/>
                      </a:lnTo>
                      <a:lnTo>
                        <a:pt x="186" y="360"/>
                      </a:lnTo>
                      <a:lnTo>
                        <a:pt x="162" y="336"/>
                      </a:lnTo>
                      <a:lnTo>
                        <a:pt x="156" y="336"/>
                      </a:lnTo>
                      <a:lnTo>
                        <a:pt x="156" y="330"/>
                      </a:lnTo>
                      <a:lnTo>
                        <a:pt x="150" y="330"/>
                      </a:lnTo>
                      <a:lnTo>
                        <a:pt x="150" y="342"/>
                      </a:lnTo>
                      <a:lnTo>
                        <a:pt x="156" y="342"/>
                      </a:lnTo>
                      <a:lnTo>
                        <a:pt x="168" y="354"/>
                      </a:lnTo>
                      <a:lnTo>
                        <a:pt x="168" y="366"/>
                      </a:lnTo>
                      <a:lnTo>
                        <a:pt x="174" y="378"/>
                      </a:lnTo>
                      <a:lnTo>
                        <a:pt x="174" y="390"/>
                      </a:lnTo>
                      <a:lnTo>
                        <a:pt x="168" y="396"/>
                      </a:lnTo>
                      <a:lnTo>
                        <a:pt x="162" y="396"/>
                      </a:lnTo>
                      <a:lnTo>
                        <a:pt x="162" y="390"/>
                      </a:lnTo>
                      <a:lnTo>
                        <a:pt x="156" y="384"/>
                      </a:lnTo>
                      <a:lnTo>
                        <a:pt x="156" y="378"/>
                      </a:lnTo>
                      <a:lnTo>
                        <a:pt x="144" y="384"/>
                      </a:lnTo>
                      <a:lnTo>
                        <a:pt x="132" y="384"/>
                      </a:lnTo>
                      <a:lnTo>
                        <a:pt x="132" y="360"/>
                      </a:lnTo>
                      <a:lnTo>
                        <a:pt x="126" y="354"/>
                      </a:lnTo>
                      <a:lnTo>
                        <a:pt x="126" y="342"/>
                      </a:lnTo>
                      <a:lnTo>
                        <a:pt x="120" y="330"/>
                      </a:lnTo>
                      <a:lnTo>
                        <a:pt x="120" y="282"/>
                      </a:lnTo>
                      <a:lnTo>
                        <a:pt x="84" y="246"/>
                      </a:lnTo>
                      <a:lnTo>
                        <a:pt x="90" y="240"/>
                      </a:lnTo>
                      <a:lnTo>
                        <a:pt x="90" y="222"/>
                      </a:lnTo>
                      <a:lnTo>
                        <a:pt x="96" y="210"/>
                      </a:lnTo>
                      <a:lnTo>
                        <a:pt x="114" y="192"/>
                      </a:lnTo>
                      <a:lnTo>
                        <a:pt x="120" y="180"/>
                      </a:lnTo>
                      <a:lnTo>
                        <a:pt x="126" y="174"/>
                      </a:lnTo>
                      <a:lnTo>
                        <a:pt x="126" y="156"/>
                      </a:lnTo>
                      <a:lnTo>
                        <a:pt x="120" y="150"/>
                      </a:lnTo>
                      <a:lnTo>
                        <a:pt x="120" y="102"/>
                      </a:lnTo>
                      <a:lnTo>
                        <a:pt x="114" y="78"/>
                      </a:lnTo>
                      <a:lnTo>
                        <a:pt x="114" y="60"/>
                      </a:lnTo>
                      <a:lnTo>
                        <a:pt x="102" y="60"/>
                      </a:lnTo>
                      <a:lnTo>
                        <a:pt x="84" y="42"/>
                      </a:lnTo>
                      <a:lnTo>
                        <a:pt x="84" y="36"/>
                      </a:lnTo>
                      <a:lnTo>
                        <a:pt x="90" y="24"/>
                      </a:lnTo>
                      <a:lnTo>
                        <a:pt x="90" y="18"/>
                      </a:lnTo>
                      <a:lnTo>
                        <a:pt x="60" y="18"/>
                      </a:lnTo>
                      <a:lnTo>
                        <a:pt x="54" y="0"/>
                      </a:lnTo>
                      <a:lnTo>
                        <a:pt x="30" y="0"/>
                      </a:lnTo>
                      <a:lnTo>
                        <a:pt x="30" y="12"/>
                      </a:lnTo>
                      <a:lnTo>
                        <a:pt x="42" y="12"/>
                      </a:lnTo>
                      <a:lnTo>
                        <a:pt x="54" y="24"/>
                      </a:lnTo>
                      <a:lnTo>
                        <a:pt x="54" y="66"/>
                      </a:lnTo>
                      <a:lnTo>
                        <a:pt x="60" y="66"/>
                      </a:lnTo>
                      <a:lnTo>
                        <a:pt x="66" y="60"/>
                      </a:lnTo>
                      <a:lnTo>
                        <a:pt x="66" y="84"/>
                      </a:lnTo>
                      <a:lnTo>
                        <a:pt x="78" y="84"/>
                      </a:lnTo>
                      <a:lnTo>
                        <a:pt x="78" y="96"/>
                      </a:lnTo>
                      <a:lnTo>
                        <a:pt x="54" y="108"/>
                      </a:lnTo>
                      <a:lnTo>
                        <a:pt x="48" y="114"/>
                      </a:lnTo>
                      <a:lnTo>
                        <a:pt x="42" y="114"/>
                      </a:lnTo>
                      <a:lnTo>
                        <a:pt x="42" y="132"/>
                      </a:lnTo>
                      <a:lnTo>
                        <a:pt x="54" y="138"/>
                      </a:lnTo>
                      <a:lnTo>
                        <a:pt x="48" y="156"/>
                      </a:lnTo>
                      <a:lnTo>
                        <a:pt x="48" y="228"/>
                      </a:lnTo>
                      <a:lnTo>
                        <a:pt x="60" y="228"/>
                      </a:lnTo>
                      <a:lnTo>
                        <a:pt x="60" y="234"/>
                      </a:lnTo>
                      <a:lnTo>
                        <a:pt x="42" y="252"/>
                      </a:lnTo>
                      <a:lnTo>
                        <a:pt x="30" y="258"/>
                      </a:lnTo>
                      <a:lnTo>
                        <a:pt x="24" y="264"/>
                      </a:lnTo>
                      <a:lnTo>
                        <a:pt x="18" y="264"/>
                      </a:lnTo>
                      <a:lnTo>
                        <a:pt x="24" y="300"/>
                      </a:lnTo>
                      <a:lnTo>
                        <a:pt x="18" y="312"/>
                      </a:lnTo>
                      <a:lnTo>
                        <a:pt x="12" y="318"/>
                      </a:lnTo>
                      <a:lnTo>
                        <a:pt x="6" y="330"/>
                      </a:lnTo>
                      <a:lnTo>
                        <a:pt x="0" y="336"/>
                      </a:lnTo>
                      <a:lnTo>
                        <a:pt x="0" y="342"/>
                      </a:lnTo>
                      <a:lnTo>
                        <a:pt x="12" y="348"/>
                      </a:lnTo>
                      <a:lnTo>
                        <a:pt x="24" y="360"/>
                      </a:lnTo>
                      <a:lnTo>
                        <a:pt x="36" y="366"/>
                      </a:lnTo>
                      <a:lnTo>
                        <a:pt x="66" y="414"/>
                      </a:lnTo>
                      <a:lnTo>
                        <a:pt x="96" y="414"/>
                      </a:lnTo>
                      <a:lnTo>
                        <a:pt x="102" y="408"/>
                      </a:lnTo>
                      <a:lnTo>
                        <a:pt x="120" y="408"/>
                      </a:lnTo>
                      <a:lnTo>
                        <a:pt x="126" y="414"/>
                      </a:lnTo>
                      <a:lnTo>
                        <a:pt x="126" y="450"/>
                      </a:lnTo>
                      <a:lnTo>
                        <a:pt x="132" y="450"/>
                      </a:lnTo>
                      <a:lnTo>
                        <a:pt x="126" y="480"/>
                      </a:lnTo>
                      <a:lnTo>
                        <a:pt x="114" y="486"/>
                      </a:lnTo>
                      <a:lnTo>
                        <a:pt x="126" y="504"/>
                      </a:lnTo>
                      <a:lnTo>
                        <a:pt x="120" y="510"/>
                      </a:lnTo>
                      <a:lnTo>
                        <a:pt x="108" y="516"/>
                      </a:lnTo>
                      <a:lnTo>
                        <a:pt x="102" y="522"/>
                      </a:lnTo>
                      <a:lnTo>
                        <a:pt x="102" y="528"/>
                      </a:lnTo>
                      <a:lnTo>
                        <a:pt x="114" y="528"/>
                      </a:lnTo>
                      <a:lnTo>
                        <a:pt x="114" y="558"/>
                      </a:lnTo>
                      <a:lnTo>
                        <a:pt x="126" y="564"/>
                      </a:lnTo>
                      <a:lnTo>
                        <a:pt x="132" y="570"/>
                      </a:lnTo>
                      <a:lnTo>
                        <a:pt x="144" y="576"/>
                      </a:lnTo>
                      <a:lnTo>
                        <a:pt x="150" y="582"/>
                      </a:lnTo>
                      <a:lnTo>
                        <a:pt x="162" y="588"/>
                      </a:lnTo>
                      <a:lnTo>
                        <a:pt x="162" y="600"/>
                      </a:lnTo>
                      <a:lnTo>
                        <a:pt x="156" y="606"/>
                      </a:lnTo>
                      <a:lnTo>
                        <a:pt x="156" y="618"/>
                      </a:lnTo>
                      <a:lnTo>
                        <a:pt x="162" y="624"/>
                      </a:lnTo>
                      <a:lnTo>
                        <a:pt x="168" y="618"/>
                      </a:lnTo>
                      <a:lnTo>
                        <a:pt x="180" y="612"/>
                      </a:lnTo>
                      <a:lnTo>
                        <a:pt x="180" y="582"/>
                      </a:lnTo>
                      <a:lnTo>
                        <a:pt x="174" y="576"/>
                      </a:lnTo>
                      <a:lnTo>
                        <a:pt x="168" y="576"/>
                      </a:lnTo>
                      <a:lnTo>
                        <a:pt x="168" y="558"/>
                      </a:lnTo>
                      <a:lnTo>
                        <a:pt x="174" y="546"/>
                      </a:lnTo>
                      <a:lnTo>
                        <a:pt x="186" y="540"/>
                      </a:lnTo>
                      <a:lnTo>
                        <a:pt x="210" y="540"/>
                      </a:lnTo>
                      <a:lnTo>
                        <a:pt x="216" y="534"/>
                      </a:lnTo>
                      <a:lnTo>
                        <a:pt x="216" y="474"/>
                      </a:lnTo>
                      <a:lnTo>
                        <a:pt x="222" y="468"/>
                      </a:lnTo>
                      <a:lnTo>
                        <a:pt x="228" y="456"/>
                      </a:lnTo>
                      <a:lnTo>
                        <a:pt x="234" y="450"/>
                      </a:lnTo>
                      <a:lnTo>
                        <a:pt x="234" y="432"/>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596" name="Madagascar"/>
                <p:cNvSpPr>
                  <a:spLocks/>
                </p:cNvSpPr>
                <p:nvPr/>
              </p:nvSpPr>
              <p:spPr bwMode="gray">
                <a:xfrm>
                  <a:off x="3419" y="2563"/>
                  <a:ext cx="152" cy="279"/>
                </a:xfrm>
                <a:custGeom>
                  <a:avLst/>
                  <a:gdLst>
                    <a:gd name="T0" fmla="*/ 2147483647 w 594"/>
                    <a:gd name="T1" fmla="*/ 2147483647 h 1092"/>
                    <a:gd name="T2" fmla="*/ 2147483647 w 594"/>
                    <a:gd name="T3" fmla="*/ 2147483647 h 1092"/>
                    <a:gd name="T4" fmla="*/ 2147483647 w 594"/>
                    <a:gd name="T5" fmla="*/ 2147483647 h 1092"/>
                    <a:gd name="T6" fmla="*/ 2147483647 w 594"/>
                    <a:gd name="T7" fmla="*/ 2147483647 h 1092"/>
                    <a:gd name="T8" fmla="*/ 2147483647 w 594"/>
                    <a:gd name="T9" fmla="*/ 2147483647 h 1092"/>
                    <a:gd name="T10" fmla="*/ 2147483647 w 594"/>
                    <a:gd name="T11" fmla="*/ 2147483647 h 1092"/>
                    <a:gd name="T12" fmla="*/ 2147483647 w 594"/>
                    <a:gd name="T13" fmla="*/ 2147483647 h 1092"/>
                    <a:gd name="T14" fmla="*/ 2147483647 w 594"/>
                    <a:gd name="T15" fmla="*/ 2147483647 h 1092"/>
                    <a:gd name="T16" fmla="*/ 2147483647 w 594"/>
                    <a:gd name="T17" fmla="*/ 2147483647 h 1092"/>
                    <a:gd name="T18" fmla="*/ 2147483647 w 594"/>
                    <a:gd name="T19" fmla="*/ 2147483647 h 1092"/>
                    <a:gd name="T20" fmla="*/ 2147483647 w 594"/>
                    <a:gd name="T21" fmla="*/ 2147483647 h 1092"/>
                    <a:gd name="T22" fmla="*/ 2147483647 w 594"/>
                    <a:gd name="T23" fmla="*/ 2147483647 h 1092"/>
                    <a:gd name="T24" fmla="*/ 2147483647 w 594"/>
                    <a:gd name="T25" fmla="*/ 2147483647 h 1092"/>
                    <a:gd name="T26" fmla="*/ 2147483647 w 594"/>
                    <a:gd name="T27" fmla="*/ 2147483647 h 1092"/>
                    <a:gd name="T28" fmla="*/ 2147483647 w 594"/>
                    <a:gd name="T29" fmla="*/ 2147483647 h 1092"/>
                    <a:gd name="T30" fmla="*/ 2147483647 w 594"/>
                    <a:gd name="T31" fmla="*/ 2147483647 h 1092"/>
                    <a:gd name="T32" fmla="*/ 2147483647 w 594"/>
                    <a:gd name="T33" fmla="*/ 0 h 1092"/>
                    <a:gd name="T34" fmla="*/ 2147483647 w 594"/>
                    <a:gd name="T35" fmla="*/ 2147483647 h 1092"/>
                    <a:gd name="T36" fmla="*/ 2147483647 w 594"/>
                    <a:gd name="T37" fmla="*/ 2147483647 h 1092"/>
                    <a:gd name="T38" fmla="*/ 2147483647 w 594"/>
                    <a:gd name="T39" fmla="*/ 2147483647 h 1092"/>
                    <a:gd name="T40" fmla="*/ 2147483647 w 594"/>
                    <a:gd name="T41" fmla="*/ 2147483647 h 1092"/>
                    <a:gd name="T42" fmla="*/ 2147483647 w 594"/>
                    <a:gd name="T43" fmla="*/ 2147483647 h 1092"/>
                    <a:gd name="T44" fmla="*/ 2147483647 w 594"/>
                    <a:gd name="T45" fmla="*/ 2147483647 h 1092"/>
                    <a:gd name="T46" fmla="*/ 2147483647 w 594"/>
                    <a:gd name="T47" fmla="*/ 2147483647 h 1092"/>
                    <a:gd name="T48" fmla="*/ 2147483647 w 594"/>
                    <a:gd name="T49" fmla="*/ 2147483647 h 1092"/>
                    <a:gd name="T50" fmla="*/ 2147483647 w 594"/>
                    <a:gd name="T51" fmla="*/ 2147483647 h 1092"/>
                    <a:gd name="T52" fmla="*/ 2147483647 w 594"/>
                    <a:gd name="T53" fmla="*/ 2147483647 h 1092"/>
                    <a:gd name="T54" fmla="*/ 2147483647 w 594"/>
                    <a:gd name="T55" fmla="*/ 2147483647 h 1092"/>
                    <a:gd name="T56" fmla="*/ 2147483647 w 594"/>
                    <a:gd name="T57" fmla="*/ 2147483647 h 1092"/>
                    <a:gd name="T58" fmla="*/ 2147483647 w 594"/>
                    <a:gd name="T59" fmla="*/ 2147483647 h 1092"/>
                    <a:gd name="T60" fmla="*/ 2147483647 w 594"/>
                    <a:gd name="T61" fmla="*/ 2147483647 h 1092"/>
                    <a:gd name="T62" fmla="*/ 2147483647 w 594"/>
                    <a:gd name="T63" fmla="*/ 2147483647 h 1092"/>
                    <a:gd name="T64" fmla="*/ 2147483647 w 594"/>
                    <a:gd name="T65" fmla="*/ 2147483647 h 1092"/>
                    <a:gd name="T66" fmla="*/ 2147483647 w 594"/>
                    <a:gd name="T67" fmla="*/ 2147483647 h 1092"/>
                    <a:gd name="T68" fmla="*/ 2147483647 w 594"/>
                    <a:gd name="T69" fmla="*/ 2147483647 h 1092"/>
                    <a:gd name="T70" fmla="*/ 2147483647 w 594"/>
                    <a:gd name="T71" fmla="*/ 2147483647 h 1092"/>
                    <a:gd name="T72" fmla="*/ 2147483647 w 594"/>
                    <a:gd name="T73" fmla="*/ 2147483647 h 1092"/>
                    <a:gd name="T74" fmla="*/ 2147483647 w 594"/>
                    <a:gd name="T75" fmla="*/ 2147483647 h 1092"/>
                    <a:gd name="T76" fmla="*/ 2147483647 w 594"/>
                    <a:gd name="T77" fmla="*/ 2147483647 h 1092"/>
                    <a:gd name="T78" fmla="*/ 2147483647 w 594"/>
                    <a:gd name="T79" fmla="*/ 2147483647 h 1092"/>
                    <a:gd name="T80" fmla="*/ 2147483647 w 594"/>
                    <a:gd name="T81" fmla="*/ 2147483647 h 1092"/>
                    <a:gd name="T82" fmla="*/ 2147483647 w 594"/>
                    <a:gd name="T83" fmla="*/ 2147483647 h 1092"/>
                    <a:gd name="T84" fmla="*/ 2147483647 w 594"/>
                    <a:gd name="T85" fmla="*/ 2147483647 h 1092"/>
                    <a:gd name="T86" fmla="*/ 0 w 594"/>
                    <a:gd name="T87" fmla="*/ 2147483647 h 1092"/>
                    <a:gd name="T88" fmla="*/ 2147483647 w 594"/>
                    <a:gd name="T89" fmla="*/ 2147483647 h 1092"/>
                    <a:gd name="T90" fmla="*/ 2147483647 w 594"/>
                    <a:gd name="T91" fmla="*/ 2147483647 h 1092"/>
                    <a:gd name="T92" fmla="*/ 2147483647 w 594"/>
                    <a:gd name="T93" fmla="*/ 2147483647 h 1092"/>
                    <a:gd name="T94" fmla="*/ 2147483647 w 594"/>
                    <a:gd name="T95" fmla="*/ 2147483647 h 1092"/>
                    <a:gd name="T96" fmla="*/ 2147483647 w 594"/>
                    <a:gd name="T97" fmla="*/ 2147483647 h 1092"/>
                    <a:gd name="T98" fmla="*/ 2147483647 w 594"/>
                    <a:gd name="T99" fmla="*/ 2147483647 h 1092"/>
                    <a:gd name="T100" fmla="*/ 2147483647 w 594"/>
                    <a:gd name="T101" fmla="*/ 2147483647 h 1092"/>
                    <a:gd name="T102" fmla="*/ 2147483647 w 594"/>
                    <a:gd name="T103" fmla="*/ 2147483647 h 109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94"/>
                    <a:gd name="T157" fmla="*/ 0 h 1092"/>
                    <a:gd name="T158" fmla="*/ 594 w 594"/>
                    <a:gd name="T159" fmla="*/ 1092 h 109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94" h="1092">
                      <a:moveTo>
                        <a:pt x="120" y="330"/>
                      </a:moveTo>
                      <a:lnTo>
                        <a:pt x="144" y="324"/>
                      </a:lnTo>
                      <a:lnTo>
                        <a:pt x="192" y="324"/>
                      </a:lnTo>
                      <a:lnTo>
                        <a:pt x="192" y="300"/>
                      </a:lnTo>
                      <a:lnTo>
                        <a:pt x="252" y="312"/>
                      </a:lnTo>
                      <a:lnTo>
                        <a:pt x="270" y="282"/>
                      </a:lnTo>
                      <a:lnTo>
                        <a:pt x="312" y="288"/>
                      </a:lnTo>
                      <a:lnTo>
                        <a:pt x="312" y="258"/>
                      </a:lnTo>
                      <a:lnTo>
                        <a:pt x="324" y="228"/>
                      </a:lnTo>
                      <a:lnTo>
                        <a:pt x="324" y="258"/>
                      </a:lnTo>
                      <a:lnTo>
                        <a:pt x="336" y="276"/>
                      </a:lnTo>
                      <a:lnTo>
                        <a:pt x="348" y="240"/>
                      </a:lnTo>
                      <a:lnTo>
                        <a:pt x="348" y="210"/>
                      </a:lnTo>
                      <a:lnTo>
                        <a:pt x="354" y="192"/>
                      </a:lnTo>
                      <a:lnTo>
                        <a:pt x="354" y="186"/>
                      </a:lnTo>
                      <a:lnTo>
                        <a:pt x="360" y="186"/>
                      </a:lnTo>
                      <a:lnTo>
                        <a:pt x="372" y="198"/>
                      </a:lnTo>
                      <a:lnTo>
                        <a:pt x="372" y="204"/>
                      </a:lnTo>
                      <a:lnTo>
                        <a:pt x="378" y="204"/>
                      </a:lnTo>
                      <a:lnTo>
                        <a:pt x="402" y="180"/>
                      </a:lnTo>
                      <a:lnTo>
                        <a:pt x="396" y="168"/>
                      </a:lnTo>
                      <a:lnTo>
                        <a:pt x="396" y="150"/>
                      </a:lnTo>
                      <a:lnTo>
                        <a:pt x="390" y="138"/>
                      </a:lnTo>
                      <a:lnTo>
                        <a:pt x="402" y="126"/>
                      </a:lnTo>
                      <a:lnTo>
                        <a:pt x="414" y="126"/>
                      </a:lnTo>
                      <a:lnTo>
                        <a:pt x="420" y="132"/>
                      </a:lnTo>
                      <a:lnTo>
                        <a:pt x="426" y="132"/>
                      </a:lnTo>
                      <a:lnTo>
                        <a:pt x="432" y="126"/>
                      </a:lnTo>
                      <a:lnTo>
                        <a:pt x="438" y="114"/>
                      </a:lnTo>
                      <a:lnTo>
                        <a:pt x="450" y="102"/>
                      </a:lnTo>
                      <a:lnTo>
                        <a:pt x="456" y="90"/>
                      </a:lnTo>
                      <a:lnTo>
                        <a:pt x="462" y="72"/>
                      </a:lnTo>
                      <a:lnTo>
                        <a:pt x="462" y="42"/>
                      </a:lnTo>
                      <a:lnTo>
                        <a:pt x="492" y="0"/>
                      </a:lnTo>
                      <a:lnTo>
                        <a:pt x="546" y="60"/>
                      </a:lnTo>
                      <a:lnTo>
                        <a:pt x="546" y="90"/>
                      </a:lnTo>
                      <a:lnTo>
                        <a:pt x="552" y="96"/>
                      </a:lnTo>
                      <a:lnTo>
                        <a:pt x="558" y="114"/>
                      </a:lnTo>
                      <a:lnTo>
                        <a:pt x="576" y="150"/>
                      </a:lnTo>
                      <a:lnTo>
                        <a:pt x="582" y="156"/>
                      </a:lnTo>
                      <a:lnTo>
                        <a:pt x="582" y="162"/>
                      </a:lnTo>
                      <a:lnTo>
                        <a:pt x="564" y="216"/>
                      </a:lnTo>
                      <a:lnTo>
                        <a:pt x="594" y="276"/>
                      </a:lnTo>
                      <a:lnTo>
                        <a:pt x="594" y="288"/>
                      </a:lnTo>
                      <a:lnTo>
                        <a:pt x="588" y="294"/>
                      </a:lnTo>
                      <a:lnTo>
                        <a:pt x="576" y="294"/>
                      </a:lnTo>
                      <a:lnTo>
                        <a:pt x="564" y="288"/>
                      </a:lnTo>
                      <a:lnTo>
                        <a:pt x="558" y="282"/>
                      </a:lnTo>
                      <a:lnTo>
                        <a:pt x="552" y="282"/>
                      </a:lnTo>
                      <a:lnTo>
                        <a:pt x="522" y="288"/>
                      </a:lnTo>
                      <a:lnTo>
                        <a:pt x="528" y="330"/>
                      </a:lnTo>
                      <a:lnTo>
                        <a:pt x="522" y="336"/>
                      </a:lnTo>
                      <a:lnTo>
                        <a:pt x="516" y="348"/>
                      </a:lnTo>
                      <a:lnTo>
                        <a:pt x="504" y="354"/>
                      </a:lnTo>
                      <a:lnTo>
                        <a:pt x="486" y="390"/>
                      </a:lnTo>
                      <a:lnTo>
                        <a:pt x="486" y="402"/>
                      </a:lnTo>
                      <a:lnTo>
                        <a:pt x="492" y="414"/>
                      </a:lnTo>
                      <a:lnTo>
                        <a:pt x="504" y="450"/>
                      </a:lnTo>
                      <a:lnTo>
                        <a:pt x="498" y="468"/>
                      </a:lnTo>
                      <a:lnTo>
                        <a:pt x="486" y="510"/>
                      </a:lnTo>
                      <a:lnTo>
                        <a:pt x="462" y="570"/>
                      </a:lnTo>
                      <a:lnTo>
                        <a:pt x="432" y="642"/>
                      </a:lnTo>
                      <a:lnTo>
                        <a:pt x="390" y="720"/>
                      </a:lnTo>
                      <a:lnTo>
                        <a:pt x="324" y="852"/>
                      </a:lnTo>
                      <a:lnTo>
                        <a:pt x="312" y="894"/>
                      </a:lnTo>
                      <a:lnTo>
                        <a:pt x="306" y="912"/>
                      </a:lnTo>
                      <a:lnTo>
                        <a:pt x="306" y="948"/>
                      </a:lnTo>
                      <a:lnTo>
                        <a:pt x="294" y="984"/>
                      </a:lnTo>
                      <a:lnTo>
                        <a:pt x="276" y="1014"/>
                      </a:lnTo>
                      <a:lnTo>
                        <a:pt x="258" y="1032"/>
                      </a:lnTo>
                      <a:lnTo>
                        <a:pt x="240" y="1044"/>
                      </a:lnTo>
                      <a:lnTo>
                        <a:pt x="222" y="1062"/>
                      </a:lnTo>
                      <a:lnTo>
                        <a:pt x="216" y="1062"/>
                      </a:lnTo>
                      <a:lnTo>
                        <a:pt x="210" y="1068"/>
                      </a:lnTo>
                      <a:lnTo>
                        <a:pt x="186" y="1068"/>
                      </a:lnTo>
                      <a:lnTo>
                        <a:pt x="150" y="1086"/>
                      </a:lnTo>
                      <a:lnTo>
                        <a:pt x="114" y="1092"/>
                      </a:lnTo>
                      <a:lnTo>
                        <a:pt x="78" y="1074"/>
                      </a:lnTo>
                      <a:lnTo>
                        <a:pt x="60" y="1056"/>
                      </a:lnTo>
                      <a:lnTo>
                        <a:pt x="48" y="1038"/>
                      </a:lnTo>
                      <a:lnTo>
                        <a:pt x="36" y="1026"/>
                      </a:lnTo>
                      <a:lnTo>
                        <a:pt x="36" y="1020"/>
                      </a:lnTo>
                      <a:lnTo>
                        <a:pt x="30" y="1014"/>
                      </a:lnTo>
                      <a:lnTo>
                        <a:pt x="48" y="990"/>
                      </a:lnTo>
                      <a:lnTo>
                        <a:pt x="42" y="978"/>
                      </a:lnTo>
                      <a:lnTo>
                        <a:pt x="24" y="948"/>
                      </a:lnTo>
                      <a:lnTo>
                        <a:pt x="12" y="900"/>
                      </a:lnTo>
                      <a:lnTo>
                        <a:pt x="0" y="834"/>
                      </a:lnTo>
                      <a:lnTo>
                        <a:pt x="0" y="786"/>
                      </a:lnTo>
                      <a:lnTo>
                        <a:pt x="6" y="756"/>
                      </a:lnTo>
                      <a:lnTo>
                        <a:pt x="18" y="738"/>
                      </a:lnTo>
                      <a:lnTo>
                        <a:pt x="60" y="696"/>
                      </a:lnTo>
                      <a:lnTo>
                        <a:pt x="72" y="678"/>
                      </a:lnTo>
                      <a:lnTo>
                        <a:pt x="90" y="672"/>
                      </a:lnTo>
                      <a:lnTo>
                        <a:pt x="96" y="660"/>
                      </a:lnTo>
                      <a:lnTo>
                        <a:pt x="108" y="654"/>
                      </a:lnTo>
                      <a:lnTo>
                        <a:pt x="108" y="636"/>
                      </a:lnTo>
                      <a:lnTo>
                        <a:pt x="102" y="600"/>
                      </a:lnTo>
                      <a:lnTo>
                        <a:pt x="96" y="558"/>
                      </a:lnTo>
                      <a:lnTo>
                        <a:pt x="96" y="522"/>
                      </a:lnTo>
                      <a:lnTo>
                        <a:pt x="78" y="432"/>
                      </a:lnTo>
                      <a:lnTo>
                        <a:pt x="90" y="408"/>
                      </a:lnTo>
                      <a:lnTo>
                        <a:pt x="132" y="366"/>
                      </a:lnTo>
                      <a:lnTo>
                        <a:pt x="132" y="360"/>
                      </a:lnTo>
                      <a:lnTo>
                        <a:pt x="120" y="33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597" name="Macedonia"/>
                <p:cNvSpPr>
                  <a:spLocks/>
                </p:cNvSpPr>
                <p:nvPr/>
              </p:nvSpPr>
              <p:spPr bwMode="gray">
                <a:xfrm>
                  <a:off x="3007" y="1435"/>
                  <a:ext cx="42" cy="33"/>
                </a:xfrm>
                <a:custGeom>
                  <a:avLst/>
                  <a:gdLst>
                    <a:gd name="T0" fmla="*/ 2147483647 w 162"/>
                    <a:gd name="T1" fmla="*/ 2147483647 h 126"/>
                    <a:gd name="T2" fmla="*/ 2147483647 w 162"/>
                    <a:gd name="T3" fmla="*/ 2147483647 h 126"/>
                    <a:gd name="T4" fmla="*/ 2147483647 w 162"/>
                    <a:gd name="T5" fmla="*/ 2147483647 h 126"/>
                    <a:gd name="T6" fmla="*/ 2147483647 w 162"/>
                    <a:gd name="T7" fmla="*/ 2147483647 h 126"/>
                    <a:gd name="T8" fmla="*/ 2147483647 w 162"/>
                    <a:gd name="T9" fmla="*/ 0 h 126"/>
                    <a:gd name="T10" fmla="*/ 2147483647 w 162"/>
                    <a:gd name="T11" fmla="*/ 2147483647 h 126"/>
                    <a:gd name="T12" fmla="*/ 2147483647 w 162"/>
                    <a:gd name="T13" fmla="*/ 2147483647 h 126"/>
                    <a:gd name="T14" fmla="*/ 2147483647 w 162"/>
                    <a:gd name="T15" fmla="*/ 2147483647 h 126"/>
                    <a:gd name="T16" fmla="*/ 2147483647 w 162"/>
                    <a:gd name="T17" fmla="*/ 2147483647 h 126"/>
                    <a:gd name="T18" fmla="*/ 2147483647 w 162"/>
                    <a:gd name="T19" fmla="*/ 2147483647 h 126"/>
                    <a:gd name="T20" fmla="*/ 2147483647 w 162"/>
                    <a:gd name="T21" fmla="*/ 2147483647 h 126"/>
                    <a:gd name="T22" fmla="*/ 0 w 162"/>
                    <a:gd name="T23" fmla="*/ 2147483647 h 126"/>
                    <a:gd name="T24" fmla="*/ 0 w 162"/>
                    <a:gd name="T25" fmla="*/ 2147483647 h 126"/>
                    <a:gd name="T26" fmla="*/ 2147483647 w 162"/>
                    <a:gd name="T27" fmla="*/ 2147483647 h 126"/>
                    <a:gd name="T28" fmla="*/ 2147483647 w 162"/>
                    <a:gd name="T29" fmla="*/ 2147483647 h 126"/>
                    <a:gd name="T30" fmla="*/ 2147483647 w 162"/>
                    <a:gd name="T31" fmla="*/ 2147483647 h 126"/>
                    <a:gd name="T32" fmla="*/ 2147483647 w 162"/>
                    <a:gd name="T33" fmla="*/ 2147483647 h 126"/>
                    <a:gd name="T34" fmla="*/ 2147483647 w 162"/>
                    <a:gd name="T35" fmla="*/ 2147483647 h 126"/>
                    <a:gd name="T36" fmla="*/ 2147483647 w 162"/>
                    <a:gd name="T37" fmla="*/ 2147483647 h 126"/>
                    <a:gd name="T38" fmla="*/ 2147483647 w 162"/>
                    <a:gd name="T39" fmla="*/ 2147483647 h 126"/>
                    <a:gd name="T40" fmla="*/ 2147483647 w 162"/>
                    <a:gd name="T41" fmla="*/ 2147483647 h 126"/>
                    <a:gd name="T42" fmla="*/ 2147483647 w 162"/>
                    <a:gd name="T43" fmla="*/ 2147483647 h 126"/>
                    <a:gd name="T44" fmla="*/ 2147483647 w 162"/>
                    <a:gd name="T45" fmla="*/ 2147483647 h 126"/>
                    <a:gd name="T46" fmla="*/ 2147483647 w 162"/>
                    <a:gd name="T47" fmla="*/ 2147483647 h 126"/>
                    <a:gd name="T48" fmla="*/ 2147483647 w 162"/>
                    <a:gd name="T49" fmla="*/ 2147483647 h 126"/>
                    <a:gd name="T50" fmla="*/ 2147483647 w 162"/>
                    <a:gd name="T51" fmla="*/ 2147483647 h 126"/>
                    <a:gd name="T52" fmla="*/ 2147483647 w 162"/>
                    <a:gd name="T53" fmla="*/ 2147483647 h 126"/>
                    <a:gd name="T54" fmla="*/ 2147483647 w 162"/>
                    <a:gd name="T55" fmla="*/ 2147483647 h 126"/>
                    <a:gd name="T56" fmla="*/ 2147483647 w 162"/>
                    <a:gd name="T57" fmla="*/ 2147483647 h 126"/>
                    <a:gd name="T58" fmla="*/ 2147483647 w 162"/>
                    <a:gd name="T59" fmla="*/ 2147483647 h 126"/>
                    <a:gd name="T60" fmla="*/ 2147483647 w 162"/>
                    <a:gd name="T61" fmla="*/ 2147483647 h 126"/>
                    <a:gd name="T62" fmla="*/ 2147483647 w 162"/>
                    <a:gd name="T63" fmla="*/ 2147483647 h 126"/>
                    <a:gd name="T64" fmla="*/ 2147483647 w 162"/>
                    <a:gd name="T65" fmla="*/ 2147483647 h 12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62"/>
                    <a:gd name="T100" fmla="*/ 0 h 126"/>
                    <a:gd name="T101" fmla="*/ 162 w 162"/>
                    <a:gd name="T102" fmla="*/ 126 h 12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62" h="126">
                      <a:moveTo>
                        <a:pt x="150" y="42"/>
                      </a:moveTo>
                      <a:lnTo>
                        <a:pt x="132" y="30"/>
                      </a:lnTo>
                      <a:lnTo>
                        <a:pt x="132" y="18"/>
                      </a:lnTo>
                      <a:lnTo>
                        <a:pt x="126" y="18"/>
                      </a:lnTo>
                      <a:lnTo>
                        <a:pt x="114" y="0"/>
                      </a:lnTo>
                      <a:lnTo>
                        <a:pt x="72" y="6"/>
                      </a:lnTo>
                      <a:lnTo>
                        <a:pt x="66" y="12"/>
                      </a:lnTo>
                      <a:lnTo>
                        <a:pt x="48" y="12"/>
                      </a:lnTo>
                      <a:lnTo>
                        <a:pt x="48" y="24"/>
                      </a:lnTo>
                      <a:lnTo>
                        <a:pt x="24" y="24"/>
                      </a:lnTo>
                      <a:lnTo>
                        <a:pt x="18" y="36"/>
                      </a:lnTo>
                      <a:lnTo>
                        <a:pt x="0" y="42"/>
                      </a:lnTo>
                      <a:lnTo>
                        <a:pt x="0" y="66"/>
                      </a:lnTo>
                      <a:lnTo>
                        <a:pt x="6" y="78"/>
                      </a:lnTo>
                      <a:lnTo>
                        <a:pt x="6" y="102"/>
                      </a:lnTo>
                      <a:lnTo>
                        <a:pt x="12" y="108"/>
                      </a:lnTo>
                      <a:lnTo>
                        <a:pt x="18" y="108"/>
                      </a:lnTo>
                      <a:lnTo>
                        <a:pt x="18" y="126"/>
                      </a:lnTo>
                      <a:lnTo>
                        <a:pt x="42" y="120"/>
                      </a:lnTo>
                      <a:lnTo>
                        <a:pt x="42" y="126"/>
                      </a:lnTo>
                      <a:lnTo>
                        <a:pt x="54" y="120"/>
                      </a:lnTo>
                      <a:lnTo>
                        <a:pt x="60" y="120"/>
                      </a:lnTo>
                      <a:lnTo>
                        <a:pt x="66" y="126"/>
                      </a:lnTo>
                      <a:lnTo>
                        <a:pt x="90" y="126"/>
                      </a:lnTo>
                      <a:lnTo>
                        <a:pt x="96" y="114"/>
                      </a:lnTo>
                      <a:lnTo>
                        <a:pt x="96" y="108"/>
                      </a:lnTo>
                      <a:lnTo>
                        <a:pt x="120" y="108"/>
                      </a:lnTo>
                      <a:lnTo>
                        <a:pt x="132" y="102"/>
                      </a:lnTo>
                      <a:lnTo>
                        <a:pt x="156" y="78"/>
                      </a:lnTo>
                      <a:lnTo>
                        <a:pt x="162" y="66"/>
                      </a:lnTo>
                      <a:lnTo>
                        <a:pt x="162" y="60"/>
                      </a:lnTo>
                      <a:lnTo>
                        <a:pt x="156" y="48"/>
                      </a:lnTo>
                      <a:lnTo>
                        <a:pt x="150" y="42"/>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598" name="Luxembourg"/>
                <p:cNvSpPr>
                  <a:spLocks/>
                </p:cNvSpPr>
                <p:nvPr/>
              </p:nvSpPr>
              <p:spPr bwMode="gray">
                <a:xfrm>
                  <a:off x="2766" y="1281"/>
                  <a:ext cx="13" cy="11"/>
                </a:xfrm>
                <a:custGeom>
                  <a:avLst/>
                  <a:gdLst>
                    <a:gd name="T0" fmla="*/ 2147483647 w 54"/>
                    <a:gd name="T1" fmla="*/ 2147483647 h 42"/>
                    <a:gd name="T2" fmla="*/ 2147483647 w 54"/>
                    <a:gd name="T3" fmla="*/ 2147483647 h 42"/>
                    <a:gd name="T4" fmla="*/ 2147483647 w 54"/>
                    <a:gd name="T5" fmla="*/ 2147483647 h 42"/>
                    <a:gd name="T6" fmla="*/ 2147483647 w 54"/>
                    <a:gd name="T7" fmla="*/ 2147483647 h 42"/>
                    <a:gd name="T8" fmla="*/ 2147483647 w 54"/>
                    <a:gd name="T9" fmla="*/ 2147483647 h 42"/>
                    <a:gd name="T10" fmla="*/ 2147483647 w 54"/>
                    <a:gd name="T11" fmla="*/ 2147483647 h 42"/>
                    <a:gd name="T12" fmla="*/ 2147483647 w 54"/>
                    <a:gd name="T13" fmla="*/ 2147483647 h 42"/>
                    <a:gd name="T14" fmla="*/ 2147483647 w 54"/>
                    <a:gd name="T15" fmla="*/ 2147483647 h 42"/>
                    <a:gd name="T16" fmla="*/ 2147483647 w 54"/>
                    <a:gd name="T17" fmla="*/ 0 h 42"/>
                    <a:gd name="T18" fmla="*/ 2147483647 w 54"/>
                    <a:gd name="T19" fmla="*/ 0 h 42"/>
                    <a:gd name="T20" fmla="*/ 2147483647 w 54"/>
                    <a:gd name="T21" fmla="*/ 2147483647 h 42"/>
                    <a:gd name="T22" fmla="*/ 2147483647 w 54"/>
                    <a:gd name="T23" fmla="*/ 2147483647 h 42"/>
                    <a:gd name="T24" fmla="*/ 0 w 54"/>
                    <a:gd name="T25" fmla="*/ 2147483647 h 42"/>
                    <a:gd name="T26" fmla="*/ 0 w 54"/>
                    <a:gd name="T27" fmla="*/ 2147483647 h 42"/>
                    <a:gd name="T28" fmla="*/ 2147483647 w 54"/>
                    <a:gd name="T29" fmla="*/ 2147483647 h 42"/>
                    <a:gd name="T30" fmla="*/ 2147483647 w 54"/>
                    <a:gd name="T31" fmla="*/ 2147483647 h 4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4"/>
                    <a:gd name="T49" fmla="*/ 0 h 42"/>
                    <a:gd name="T50" fmla="*/ 54 w 54"/>
                    <a:gd name="T51" fmla="*/ 42 h 4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4" h="42">
                      <a:moveTo>
                        <a:pt x="18" y="42"/>
                      </a:moveTo>
                      <a:lnTo>
                        <a:pt x="30" y="36"/>
                      </a:lnTo>
                      <a:lnTo>
                        <a:pt x="48" y="42"/>
                      </a:lnTo>
                      <a:lnTo>
                        <a:pt x="54" y="36"/>
                      </a:lnTo>
                      <a:lnTo>
                        <a:pt x="54" y="24"/>
                      </a:lnTo>
                      <a:lnTo>
                        <a:pt x="42" y="18"/>
                      </a:lnTo>
                      <a:lnTo>
                        <a:pt x="36" y="18"/>
                      </a:lnTo>
                      <a:lnTo>
                        <a:pt x="30" y="12"/>
                      </a:lnTo>
                      <a:lnTo>
                        <a:pt x="30" y="0"/>
                      </a:lnTo>
                      <a:lnTo>
                        <a:pt x="24" y="0"/>
                      </a:lnTo>
                      <a:lnTo>
                        <a:pt x="18" y="6"/>
                      </a:lnTo>
                      <a:lnTo>
                        <a:pt x="6" y="12"/>
                      </a:lnTo>
                      <a:lnTo>
                        <a:pt x="0" y="12"/>
                      </a:lnTo>
                      <a:lnTo>
                        <a:pt x="0" y="18"/>
                      </a:lnTo>
                      <a:lnTo>
                        <a:pt x="12" y="30"/>
                      </a:lnTo>
                      <a:lnTo>
                        <a:pt x="18" y="42"/>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599" name="Lithuania"/>
                <p:cNvSpPr>
                  <a:spLocks/>
                </p:cNvSpPr>
                <p:nvPr/>
              </p:nvSpPr>
              <p:spPr bwMode="gray">
                <a:xfrm>
                  <a:off x="3002" y="1156"/>
                  <a:ext cx="87" cy="50"/>
                </a:xfrm>
                <a:custGeom>
                  <a:avLst/>
                  <a:gdLst>
                    <a:gd name="T0" fmla="*/ 2147483647 w 342"/>
                    <a:gd name="T1" fmla="*/ 2147483647 h 198"/>
                    <a:gd name="T2" fmla="*/ 2147483647 w 342"/>
                    <a:gd name="T3" fmla="*/ 2147483647 h 198"/>
                    <a:gd name="T4" fmla="*/ 2147483647 w 342"/>
                    <a:gd name="T5" fmla="*/ 2147483647 h 198"/>
                    <a:gd name="T6" fmla="*/ 2147483647 w 342"/>
                    <a:gd name="T7" fmla="*/ 2147483647 h 198"/>
                    <a:gd name="T8" fmla="*/ 2147483647 w 342"/>
                    <a:gd name="T9" fmla="*/ 2147483647 h 198"/>
                    <a:gd name="T10" fmla="*/ 2147483647 w 342"/>
                    <a:gd name="T11" fmla="*/ 2147483647 h 198"/>
                    <a:gd name="T12" fmla="*/ 2147483647 w 342"/>
                    <a:gd name="T13" fmla="*/ 2147483647 h 198"/>
                    <a:gd name="T14" fmla="*/ 2147483647 w 342"/>
                    <a:gd name="T15" fmla="*/ 2147483647 h 198"/>
                    <a:gd name="T16" fmla="*/ 2147483647 w 342"/>
                    <a:gd name="T17" fmla="*/ 2147483647 h 198"/>
                    <a:gd name="T18" fmla="*/ 2147483647 w 342"/>
                    <a:gd name="T19" fmla="*/ 2147483647 h 198"/>
                    <a:gd name="T20" fmla="*/ 2147483647 w 342"/>
                    <a:gd name="T21" fmla="*/ 2147483647 h 198"/>
                    <a:gd name="T22" fmla="*/ 2147483647 w 342"/>
                    <a:gd name="T23" fmla="*/ 2147483647 h 198"/>
                    <a:gd name="T24" fmla="*/ 2147483647 w 342"/>
                    <a:gd name="T25" fmla="*/ 0 h 198"/>
                    <a:gd name="T26" fmla="*/ 2147483647 w 342"/>
                    <a:gd name="T27" fmla="*/ 2147483647 h 198"/>
                    <a:gd name="T28" fmla="*/ 0 w 342"/>
                    <a:gd name="T29" fmla="*/ 2147483647 h 198"/>
                    <a:gd name="T30" fmla="*/ 2147483647 w 342"/>
                    <a:gd name="T31" fmla="*/ 2147483647 h 198"/>
                    <a:gd name="T32" fmla="*/ 2147483647 w 342"/>
                    <a:gd name="T33" fmla="*/ 2147483647 h 198"/>
                    <a:gd name="T34" fmla="*/ 2147483647 w 342"/>
                    <a:gd name="T35" fmla="*/ 2147483647 h 198"/>
                    <a:gd name="T36" fmla="*/ 2147483647 w 342"/>
                    <a:gd name="T37" fmla="*/ 2147483647 h 198"/>
                    <a:gd name="T38" fmla="*/ 2147483647 w 342"/>
                    <a:gd name="T39" fmla="*/ 2147483647 h 198"/>
                    <a:gd name="T40" fmla="*/ 2147483647 w 342"/>
                    <a:gd name="T41" fmla="*/ 2147483647 h 198"/>
                    <a:gd name="T42" fmla="*/ 2147483647 w 342"/>
                    <a:gd name="T43" fmla="*/ 2147483647 h 198"/>
                    <a:gd name="T44" fmla="*/ 2147483647 w 342"/>
                    <a:gd name="T45" fmla="*/ 2147483647 h 198"/>
                    <a:gd name="T46" fmla="*/ 2147483647 w 342"/>
                    <a:gd name="T47" fmla="*/ 2147483647 h 198"/>
                    <a:gd name="T48" fmla="*/ 2147483647 w 342"/>
                    <a:gd name="T49" fmla="*/ 2147483647 h 198"/>
                    <a:gd name="T50" fmla="*/ 2147483647 w 342"/>
                    <a:gd name="T51" fmla="*/ 2147483647 h 198"/>
                    <a:gd name="T52" fmla="*/ 2147483647 w 342"/>
                    <a:gd name="T53" fmla="*/ 2147483647 h 198"/>
                    <a:gd name="T54" fmla="*/ 2147483647 w 342"/>
                    <a:gd name="T55" fmla="*/ 2147483647 h 198"/>
                    <a:gd name="T56" fmla="*/ 2147483647 w 342"/>
                    <a:gd name="T57" fmla="*/ 2147483647 h 198"/>
                    <a:gd name="T58" fmla="*/ 2147483647 w 342"/>
                    <a:gd name="T59" fmla="*/ 2147483647 h 198"/>
                    <a:gd name="T60" fmla="*/ 2147483647 w 342"/>
                    <a:gd name="T61" fmla="*/ 2147483647 h 198"/>
                    <a:gd name="T62" fmla="*/ 2147483647 w 342"/>
                    <a:gd name="T63" fmla="*/ 2147483647 h 198"/>
                    <a:gd name="T64" fmla="*/ 2147483647 w 342"/>
                    <a:gd name="T65" fmla="*/ 2147483647 h 198"/>
                    <a:gd name="T66" fmla="*/ 2147483647 w 342"/>
                    <a:gd name="T67" fmla="*/ 2147483647 h 198"/>
                    <a:gd name="T68" fmla="*/ 2147483647 w 342"/>
                    <a:gd name="T69" fmla="*/ 2147483647 h 198"/>
                    <a:gd name="T70" fmla="*/ 2147483647 w 342"/>
                    <a:gd name="T71" fmla="*/ 2147483647 h 198"/>
                    <a:gd name="T72" fmla="*/ 2147483647 w 342"/>
                    <a:gd name="T73" fmla="*/ 2147483647 h 198"/>
                    <a:gd name="T74" fmla="*/ 2147483647 w 342"/>
                    <a:gd name="T75" fmla="*/ 2147483647 h 198"/>
                    <a:gd name="T76" fmla="*/ 2147483647 w 342"/>
                    <a:gd name="T77" fmla="*/ 2147483647 h 198"/>
                    <a:gd name="T78" fmla="*/ 2147483647 w 342"/>
                    <a:gd name="T79" fmla="*/ 2147483647 h 198"/>
                    <a:gd name="T80" fmla="*/ 2147483647 w 342"/>
                    <a:gd name="T81" fmla="*/ 2147483647 h 198"/>
                    <a:gd name="T82" fmla="*/ 2147483647 w 342"/>
                    <a:gd name="T83" fmla="*/ 2147483647 h 198"/>
                    <a:gd name="T84" fmla="*/ 2147483647 w 342"/>
                    <a:gd name="T85" fmla="*/ 2147483647 h 19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42"/>
                    <a:gd name="T130" fmla="*/ 0 h 198"/>
                    <a:gd name="T131" fmla="*/ 342 w 342"/>
                    <a:gd name="T132" fmla="*/ 198 h 198"/>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42" h="198">
                      <a:moveTo>
                        <a:pt x="330" y="60"/>
                      </a:moveTo>
                      <a:lnTo>
                        <a:pt x="312" y="54"/>
                      </a:lnTo>
                      <a:lnTo>
                        <a:pt x="294" y="42"/>
                      </a:lnTo>
                      <a:lnTo>
                        <a:pt x="282" y="30"/>
                      </a:lnTo>
                      <a:lnTo>
                        <a:pt x="276" y="30"/>
                      </a:lnTo>
                      <a:lnTo>
                        <a:pt x="264" y="24"/>
                      </a:lnTo>
                      <a:lnTo>
                        <a:pt x="234" y="24"/>
                      </a:lnTo>
                      <a:lnTo>
                        <a:pt x="228" y="12"/>
                      </a:lnTo>
                      <a:lnTo>
                        <a:pt x="222" y="6"/>
                      </a:lnTo>
                      <a:lnTo>
                        <a:pt x="210" y="6"/>
                      </a:lnTo>
                      <a:lnTo>
                        <a:pt x="198" y="18"/>
                      </a:lnTo>
                      <a:lnTo>
                        <a:pt x="180" y="18"/>
                      </a:lnTo>
                      <a:lnTo>
                        <a:pt x="174" y="12"/>
                      </a:lnTo>
                      <a:lnTo>
                        <a:pt x="162" y="12"/>
                      </a:lnTo>
                      <a:lnTo>
                        <a:pt x="156" y="18"/>
                      </a:lnTo>
                      <a:lnTo>
                        <a:pt x="150" y="18"/>
                      </a:lnTo>
                      <a:lnTo>
                        <a:pt x="144" y="12"/>
                      </a:lnTo>
                      <a:lnTo>
                        <a:pt x="138" y="12"/>
                      </a:lnTo>
                      <a:lnTo>
                        <a:pt x="126" y="6"/>
                      </a:lnTo>
                      <a:lnTo>
                        <a:pt x="120" y="6"/>
                      </a:lnTo>
                      <a:lnTo>
                        <a:pt x="114" y="12"/>
                      </a:lnTo>
                      <a:lnTo>
                        <a:pt x="108" y="12"/>
                      </a:lnTo>
                      <a:lnTo>
                        <a:pt x="102" y="6"/>
                      </a:lnTo>
                      <a:lnTo>
                        <a:pt x="96" y="6"/>
                      </a:lnTo>
                      <a:lnTo>
                        <a:pt x="90" y="0"/>
                      </a:lnTo>
                      <a:lnTo>
                        <a:pt x="72" y="0"/>
                      </a:lnTo>
                      <a:lnTo>
                        <a:pt x="60" y="12"/>
                      </a:lnTo>
                      <a:lnTo>
                        <a:pt x="18" y="12"/>
                      </a:lnTo>
                      <a:lnTo>
                        <a:pt x="6" y="18"/>
                      </a:lnTo>
                      <a:lnTo>
                        <a:pt x="0" y="18"/>
                      </a:lnTo>
                      <a:lnTo>
                        <a:pt x="0" y="60"/>
                      </a:lnTo>
                      <a:lnTo>
                        <a:pt x="12" y="84"/>
                      </a:lnTo>
                      <a:lnTo>
                        <a:pt x="18" y="90"/>
                      </a:lnTo>
                      <a:lnTo>
                        <a:pt x="18" y="96"/>
                      </a:lnTo>
                      <a:lnTo>
                        <a:pt x="30" y="96"/>
                      </a:lnTo>
                      <a:lnTo>
                        <a:pt x="30" y="102"/>
                      </a:lnTo>
                      <a:lnTo>
                        <a:pt x="42" y="102"/>
                      </a:lnTo>
                      <a:lnTo>
                        <a:pt x="48" y="108"/>
                      </a:lnTo>
                      <a:lnTo>
                        <a:pt x="72" y="108"/>
                      </a:lnTo>
                      <a:lnTo>
                        <a:pt x="84" y="102"/>
                      </a:lnTo>
                      <a:lnTo>
                        <a:pt x="102" y="102"/>
                      </a:lnTo>
                      <a:lnTo>
                        <a:pt x="108" y="114"/>
                      </a:lnTo>
                      <a:lnTo>
                        <a:pt x="108" y="132"/>
                      </a:lnTo>
                      <a:lnTo>
                        <a:pt x="96" y="144"/>
                      </a:lnTo>
                      <a:lnTo>
                        <a:pt x="102" y="162"/>
                      </a:lnTo>
                      <a:lnTo>
                        <a:pt x="120" y="162"/>
                      </a:lnTo>
                      <a:lnTo>
                        <a:pt x="138" y="168"/>
                      </a:lnTo>
                      <a:lnTo>
                        <a:pt x="144" y="168"/>
                      </a:lnTo>
                      <a:lnTo>
                        <a:pt x="156" y="174"/>
                      </a:lnTo>
                      <a:lnTo>
                        <a:pt x="156" y="198"/>
                      </a:lnTo>
                      <a:lnTo>
                        <a:pt x="162" y="198"/>
                      </a:lnTo>
                      <a:lnTo>
                        <a:pt x="168" y="192"/>
                      </a:lnTo>
                      <a:lnTo>
                        <a:pt x="180" y="192"/>
                      </a:lnTo>
                      <a:lnTo>
                        <a:pt x="192" y="186"/>
                      </a:lnTo>
                      <a:lnTo>
                        <a:pt x="198" y="186"/>
                      </a:lnTo>
                      <a:lnTo>
                        <a:pt x="204" y="192"/>
                      </a:lnTo>
                      <a:lnTo>
                        <a:pt x="204" y="198"/>
                      </a:lnTo>
                      <a:lnTo>
                        <a:pt x="234" y="198"/>
                      </a:lnTo>
                      <a:lnTo>
                        <a:pt x="234" y="180"/>
                      </a:lnTo>
                      <a:lnTo>
                        <a:pt x="246" y="192"/>
                      </a:lnTo>
                      <a:lnTo>
                        <a:pt x="252" y="180"/>
                      </a:lnTo>
                      <a:lnTo>
                        <a:pt x="258" y="174"/>
                      </a:lnTo>
                      <a:lnTo>
                        <a:pt x="270" y="168"/>
                      </a:lnTo>
                      <a:lnTo>
                        <a:pt x="288" y="168"/>
                      </a:lnTo>
                      <a:lnTo>
                        <a:pt x="288" y="174"/>
                      </a:lnTo>
                      <a:lnTo>
                        <a:pt x="282" y="180"/>
                      </a:lnTo>
                      <a:lnTo>
                        <a:pt x="294" y="180"/>
                      </a:lnTo>
                      <a:lnTo>
                        <a:pt x="294" y="174"/>
                      </a:lnTo>
                      <a:lnTo>
                        <a:pt x="288" y="168"/>
                      </a:lnTo>
                      <a:lnTo>
                        <a:pt x="288" y="156"/>
                      </a:lnTo>
                      <a:lnTo>
                        <a:pt x="282" y="150"/>
                      </a:lnTo>
                      <a:lnTo>
                        <a:pt x="282" y="144"/>
                      </a:lnTo>
                      <a:lnTo>
                        <a:pt x="294" y="144"/>
                      </a:lnTo>
                      <a:lnTo>
                        <a:pt x="294" y="138"/>
                      </a:lnTo>
                      <a:lnTo>
                        <a:pt x="288" y="126"/>
                      </a:lnTo>
                      <a:lnTo>
                        <a:pt x="288" y="120"/>
                      </a:lnTo>
                      <a:lnTo>
                        <a:pt x="294" y="114"/>
                      </a:lnTo>
                      <a:lnTo>
                        <a:pt x="312" y="114"/>
                      </a:lnTo>
                      <a:lnTo>
                        <a:pt x="306" y="96"/>
                      </a:lnTo>
                      <a:lnTo>
                        <a:pt x="312" y="96"/>
                      </a:lnTo>
                      <a:lnTo>
                        <a:pt x="318" y="102"/>
                      </a:lnTo>
                      <a:lnTo>
                        <a:pt x="336" y="102"/>
                      </a:lnTo>
                      <a:lnTo>
                        <a:pt x="342" y="96"/>
                      </a:lnTo>
                      <a:lnTo>
                        <a:pt x="324" y="78"/>
                      </a:lnTo>
                      <a:lnTo>
                        <a:pt x="324" y="72"/>
                      </a:lnTo>
                      <a:lnTo>
                        <a:pt x="330" y="66"/>
                      </a:lnTo>
                      <a:lnTo>
                        <a:pt x="330" y="6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600" name="Liechtenstein"/>
                <p:cNvSpPr>
                  <a:spLocks/>
                </p:cNvSpPr>
                <p:nvPr/>
              </p:nvSpPr>
              <p:spPr bwMode="gray">
                <a:xfrm>
                  <a:off x="2824" y="1337"/>
                  <a:ext cx="4" cy="6"/>
                </a:xfrm>
                <a:custGeom>
                  <a:avLst/>
                  <a:gdLst>
                    <a:gd name="T0" fmla="*/ 2147483647 w 18"/>
                    <a:gd name="T1" fmla="*/ 0 h 24"/>
                    <a:gd name="T2" fmla="*/ 2147483647 w 18"/>
                    <a:gd name="T3" fmla="*/ 2147483647 h 24"/>
                    <a:gd name="T4" fmla="*/ 0 w 18"/>
                    <a:gd name="T5" fmla="*/ 2147483647 h 24"/>
                    <a:gd name="T6" fmla="*/ 0 w 18"/>
                    <a:gd name="T7" fmla="*/ 2147483647 h 24"/>
                    <a:gd name="T8" fmla="*/ 2147483647 w 18"/>
                    <a:gd name="T9" fmla="*/ 2147483647 h 24"/>
                    <a:gd name="T10" fmla="*/ 2147483647 w 18"/>
                    <a:gd name="T11" fmla="*/ 0 h 24"/>
                    <a:gd name="T12" fmla="*/ 2147483647 w 18"/>
                    <a:gd name="T13" fmla="*/ 0 h 24"/>
                    <a:gd name="T14" fmla="*/ 0 60000 65536"/>
                    <a:gd name="T15" fmla="*/ 0 60000 65536"/>
                    <a:gd name="T16" fmla="*/ 0 60000 65536"/>
                    <a:gd name="T17" fmla="*/ 0 60000 65536"/>
                    <a:gd name="T18" fmla="*/ 0 60000 65536"/>
                    <a:gd name="T19" fmla="*/ 0 60000 65536"/>
                    <a:gd name="T20" fmla="*/ 0 60000 65536"/>
                    <a:gd name="T21" fmla="*/ 0 w 18"/>
                    <a:gd name="T22" fmla="*/ 0 h 24"/>
                    <a:gd name="T23" fmla="*/ 18 w 18"/>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 h="24">
                      <a:moveTo>
                        <a:pt x="12" y="0"/>
                      </a:moveTo>
                      <a:lnTo>
                        <a:pt x="6" y="6"/>
                      </a:lnTo>
                      <a:lnTo>
                        <a:pt x="0" y="18"/>
                      </a:lnTo>
                      <a:lnTo>
                        <a:pt x="0" y="24"/>
                      </a:lnTo>
                      <a:lnTo>
                        <a:pt x="18" y="24"/>
                      </a:lnTo>
                      <a:lnTo>
                        <a:pt x="18" y="0"/>
                      </a:lnTo>
                      <a:lnTo>
                        <a:pt x="12" y="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601" name="Libya"/>
                <p:cNvSpPr>
                  <a:spLocks/>
                </p:cNvSpPr>
                <p:nvPr/>
              </p:nvSpPr>
              <p:spPr bwMode="gray">
                <a:xfrm>
                  <a:off x="2822" y="1625"/>
                  <a:ext cx="281" cy="284"/>
                </a:xfrm>
                <a:custGeom>
                  <a:avLst/>
                  <a:gdLst>
                    <a:gd name="T0" fmla="*/ 2147483647 w 1098"/>
                    <a:gd name="T1" fmla="*/ 2147483647 h 1110"/>
                    <a:gd name="T2" fmla="*/ 2147483647 w 1098"/>
                    <a:gd name="T3" fmla="*/ 2147483647 h 1110"/>
                    <a:gd name="T4" fmla="*/ 2147483647 w 1098"/>
                    <a:gd name="T5" fmla="*/ 2147483647 h 1110"/>
                    <a:gd name="T6" fmla="*/ 2147483647 w 1098"/>
                    <a:gd name="T7" fmla="*/ 2147483647 h 1110"/>
                    <a:gd name="T8" fmla="*/ 2147483647 w 1098"/>
                    <a:gd name="T9" fmla="*/ 2147483647 h 1110"/>
                    <a:gd name="T10" fmla="*/ 2147483647 w 1098"/>
                    <a:gd name="T11" fmla="*/ 2147483647 h 1110"/>
                    <a:gd name="T12" fmla="*/ 2147483647 w 1098"/>
                    <a:gd name="T13" fmla="*/ 2147483647 h 1110"/>
                    <a:gd name="T14" fmla="*/ 2147483647 w 1098"/>
                    <a:gd name="T15" fmla="*/ 2147483647 h 1110"/>
                    <a:gd name="T16" fmla="*/ 2147483647 w 1098"/>
                    <a:gd name="T17" fmla="*/ 2147483647 h 1110"/>
                    <a:gd name="T18" fmla="*/ 2147483647 w 1098"/>
                    <a:gd name="T19" fmla="*/ 2147483647 h 1110"/>
                    <a:gd name="T20" fmla="*/ 2147483647 w 1098"/>
                    <a:gd name="T21" fmla="*/ 2147483647 h 1110"/>
                    <a:gd name="T22" fmla="*/ 2147483647 w 1098"/>
                    <a:gd name="T23" fmla="*/ 2147483647 h 1110"/>
                    <a:gd name="T24" fmla="*/ 0 w 1098"/>
                    <a:gd name="T25" fmla="*/ 2147483647 h 1110"/>
                    <a:gd name="T26" fmla="*/ 2147483647 w 1098"/>
                    <a:gd name="T27" fmla="*/ 2147483647 h 1110"/>
                    <a:gd name="T28" fmla="*/ 2147483647 w 1098"/>
                    <a:gd name="T29" fmla="*/ 2147483647 h 1110"/>
                    <a:gd name="T30" fmla="*/ 2147483647 w 1098"/>
                    <a:gd name="T31" fmla="*/ 2147483647 h 1110"/>
                    <a:gd name="T32" fmla="*/ 2147483647 w 1098"/>
                    <a:gd name="T33" fmla="*/ 2147483647 h 1110"/>
                    <a:gd name="T34" fmla="*/ 2147483647 w 1098"/>
                    <a:gd name="T35" fmla="*/ 2147483647 h 1110"/>
                    <a:gd name="T36" fmla="*/ 2147483647 w 1098"/>
                    <a:gd name="T37" fmla="*/ 2147483647 h 1110"/>
                    <a:gd name="T38" fmla="*/ 2147483647 w 1098"/>
                    <a:gd name="T39" fmla="*/ 2147483647 h 1110"/>
                    <a:gd name="T40" fmla="*/ 2147483647 w 1098"/>
                    <a:gd name="T41" fmla="*/ 2147483647 h 1110"/>
                    <a:gd name="T42" fmla="*/ 2147483647 w 1098"/>
                    <a:gd name="T43" fmla="*/ 2147483647 h 1110"/>
                    <a:gd name="T44" fmla="*/ 2147483647 w 1098"/>
                    <a:gd name="T45" fmla="*/ 2147483647 h 1110"/>
                    <a:gd name="T46" fmla="*/ 2147483647 w 1098"/>
                    <a:gd name="T47" fmla="*/ 2147483647 h 1110"/>
                    <a:gd name="T48" fmla="*/ 2147483647 w 1098"/>
                    <a:gd name="T49" fmla="*/ 2147483647 h 1110"/>
                    <a:gd name="T50" fmla="*/ 2147483647 w 1098"/>
                    <a:gd name="T51" fmla="*/ 2147483647 h 1110"/>
                    <a:gd name="T52" fmla="*/ 2147483647 w 1098"/>
                    <a:gd name="T53" fmla="*/ 2147483647 h 1110"/>
                    <a:gd name="T54" fmla="*/ 2147483647 w 1098"/>
                    <a:gd name="T55" fmla="*/ 2147483647 h 1110"/>
                    <a:gd name="T56" fmla="*/ 2147483647 w 1098"/>
                    <a:gd name="T57" fmla="*/ 2147483647 h 1110"/>
                    <a:gd name="T58" fmla="*/ 2147483647 w 1098"/>
                    <a:gd name="T59" fmla="*/ 2147483647 h 1110"/>
                    <a:gd name="T60" fmla="*/ 2147483647 w 1098"/>
                    <a:gd name="T61" fmla="*/ 2147483647 h 1110"/>
                    <a:gd name="T62" fmla="*/ 2147483647 w 1098"/>
                    <a:gd name="T63" fmla="*/ 2147483647 h 1110"/>
                    <a:gd name="T64" fmla="*/ 2147483647 w 1098"/>
                    <a:gd name="T65" fmla="*/ 2147483647 h 1110"/>
                    <a:gd name="T66" fmla="*/ 2147483647 w 1098"/>
                    <a:gd name="T67" fmla="*/ 2147483647 h 1110"/>
                    <a:gd name="T68" fmla="*/ 2147483647 w 1098"/>
                    <a:gd name="T69" fmla="*/ 2147483647 h 1110"/>
                    <a:gd name="T70" fmla="*/ 2147483647 w 1098"/>
                    <a:gd name="T71" fmla="*/ 2147483647 h 1110"/>
                    <a:gd name="T72" fmla="*/ 2147483647 w 1098"/>
                    <a:gd name="T73" fmla="*/ 2147483647 h 1110"/>
                    <a:gd name="T74" fmla="*/ 2147483647 w 1098"/>
                    <a:gd name="T75" fmla="*/ 2147483647 h 1110"/>
                    <a:gd name="T76" fmla="*/ 2147483647 w 1098"/>
                    <a:gd name="T77" fmla="*/ 2147483647 h 1110"/>
                    <a:gd name="T78" fmla="*/ 2147483647 w 1098"/>
                    <a:gd name="T79" fmla="*/ 2147483647 h 1110"/>
                    <a:gd name="T80" fmla="*/ 2147483647 w 1098"/>
                    <a:gd name="T81" fmla="*/ 2147483647 h 1110"/>
                    <a:gd name="T82" fmla="*/ 2147483647 w 1098"/>
                    <a:gd name="T83" fmla="*/ 2147483647 h 1110"/>
                    <a:gd name="T84" fmla="*/ 2147483647 w 1098"/>
                    <a:gd name="T85" fmla="*/ 2147483647 h 1110"/>
                    <a:gd name="T86" fmla="*/ 2147483647 w 1098"/>
                    <a:gd name="T87" fmla="*/ 2147483647 h 1110"/>
                    <a:gd name="T88" fmla="*/ 2147483647 w 1098"/>
                    <a:gd name="T89" fmla="*/ 2147483647 h 1110"/>
                    <a:gd name="T90" fmla="*/ 2147483647 w 1098"/>
                    <a:gd name="T91" fmla="*/ 2147483647 h 1110"/>
                    <a:gd name="T92" fmla="*/ 2147483647 w 1098"/>
                    <a:gd name="T93" fmla="*/ 2147483647 h 1110"/>
                    <a:gd name="T94" fmla="*/ 2147483647 w 1098"/>
                    <a:gd name="T95" fmla="*/ 2147483647 h 1110"/>
                    <a:gd name="T96" fmla="*/ 2147483647 w 1098"/>
                    <a:gd name="T97" fmla="*/ 2147483647 h 1110"/>
                    <a:gd name="T98" fmla="*/ 2147483647 w 1098"/>
                    <a:gd name="T99" fmla="*/ 2147483647 h 1110"/>
                    <a:gd name="T100" fmla="*/ 2147483647 w 1098"/>
                    <a:gd name="T101" fmla="*/ 2147483647 h 1110"/>
                    <a:gd name="T102" fmla="*/ 2147483647 w 1098"/>
                    <a:gd name="T103" fmla="*/ 2147483647 h 1110"/>
                    <a:gd name="T104" fmla="*/ 2147483647 w 1098"/>
                    <a:gd name="T105" fmla="*/ 2147483647 h 1110"/>
                    <a:gd name="T106" fmla="*/ 2147483647 w 1098"/>
                    <a:gd name="T107" fmla="*/ 2147483647 h 1110"/>
                    <a:gd name="T108" fmla="*/ 2147483647 w 1098"/>
                    <a:gd name="T109" fmla="*/ 2147483647 h 1110"/>
                    <a:gd name="T110" fmla="*/ 2147483647 w 1098"/>
                    <a:gd name="T111" fmla="*/ 2147483647 h 1110"/>
                    <a:gd name="T112" fmla="*/ 2147483647 w 1098"/>
                    <a:gd name="T113" fmla="*/ 2147483647 h 111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098"/>
                    <a:gd name="T172" fmla="*/ 0 h 1110"/>
                    <a:gd name="T173" fmla="*/ 1098 w 1098"/>
                    <a:gd name="T174" fmla="*/ 1110 h 111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098" h="1110">
                      <a:moveTo>
                        <a:pt x="156" y="60"/>
                      </a:moveTo>
                      <a:lnTo>
                        <a:pt x="150" y="66"/>
                      </a:lnTo>
                      <a:lnTo>
                        <a:pt x="126" y="78"/>
                      </a:lnTo>
                      <a:lnTo>
                        <a:pt x="114" y="78"/>
                      </a:lnTo>
                      <a:lnTo>
                        <a:pt x="102" y="84"/>
                      </a:lnTo>
                      <a:lnTo>
                        <a:pt x="96" y="90"/>
                      </a:lnTo>
                      <a:lnTo>
                        <a:pt x="90" y="102"/>
                      </a:lnTo>
                      <a:lnTo>
                        <a:pt x="84" y="108"/>
                      </a:lnTo>
                      <a:lnTo>
                        <a:pt x="78" y="120"/>
                      </a:lnTo>
                      <a:lnTo>
                        <a:pt x="72" y="120"/>
                      </a:lnTo>
                      <a:lnTo>
                        <a:pt x="54" y="138"/>
                      </a:lnTo>
                      <a:lnTo>
                        <a:pt x="54" y="156"/>
                      </a:lnTo>
                      <a:lnTo>
                        <a:pt x="66" y="180"/>
                      </a:lnTo>
                      <a:lnTo>
                        <a:pt x="66" y="204"/>
                      </a:lnTo>
                      <a:lnTo>
                        <a:pt x="36" y="234"/>
                      </a:lnTo>
                      <a:lnTo>
                        <a:pt x="30" y="234"/>
                      </a:lnTo>
                      <a:lnTo>
                        <a:pt x="24" y="240"/>
                      </a:lnTo>
                      <a:lnTo>
                        <a:pt x="12" y="246"/>
                      </a:lnTo>
                      <a:lnTo>
                        <a:pt x="6" y="246"/>
                      </a:lnTo>
                      <a:lnTo>
                        <a:pt x="0" y="252"/>
                      </a:lnTo>
                      <a:lnTo>
                        <a:pt x="12" y="270"/>
                      </a:lnTo>
                      <a:lnTo>
                        <a:pt x="36" y="330"/>
                      </a:lnTo>
                      <a:lnTo>
                        <a:pt x="48" y="354"/>
                      </a:lnTo>
                      <a:lnTo>
                        <a:pt x="48" y="360"/>
                      </a:lnTo>
                      <a:lnTo>
                        <a:pt x="42" y="372"/>
                      </a:lnTo>
                      <a:lnTo>
                        <a:pt x="42" y="402"/>
                      </a:lnTo>
                      <a:lnTo>
                        <a:pt x="36" y="408"/>
                      </a:lnTo>
                      <a:lnTo>
                        <a:pt x="36" y="414"/>
                      </a:lnTo>
                      <a:lnTo>
                        <a:pt x="42" y="432"/>
                      </a:lnTo>
                      <a:lnTo>
                        <a:pt x="30" y="456"/>
                      </a:lnTo>
                      <a:lnTo>
                        <a:pt x="36" y="510"/>
                      </a:lnTo>
                      <a:lnTo>
                        <a:pt x="36" y="516"/>
                      </a:lnTo>
                      <a:lnTo>
                        <a:pt x="42" y="522"/>
                      </a:lnTo>
                      <a:lnTo>
                        <a:pt x="42" y="534"/>
                      </a:lnTo>
                      <a:lnTo>
                        <a:pt x="36" y="546"/>
                      </a:lnTo>
                      <a:lnTo>
                        <a:pt x="30" y="552"/>
                      </a:lnTo>
                      <a:lnTo>
                        <a:pt x="18" y="558"/>
                      </a:lnTo>
                      <a:lnTo>
                        <a:pt x="6" y="558"/>
                      </a:lnTo>
                      <a:lnTo>
                        <a:pt x="0" y="564"/>
                      </a:lnTo>
                      <a:lnTo>
                        <a:pt x="0" y="570"/>
                      </a:lnTo>
                      <a:lnTo>
                        <a:pt x="6" y="582"/>
                      </a:lnTo>
                      <a:lnTo>
                        <a:pt x="18" y="594"/>
                      </a:lnTo>
                      <a:lnTo>
                        <a:pt x="24" y="612"/>
                      </a:lnTo>
                      <a:lnTo>
                        <a:pt x="36" y="624"/>
                      </a:lnTo>
                      <a:lnTo>
                        <a:pt x="42" y="636"/>
                      </a:lnTo>
                      <a:lnTo>
                        <a:pt x="48" y="642"/>
                      </a:lnTo>
                      <a:lnTo>
                        <a:pt x="48" y="684"/>
                      </a:lnTo>
                      <a:lnTo>
                        <a:pt x="72" y="708"/>
                      </a:lnTo>
                      <a:lnTo>
                        <a:pt x="96" y="696"/>
                      </a:lnTo>
                      <a:lnTo>
                        <a:pt x="102" y="696"/>
                      </a:lnTo>
                      <a:lnTo>
                        <a:pt x="138" y="714"/>
                      </a:lnTo>
                      <a:lnTo>
                        <a:pt x="150" y="714"/>
                      </a:lnTo>
                      <a:lnTo>
                        <a:pt x="162" y="726"/>
                      </a:lnTo>
                      <a:lnTo>
                        <a:pt x="162" y="732"/>
                      </a:lnTo>
                      <a:lnTo>
                        <a:pt x="168" y="744"/>
                      </a:lnTo>
                      <a:lnTo>
                        <a:pt x="174" y="762"/>
                      </a:lnTo>
                      <a:lnTo>
                        <a:pt x="180" y="774"/>
                      </a:lnTo>
                      <a:lnTo>
                        <a:pt x="186" y="780"/>
                      </a:lnTo>
                      <a:lnTo>
                        <a:pt x="186" y="786"/>
                      </a:lnTo>
                      <a:lnTo>
                        <a:pt x="222" y="792"/>
                      </a:lnTo>
                      <a:lnTo>
                        <a:pt x="234" y="792"/>
                      </a:lnTo>
                      <a:lnTo>
                        <a:pt x="246" y="798"/>
                      </a:lnTo>
                      <a:lnTo>
                        <a:pt x="258" y="798"/>
                      </a:lnTo>
                      <a:lnTo>
                        <a:pt x="276" y="804"/>
                      </a:lnTo>
                      <a:lnTo>
                        <a:pt x="288" y="810"/>
                      </a:lnTo>
                      <a:lnTo>
                        <a:pt x="294" y="810"/>
                      </a:lnTo>
                      <a:lnTo>
                        <a:pt x="300" y="816"/>
                      </a:lnTo>
                      <a:lnTo>
                        <a:pt x="312" y="822"/>
                      </a:lnTo>
                      <a:lnTo>
                        <a:pt x="318" y="828"/>
                      </a:lnTo>
                      <a:lnTo>
                        <a:pt x="324" y="840"/>
                      </a:lnTo>
                      <a:lnTo>
                        <a:pt x="336" y="846"/>
                      </a:lnTo>
                      <a:lnTo>
                        <a:pt x="342" y="852"/>
                      </a:lnTo>
                      <a:lnTo>
                        <a:pt x="360" y="846"/>
                      </a:lnTo>
                      <a:lnTo>
                        <a:pt x="396" y="828"/>
                      </a:lnTo>
                      <a:lnTo>
                        <a:pt x="456" y="792"/>
                      </a:lnTo>
                      <a:lnTo>
                        <a:pt x="468" y="786"/>
                      </a:lnTo>
                      <a:lnTo>
                        <a:pt x="1026" y="1110"/>
                      </a:lnTo>
                      <a:lnTo>
                        <a:pt x="1026" y="1062"/>
                      </a:lnTo>
                      <a:lnTo>
                        <a:pt x="1098" y="1062"/>
                      </a:lnTo>
                      <a:lnTo>
                        <a:pt x="1098" y="828"/>
                      </a:lnTo>
                      <a:lnTo>
                        <a:pt x="1092" y="750"/>
                      </a:lnTo>
                      <a:lnTo>
                        <a:pt x="1092" y="660"/>
                      </a:lnTo>
                      <a:lnTo>
                        <a:pt x="1086" y="564"/>
                      </a:lnTo>
                      <a:lnTo>
                        <a:pt x="1086" y="468"/>
                      </a:lnTo>
                      <a:lnTo>
                        <a:pt x="1080" y="390"/>
                      </a:lnTo>
                      <a:lnTo>
                        <a:pt x="1080" y="306"/>
                      </a:lnTo>
                      <a:lnTo>
                        <a:pt x="1068" y="270"/>
                      </a:lnTo>
                      <a:lnTo>
                        <a:pt x="1056" y="258"/>
                      </a:lnTo>
                      <a:lnTo>
                        <a:pt x="1050" y="246"/>
                      </a:lnTo>
                      <a:lnTo>
                        <a:pt x="1050" y="240"/>
                      </a:lnTo>
                      <a:lnTo>
                        <a:pt x="1056" y="228"/>
                      </a:lnTo>
                      <a:lnTo>
                        <a:pt x="1062" y="222"/>
                      </a:lnTo>
                      <a:lnTo>
                        <a:pt x="1068" y="210"/>
                      </a:lnTo>
                      <a:lnTo>
                        <a:pt x="1074" y="204"/>
                      </a:lnTo>
                      <a:lnTo>
                        <a:pt x="1074" y="198"/>
                      </a:lnTo>
                      <a:lnTo>
                        <a:pt x="1068" y="186"/>
                      </a:lnTo>
                      <a:lnTo>
                        <a:pt x="1056" y="180"/>
                      </a:lnTo>
                      <a:lnTo>
                        <a:pt x="1056" y="150"/>
                      </a:lnTo>
                      <a:lnTo>
                        <a:pt x="1080" y="126"/>
                      </a:lnTo>
                      <a:lnTo>
                        <a:pt x="1074" y="114"/>
                      </a:lnTo>
                      <a:lnTo>
                        <a:pt x="1074" y="96"/>
                      </a:lnTo>
                      <a:lnTo>
                        <a:pt x="1056" y="102"/>
                      </a:lnTo>
                      <a:lnTo>
                        <a:pt x="1044" y="90"/>
                      </a:lnTo>
                      <a:lnTo>
                        <a:pt x="1032" y="102"/>
                      </a:lnTo>
                      <a:lnTo>
                        <a:pt x="1026" y="102"/>
                      </a:lnTo>
                      <a:lnTo>
                        <a:pt x="1020" y="96"/>
                      </a:lnTo>
                      <a:lnTo>
                        <a:pt x="1008" y="90"/>
                      </a:lnTo>
                      <a:lnTo>
                        <a:pt x="1002" y="84"/>
                      </a:lnTo>
                      <a:lnTo>
                        <a:pt x="990" y="78"/>
                      </a:lnTo>
                      <a:lnTo>
                        <a:pt x="978" y="78"/>
                      </a:lnTo>
                      <a:lnTo>
                        <a:pt x="966" y="84"/>
                      </a:lnTo>
                      <a:lnTo>
                        <a:pt x="954" y="84"/>
                      </a:lnTo>
                      <a:lnTo>
                        <a:pt x="942" y="78"/>
                      </a:lnTo>
                      <a:lnTo>
                        <a:pt x="936" y="72"/>
                      </a:lnTo>
                      <a:lnTo>
                        <a:pt x="936" y="48"/>
                      </a:lnTo>
                      <a:lnTo>
                        <a:pt x="930" y="42"/>
                      </a:lnTo>
                      <a:lnTo>
                        <a:pt x="918" y="36"/>
                      </a:lnTo>
                      <a:lnTo>
                        <a:pt x="882" y="36"/>
                      </a:lnTo>
                      <a:lnTo>
                        <a:pt x="876" y="30"/>
                      </a:lnTo>
                      <a:lnTo>
                        <a:pt x="864" y="30"/>
                      </a:lnTo>
                      <a:lnTo>
                        <a:pt x="852" y="24"/>
                      </a:lnTo>
                      <a:lnTo>
                        <a:pt x="840" y="24"/>
                      </a:lnTo>
                      <a:lnTo>
                        <a:pt x="834" y="30"/>
                      </a:lnTo>
                      <a:lnTo>
                        <a:pt x="834" y="36"/>
                      </a:lnTo>
                      <a:lnTo>
                        <a:pt x="798" y="36"/>
                      </a:lnTo>
                      <a:lnTo>
                        <a:pt x="780" y="42"/>
                      </a:lnTo>
                      <a:lnTo>
                        <a:pt x="768" y="48"/>
                      </a:lnTo>
                      <a:lnTo>
                        <a:pt x="732" y="84"/>
                      </a:lnTo>
                      <a:lnTo>
                        <a:pt x="720" y="108"/>
                      </a:lnTo>
                      <a:lnTo>
                        <a:pt x="720" y="120"/>
                      </a:lnTo>
                      <a:lnTo>
                        <a:pt x="726" y="138"/>
                      </a:lnTo>
                      <a:lnTo>
                        <a:pt x="738" y="150"/>
                      </a:lnTo>
                      <a:lnTo>
                        <a:pt x="744" y="162"/>
                      </a:lnTo>
                      <a:lnTo>
                        <a:pt x="744" y="180"/>
                      </a:lnTo>
                      <a:lnTo>
                        <a:pt x="738" y="192"/>
                      </a:lnTo>
                      <a:lnTo>
                        <a:pt x="714" y="216"/>
                      </a:lnTo>
                      <a:lnTo>
                        <a:pt x="708" y="228"/>
                      </a:lnTo>
                      <a:lnTo>
                        <a:pt x="696" y="234"/>
                      </a:lnTo>
                      <a:lnTo>
                        <a:pt x="666" y="234"/>
                      </a:lnTo>
                      <a:lnTo>
                        <a:pt x="648" y="228"/>
                      </a:lnTo>
                      <a:lnTo>
                        <a:pt x="630" y="216"/>
                      </a:lnTo>
                      <a:lnTo>
                        <a:pt x="612" y="198"/>
                      </a:lnTo>
                      <a:lnTo>
                        <a:pt x="582" y="180"/>
                      </a:lnTo>
                      <a:lnTo>
                        <a:pt x="552" y="168"/>
                      </a:lnTo>
                      <a:lnTo>
                        <a:pt x="528" y="162"/>
                      </a:lnTo>
                      <a:lnTo>
                        <a:pt x="462" y="162"/>
                      </a:lnTo>
                      <a:lnTo>
                        <a:pt x="438" y="150"/>
                      </a:lnTo>
                      <a:lnTo>
                        <a:pt x="426" y="138"/>
                      </a:lnTo>
                      <a:lnTo>
                        <a:pt x="420" y="126"/>
                      </a:lnTo>
                      <a:lnTo>
                        <a:pt x="414" y="108"/>
                      </a:lnTo>
                      <a:lnTo>
                        <a:pt x="414" y="96"/>
                      </a:lnTo>
                      <a:lnTo>
                        <a:pt x="402" y="72"/>
                      </a:lnTo>
                      <a:lnTo>
                        <a:pt x="378" y="60"/>
                      </a:lnTo>
                      <a:lnTo>
                        <a:pt x="366" y="60"/>
                      </a:lnTo>
                      <a:lnTo>
                        <a:pt x="354" y="54"/>
                      </a:lnTo>
                      <a:lnTo>
                        <a:pt x="348" y="48"/>
                      </a:lnTo>
                      <a:lnTo>
                        <a:pt x="324" y="36"/>
                      </a:lnTo>
                      <a:lnTo>
                        <a:pt x="318" y="36"/>
                      </a:lnTo>
                      <a:lnTo>
                        <a:pt x="306" y="30"/>
                      </a:lnTo>
                      <a:lnTo>
                        <a:pt x="264" y="30"/>
                      </a:lnTo>
                      <a:lnTo>
                        <a:pt x="252" y="36"/>
                      </a:lnTo>
                      <a:lnTo>
                        <a:pt x="216" y="36"/>
                      </a:lnTo>
                      <a:lnTo>
                        <a:pt x="192" y="24"/>
                      </a:lnTo>
                      <a:lnTo>
                        <a:pt x="180" y="12"/>
                      </a:lnTo>
                      <a:lnTo>
                        <a:pt x="168" y="6"/>
                      </a:lnTo>
                      <a:lnTo>
                        <a:pt x="150" y="6"/>
                      </a:lnTo>
                      <a:lnTo>
                        <a:pt x="144" y="0"/>
                      </a:lnTo>
                      <a:lnTo>
                        <a:pt x="138" y="42"/>
                      </a:lnTo>
                      <a:lnTo>
                        <a:pt x="144" y="42"/>
                      </a:lnTo>
                      <a:lnTo>
                        <a:pt x="156" y="54"/>
                      </a:lnTo>
                      <a:lnTo>
                        <a:pt x="156" y="6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602" name="Liberia"/>
                <p:cNvSpPr>
                  <a:spLocks/>
                </p:cNvSpPr>
                <p:nvPr/>
              </p:nvSpPr>
              <p:spPr bwMode="gray">
                <a:xfrm>
                  <a:off x="2439" y="2133"/>
                  <a:ext cx="79" cy="88"/>
                </a:xfrm>
                <a:custGeom>
                  <a:avLst/>
                  <a:gdLst>
                    <a:gd name="T0" fmla="*/ 2147483647 w 312"/>
                    <a:gd name="T1" fmla="*/ 2147483647 h 342"/>
                    <a:gd name="T2" fmla="*/ 2147483647 w 312"/>
                    <a:gd name="T3" fmla="*/ 2147483647 h 342"/>
                    <a:gd name="T4" fmla="*/ 2147483647 w 312"/>
                    <a:gd name="T5" fmla="*/ 2147483647 h 342"/>
                    <a:gd name="T6" fmla="*/ 2147483647 w 312"/>
                    <a:gd name="T7" fmla="*/ 2147483647 h 342"/>
                    <a:gd name="T8" fmla="*/ 2147483647 w 312"/>
                    <a:gd name="T9" fmla="*/ 2147483647 h 342"/>
                    <a:gd name="T10" fmla="*/ 2147483647 w 312"/>
                    <a:gd name="T11" fmla="*/ 2147483647 h 342"/>
                    <a:gd name="T12" fmla="*/ 2147483647 w 312"/>
                    <a:gd name="T13" fmla="*/ 2147483647 h 342"/>
                    <a:gd name="T14" fmla="*/ 2147483647 w 312"/>
                    <a:gd name="T15" fmla="*/ 2147483647 h 342"/>
                    <a:gd name="T16" fmla="*/ 2147483647 w 312"/>
                    <a:gd name="T17" fmla="*/ 2147483647 h 342"/>
                    <a:gd name="T18" fmla="*/ 2147483647 w 312"/>
                    <a:gd name="T19" fmla="*/ 2147483647 h 342"/>
                    <a:gd name="T20" fmla="*/ 2147483647 w 312"/>
                    <a:gd name="T21" fmla="*/ 2147483647 h 342"/>
                    <a:gd name="T22" fmla="*/ 2147483647 w 312"/>
                    <a:gd name="T23" fmla="*/ 2147483647 h 342"/>
                    <a:gd name="T24" fmla="*/ 2147483647 w 312"/>
                    <a:gd name="T25" fmla="*/ 2147483647 h 342"/>
                    <a:gd name="T26" fmla="*/ 2147483647 w 312"/>
                    <a:gd name="T27" fmla="*/ 2147483647 h 342"/>
                    <a:gd name="T28" fmla="*/ 2147483647 w 312"/>
                    <a:gd name="T29" fmla="*/ 2147483647 h 342"/>
                    <a:gd name="T30" fmla="*/ 2147483647 w 312"/>
                    <a:gd name="T31" fmla="*/ 2147483647 h 342"/>
                    <a:gd name="T32" fmla="*/ 2147483647 w 312"/>
                    <a:gd name="T33" fmla="*/ 2147483647 h 342"/>
                    <a:gd name="T34" fmla="*/ 2147483647 w 312"/>
                    <a:gd name="T35" fmla="*/ 2147483647 h 342"/>
                    <a:gd name="T36" fmla="*/ 2147483647 w 312"/>
                    <a:gd name="T37" fmla="*/ 2147483647 h 342"/>
                    <a:gd name="T38" fmla="*/ 2147483647 w 312"/>
                    <a:gd name="T39" fmla="*/ 2147483647 h 342"/>
                    <a:gd name="T40" fmla="*/ 2147483647 w 312"/>
                    <a:gd name="T41" fmla="*/ 2147483647 h 342"/>
                    <a:gd name="T42" fmla="*/ 2147483647 w 312"/>
                    <a:gd name="T43" fmla="*/ 2147483647 h 342"/>
                    <a:gd name="T44" fmla="*/ 2147483647 w 312"/>
                    <a:gd name="T45" fmla="*/ 2147483647 h 342"/>
                    <a:gd name="T46" fmla="*/ 2147483647 w 312"/>
                    <a:gd name="T47" fmla="*/ 2147483647 h 342"/>
                    <a:gd name="T48" fmla="*/ 2147483647 w 312"/>
                    <a:gd name="T49" fmla="*/ 2147483647 h 342"/>
                    <a:gd name="T50" fmla="*/ 2147483647 w 312"/>
                    <a:gd name="T51" fmla="*/ 0 h 342"/>
                    <a:gd name="T52" fmla="*/ 2147483647 w 312"/>
                    <a:gd name="T53" fmla="*/ 0 h 342"/>
                    <a:gd name="T54" fmla="*/ 2147483647 w 312"/>
                    <a:gd name="T55" fmla="*/ 2147483647 h 342"/>
                    <a:gd name="T56" fmla="*/ 2147483647 w 312"/>
                    <a:gd name="T57" fmla="*/ 2147483647 h 342"/>
                    <a:gd name="T58" fmla="*/ 2147483647 w 312"/>
                    <a:gd name="T59" fmla="*/ 2147483647 h 342"/>
                    <a:gd name="T60" fmla="*/ 2147483647 w 312"/>
                    <a:gd name="T61" fmla="*/ 2147483647 h 342"/>
                    <a:gd name="T62" fmla="*/ 2147483647 w 312"/>
                    <a:gd name="T63" fmla="*/ 2147483647 h 342"/>
                    <a:gd name="T64" fmla="*/ 2147483647 w 312"/>
                    <a:gd name="T65" fmla="*/ 2147483647 h 342"/>
                    <a:gd name="T66" fmla="*/ 2147483647 w 312"/>
                    <a:gd name="T67" fmla="*/ 2147483647 h 342"/>
                    <a:gd name="T68" fmla="*/ 2147483647 w 312"/>
                    <a:gd name="T69" fmla="*/ 2147483647 h 342"/>
                    <a:gd name="T70" fmla="*/ 2147483647 w 312"/>
                    <a:gd name="T71" fmla="*/ 2147483647 h 342"/>
                    <a:gd name="T72" fmla="*/ 2147483647 w 312"/>
                    <a:gd name="T73" fmla="*/ 2147483647 h 342"/>
                    <a:gd name="T74" fmla="*/ 2147483647 w 312"/>
                    <a:gd name="T75" fmla="*/ 2147483647 h 342"/>
                    <a:gd name="T76" fmla="*/ 2147483647 w 312"/>
                    <a:gd name="T77" fmla="*/ 2147483647 h 342"/>
                    <a:gd name="T78" fmla="*/ 0 w 312"/>
                    <a:gd name="T79" fmla="*/ 2147483647 h 342"/>
                    <a:gd name="T80" fmla="*/ 2147483647 w 312"/>
                    <a:gd name="T81" fmla="*/ 2147483647 h 342"/>
                    <a:gd name="T82" fmla="*/ 2147483647 w 312"/>
                    <a:gd name="T83" fmla="*/ 2147483647 h 342"/>
                    <a:gd name="T84" fmla="*/ 2147483647 w 312"/>
                    <a:gd name="T85" fmla="*/ 2147483647 h 342"/>
                    <a:gd name="T86" fmla="*/ 2147483647 w 312"/>
                    <a:gd name="T87" fmla="*/ 2147483647 h 342"/>
                    <a:gd name="T88" fmla="*/ 2147483647 w 312"/>
                    <a:gd name="T89" fmla="*/ 2147483647 h 342"/>
                    <a:gd name="T90" fmla="*/ 2147483647 w 312"/>
                    <a:gd name="T91" fmla="*/ 2147483647 h 342"/>
                    <a:gd name="T92" fmla="*/ 2147483647 w 312"/>
                    <a:gd name="T93" fmla="*/ 2147483647 h 342"/>
                    <a:gd name="T94" fmla="*/ 2147483647 w 312"/>
                    <a:gd name="T95" fmla="*/ 2147483647 h 342"/>
                    <a:gd name="T96" fmla="*/ 2147483647 w 312"/>
                    <a:gd name="T97" fmla="*/ 2147483647 h 342"/>
                    <a:gd name="T98" fmla="*/ 2147483647 w 312"/>
                    <a:gd name="T99" fmla="*/ 2147483647 h 342"/>
                    <a:gd name="T100" fmla="*/ 2147483647 w 312"/>
                    <a:gd name="T101" fmla="*/ 2147483647 h 342"/>
                    <a:gd name="T102" fmla="*/ 2147483647 w 312"/>
                    <a:gd name="T103" fmla="*/ 2147483647 h 342"/>
                    <a:gd name="T104" fmla="*/ 2147483647 w 312"/>
                    <a:gd name="T105" fmla="*/ 2147483647 h 342"/>
                    <a:gd name="T106" fmla="*/ 2147483647 w 312"/>
                    <a:gd name="T107" fmla="*/ 2147483647 h 342"/>
                    <a:gd name="T108" fmla="*/ 2147483647 w 312"/>
                    <a:gd name="T109" fmla="*/ 2147483647 h 342"/>
                    <a:gd name="T110" fmla="*/ 2147483647 w 312"/>
                    <a:gd name="T111" fmla="*/ 2147483647 h 342"/>
                    <a:gd name="T112" fmla="*/ 2147483647 w 312"/>
                    <a:gd name="T113" fmla="*/ 2147483647 h 342"/>
                    <a:gd name="T114" fmla="*/ 2147483647 w 312"/>
                    <a:gd name="T115" fmla="*/ 2147483647 h 342"/>
                    <a:gd name="T116" fmla="*/ 2147483647 w 312"/>
                    <a:gd name="T117" fmla="*/ 2147483647 h 342"/>
                    <a:gd name="T118" fmla="*/ 2147483647 w 312"/>
                    <a:gd name="T119" fmla="*/ 2147483647 h 342"/>
                    <a:gd name="T120" fmla="*/ 2147483647 w 312"/>
                    <a:gd name="T121" fmla="*/ 2147483647 h 34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12"/>
                    <a:gd name="T184" fmla="*/ 0 h 342"/>
                    <a:gd name="T185" fmla="*/ 312 w 312"/>
                    <a:gd name="T186" fmla="*/ 342 h 342"/>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12" h="342">
                      <a:moveTo>
                        <a:pt x="312" y="252"/>
                      </a:moveTo>
                      <a:lnTo>
                        <a:pt x="312" y="240"/>
                      </a:lnTo>
                      <a:lnTo>
                        <a:pt x="282" y="210"/>
                      </a:lnTo>
                      <a:lnTo>
                        <a:pt x="282" y="180"/>
                      </a:lnTo>
                      <a:lnTo>
                        <a:pt x="246" y="186"/>
                      </a:lnTo>
                      <a:lnTo>
                        <a:pt x="246" y="174"/>
                      </a:lnTo>
                      <a:lnTo>
                        <a:pt x="228" y="174"/>
                      </a:lnTo>
                      <a:lnTo>
                        <a:pt x="222" y="168"/>
                      </a:lnTo>
                      <a:lnTo>
                        <a:pt x="228" y="156"/>
                      </a:lnTo>
                      <a:lnTo>
                        <a:pt x="240" y="150"/>
                      </a:lnTo>
                      <a:lnTo>
                        <a:pt x="246" y="132"/>
                      </a:lnTo>
                      <a:lnTo>
                        <a:pt x="246" y="108"/>
                      </a:lnTo>
                      <a:lnTo>
                        <a:pt x="228" y="72"/>
                      </a:lnTo>
                      <a:lnTo>
                        <a:pt x="222" y="72"/>
                      </a:lnTo>
                      <a:lnTo>
                        <a:pt x="216" y="78"/>
                      </a:lnTo>
                      <a:lnTo>
                        <a:pt x="210" y="90"/>
                      </a:lnTo>
                      <a:lnTo>
                        <a:pt x="210" y="102"/>
                      </a:lnTo>
                      <a:lnTo>
                        <a:pt x="198" y="114"/>
                      </a:lnTo>
                      <a:lnTo>
                        <a:pt x="192" y="114"/>
                      </a:lnTo>
                      <a:lnTo>
                        <a:pt x="180" y="102"/>
                      </a:lnTo>
                      <a:lnTo>
                        <a:pt x="180" y="96"/>
                      </a:lnTo>
                      <a:lnTo>
                        <a:pt x="168" y="96"/>
                      </a:lnTo>
                      <a:lnTo>
                        <a:pt x="168" y="36"/>
                      </a:lnTo>
                      <a:lnTo>
                        <a:pt x="162" y="18"/>
                      </a:lnTo>
                      <a:lnTo>
                        <a:pt x="150" y="6"/>
                      </a:lnTo>
                      <a:lnTo>
                        <a:pt x="138" y="0"/>
                      </a:lnTo>
                      <a:lnTo>
                        <a:pt x="132" y="0"/>
                      </a:lnTo>
                      <a:lnTo>
                        <a:pt x="126" y="6"/>
                      </a:lnTo>
                      <a:lnTo>
                        <a:pt x="126" y="18"/>
                      </a:lnTo>
                      <a:lnTo>
                        <a:pt x="102" y="12"/>
                      </a:lnTo>
                      <a:lnTo>
                        <a:pt x="108" y="36"/>
                      </a:lnTo>
                      <a:lnTo>
                        <a:pt x="84" y="42"/>
                      </a:lnTo>
                      <a:lnTo>
                        <a:pt x="84" y="60"/>
                      </a:lnTo>
                      <a:lnTo>
                        <a:pt x="78" y="72"/>
                      </a:lnTo>
                      <a:lnTo>
                        <a:pt x="66" y="78"/>
                      </a:lnTo>
                      <a:lnTo>
                        <a:pt x="54" y="90"/>
                      </a:lnTo>
                      <a:lnTo>
                        <a:pt x="42" y="96"/>
                      </a:lnTo>
                      <a:lnTo>
                        <a:pt x="24" y="114"/>
                      </a:lnTo>
                      <a:lnTo>
                        <a:pt x="24" y="150"/>
                      </a:lnTo>
                      <a:lnTo>
                        <a:pt x="0" y="126"/>
                      </a:lnTo>
                      <a:lnTo>
                        <a:pt x="36" y="162"/>
                      </a:lnTo>
                      <a:lnTo>
                        <a:pt x="60" y="162"/>
                      </a:lnTo>
                      <a:lnTo>
                        <a:pt x="72" y="192"/>
                      </a:lnTo>
                      <a:lnTo>
                        <a:pt x="102" y="192"/>
                      </a:lnTo>
                      <a:lnTo>
                        <a:pt x="108" y="198"/>
                      </a:lnTo>
                      <a:lnTo>
                        <a:pt x="120" y="222"/>
                      </a:lnTo>
                      <a:lnTo>
                        <a:pt x="132" y="240"/>
                      </a:lnTo>
                      <a:lnTo>
                        <a:pt x="150" y="252"/>
                      </a:lnTo>
                      <a:lnTo>
                        <a:pt x="162" y="270"/>
                      </a:lnTo>
                      <a:lnTo>
                        <a:pt x="180" y="282"/>
                      </a:lnTo>
                      <a:lnTo>
                        <a:pt x="198" y="288"/>
                      </a:lnTo>
                      <a:lnTo>
                        <a:pt x="210" y="294"/>
                      </a:lnTo>
                      <a:lnTo>
                        <a:pt x="228" y="300"/>
                      </a:lnTo>
                      <a:lnTo>
                        <a:pt x="258" y="330"/>
                      </a:lnTo>
                      <a:lnTo>
                        <a:pt x="294" y="342"/>
                      </a:lnTo>
                      <a:lnTo>
                        <a:pt x="300" y="342"/>
                      </a:lnTo>
                      <a:lnTo>
                        <a:pt x="300" y="294"/>
                      </a:lnTo>
                      <a:lnTo>
                        <a:pt x="306" y="288"/>
                      </a:lnTo>
                      <a:lnTo>
                        <a:pt x="306" y="276"/>
                      </a:lnTo>
                      <a:lnTo>
                        <a:pt x="312" y="264"/>
                      </a:lnTo>
                      <a:lnTo>
                        <a:pt x="312" y="252"/>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603" name="Lesotho"/>
                <p:cNvSpPr>
                  <a:spLocks/>
                </p:cNvSpPr>
                <p:nvPr/>
              </p:nvSpPr>
              <p:spPr bwMode="gray">
                <a:xfrm>
                  <a:off x="3132" y="2900"/>
                  <a:ext cx="43" cy="42"/>
                </a:xfrm>
                <a:custGeom>
                  <a:avLst/>
                  <a:gdLst>
                    <a:gd name="T0" fmla="*/ 0 w 168"/>
                    <a:gd name="T1" fmla="*/ 2147483647 h 162"/>
                    <a:gd name="T2" fmla="*/ 2147483647 w 168"/>
                    <a:gd name="T3" fmla="*/ 2147483647 h 162"/>
                    <a:gd name="T4" fmla="*/ 2147483647 w 168"/>
                    <a:gd name="T5" fmla="*/ 2147483647 h 162"/>
                    <a:gd name="T6" fmla="*/ 2147483647 w 168"/>
                    <a:gd name="T7" fmla="*/ 2147483647 h 162"/>
                    <a:gd name="T8" fmla="*/ 2147483647 w 168"/>
                    <a:gd name="T9" fmla="*/ 2147483647 h 162"/>
                    <a:gd name="T10" fmla="*/ 2147483647 w 168"/>
                    <a:gd name="T11" fmla="*/ 2147483647 h 162"/>
                    <a:gd name="T12" fmla="*/ 2147483647 w 168"/>
                    <a:gd name="T13" fmla="*/ 2147483647 h 162"/>
                    <a:gd name="T14" fmla="*/ 2147483647 w 168"/>
                    <a:gd name="T15" fmla="*/ 2147483647 h 162"/>
                    <a:gd name="T16" fmla="*/ 2147483647 w 168"/>
                    <a:gd name="T17" fmla="*/ 2147483647 h 162"/>
                    <a:gd name="T18" fmla="*/ 2147483647 w 168"/>
                    <a:gd name="T19" fmla="*/ 2147483647 h 162"/>
                    <a:gd name="T20" fmla="*/ 2147483647 w 168"/>
                    <a:gd name="T21" fmla="*/ 2147483647 h 162"/>
                    <a:gd name="T22" fmla="*/ 2147483647 w 168"/>
                    <a:gd name="T23" fmla="*/ 2147483647 h 162"/>
                    <a:gd name="T24" fmla="*/ 2147483647 w 168"/>
                    <a:gd name="T25" fmla="*/ 2147483647 h 162"/>
                    <a:gd name="T26" fmla="*/ 2147483647 w 168"/>
                    <a:gd name="T27" fmla="*/ 2147483647 h 162"/>
                    <a:gd name="T28" fmla="*/ 2147483647 w 168"/>
                    <a:gd name="T29" fmla="*/ 2147483647 h 162"/>
                    <a:gd name="T30" fmla="*/ 2147483647 w 168"/>
                    <a:gd name="T31" fmla="*/ 2147483647 h 162"/>
                    <a:gd name="T32" fmla="*/ 2147483647 w 168"/>
                    <a:gd name="T33" fmla="*/ 2147483647 h 162"/>
                    <a:gd name="T34" fmla="*/ 2147483647 w 168"/>
                    <a:gd name="T35" fmla="*/ 2147483647 h 162"/>
                    <a:gd name="T36" fmla="*/ 2147483647 w 168"/>
                    <a:gd name="T37" fmla="*/ 2147483647 h 162"/>
                    <a:gd name="T38" fmla="*/ 2147483647 w 168"/>
                    <a:gd name="T39" fmla="*/ 2147483647 h 162"/>
                    <a:gd name="T40" fmla="*/ 2147483647 w 168"/>
                    <a:gd name="T41" fmla="*/ 2147483647 h 162"/>
                    <a:gd name="T42" fmla="*/ 2147483647 w 168"/>
                    <a:gd name="T43" fmla="*/ 0 h 162"/>
                    <a:gd name="T44" fmla="*/ 2147483647 w 168"/>
                    <a:gd name="T45" fmla="*/ 0 h 162"/>
                    <a:gd name="T46" fmla="*/ 2147483647 w 168"/>
                    <a:gd name="T47" fmla="*/ 2147483647 h 162"/>
                    <a:gd name="T48" fmla="*/ 2147483647 w 168"/>
                    <a:gd name="T49" fmla="*/ 2147483647 h 162"/>
                    <a:gd name="T50" fmla="*/ 2147483647 w 168"/>
                    <a:gd name="T51" fmla="*/ 2147483647 h 162"/>
                    <a:gd name="T52" fmla="*/ 2147483647 w 168"/>
                    <a:gd name="T53" fmla="*/ 2147483647 h 162"/>
                    <a:gd name="T54" fmla="*/ 2147483647 w 168"/>
                    <a:gd name="T55" fmla="*/ 2147483647 h 162"/>
                    <a:gd name="T56" fmla="*/ 2147483647 w 168"/>
                    <a:gd name="T57" fmla="*/ 2147483647 h 162"/>
                    <a:gd name="T58" fmla="*/ 2147483647 w 168"/>
                    <a:gd name="T59" fmla="*/ 2147483647 h 162"/>
                    <a:gd name="T60" fmla="*/ 0 w 168"/>
                    <a:gd name="T61" fmla="*/ 2147483647 h 16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68"/>
                    <a:gd name="T94" fmla="*/ 0 h 162"/>
                    <a:gd name="T95" fmla="*/ 168 w 168"/>
                    <a:gd name="T96" fmla="*/ 162 h 162"/>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68" h="162">
                      <a:moveTo>
                        <a:pt x="0" y="78"/>
                      </a:moveTo>
                      <a:lnTo>
                        <a:pt x="24" y="114"/>
                      </a:lnTo>
                      <a:lnTo>
                        <a:pt x="24" y="132"/>
                      </a:lnTo>
                      <a:lnTo>
                        <a:pt x="54" y="162"/>
                      </a:lnTo>
                      <a:lnTo>
                        <a:pt x="72" y="162"/>
                      </a:lnTo>
                      <a:lnTo>
                        <a:pt x="72" y="150"/>
                      </a:lnTo>
                      <a:lnTo>
                        <a:pt x="78" y="144"/>
                      </a:lnTo>
                      <a:lnTo>
                        <a:pt x="84" y="132"/>
                      </a:lnTo>
                      <a:lnTo>
                        <a:pt x="90" y="126"/>
                      </a:lnTo>
                      <a:lnTo>
                        <a:pt x="102" y="120"/>
                      </a:lnTo>
                      <a:lnTo>
                        <a:pt x="120" y="120"/>
                      </a:lnTo>
                      <a:lnTo>
                        <a:pt x="132" y="114"/>
                      </a:lnTo>
                      <a:lnTo>
                        <a:pt x="138" y="108"/>
                      </a:lnTo>
                      <a:lnTo>
                        <a:pt x="150" y="102"/>
                      </a:lnTo>
                      <a:lnTo>
                        <a:pt x="144" y="84"/>
                      </a:lnTo>
                      <a:lnTo>
                        <a:pt x="168" y="66"/>
                      </a:lnTo>
                      <a:lnTo>
                        <a:pt x="162" y="42"/>
                      </a:lnTo>
                      <a:lnTo>
                        <a:pt x="150" y="36"/>
                      </a:lnTo>
                      <a:lnTo>
                        <a:pt x="144" y="24"/>
                      </a:lnTo>
                      <a:lnTo>
                        <a:pt x="138" y="18"/>
                      </a:lnTo>
                      <a:lnTo>
                        <a:pt x="132" y="6"/>
                      </a:lnTo>
                      <a:lnTo>
                        <a:pt x="126" y="0"/>
                      </a:lnTo>
                      <a:lnTo>
                        <a:pt x="90" y="0"/>
                      </a:lnTo>
                      <a:lnTo>
                        <a:pt x="78" y="6"/>
                      </a:lnTo>
                      <a:lnTo>
                        <a:pt x="78" y="18"/>
                      </a:lnTo>
                      <a:lnTo>
                        <a:pt x="54" y="18"/>
                      </a:lnTo>
                      <a:lnTo>
                        <a:pt x="48" y="24"/>
                      </a:lnTo>
                      <a:lnTo>
                        <a:pt x="48" y="42"/>
                      </a:lnTo>
                      <a:lnTo>
                        <a:pt x="30" y="60"/>
                      </a:lnTo>
                      <a:lnTo>
                        <a:pt x="24" y="78"/>
                      </a:lnTo>
                      <a:lnTo>
                        <a:pt x="0" y="78"/>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604" name="Lebanon"/>
                <p:cNvSpPr>
                  <a:spLocks/>
                </p:cNvSpPr>
                <p:nvPr/>
              </p:nvSpPr>
              <p:spPr bwMode="gray">
                <a:xfrm>
                  <a:off x="3264" y="1596"/>
                  <a:ext cx="28" cy="40"/>
                </a:xfrm>
                <a:custGeom>
                  <a:avLst/>
                  <a:gdLst>
                    <a:gd name="T0" fmla="*/ 2147483647 w 108"/>
                    <a:gd name="T1" fmla="*/ 2147483647 h 156"/>
                    <a:gd name="T2" fmla="*/ 2147483647 w 108"/>
                    <a:gd name="T3" fmla="*/ 2147483647 h 156"/>
                    <a:gd name="T4" fmla="*/ 2147483647 w 108"/>
                    <a:gd name="T5" fmla="*/ 2147483647 h 156"/>
                    <a:gd name="T6" fmla="*/ 2147483647 w 108"/>
                    <a:gd name="T7" fmla="*/ 2147483647 h 156"/>
                    <a:gd name="T8" fmla="*/ 2147483647 w 108"/>
                    <a:gd name="T9" fmla="*/ 2147483647 h 156"/>
                    <a:gd name="T10" fmla="*/ 2147483647 w 108"/>
                    <a:gd name="T11" fmla="*/ 2147483647 h 156"/>
                    <a:gd name="T12" fmla="*/ 2147483647 w 108"/>
                    <a:gd name="T13" fmla="*/ 2147483647 h 156"/>
                    <a:gd name="T14" fmla="*/ 2147483647 w 108"/>
                    <a:gd name="T15" fmla="*/ 2147483647 h 156"/>
                    <a:gd name="T16" fmla="*/ 2147483647 w 108"/>
                    <a:gd name="T17" fmla="*/ 2147483647 h 156"/>
                    <a:gd name="T18" fmla="*/ 2147483647 w 108"/>
                    <a:gd name="T19" fmla="*/ 2147483647 h 156"/>
                    <a:gd name="T20" fmla="*/ 2147483647 w 108"/>
                    <a:gd name="T21" fmla="*/ 0 h 156"/>
                    <a:gd name="T22" fmla="*/ 2147483647 w 108"/>
                    <a:gd name="T23" fmla="*/ 0 h 156"/>
                    <a:gd name="T24" fmla="*/ 2147483647 w 108"/>
                    <a:gd name="T25" fmla="*/ 0 h 156"/>
                    <a:gd name="T26" fmla="*/ 2147483647 w 108"/>
                    <a:gd name="T27" fmla="*/ 2147483647 h 156"/>
                    <a:gd name="T28" fmla="*/ 2147483647 w 108"/>
                    <a:gd name="T29" fmla="*/ 2147483647 h 156"/>
                    <a:gd name="T30" fmla="*/ 2147483647 w 108"/>
                    <a:gd name="T31" fmla="*/ 2147483647 h 156"/>
                    <a:gd name="T32" fmla="*/ 2147483647 w 108"/>
                    <a:gd name="T33" fmla="*/ 2147483647 h 156"/>
                    <a:gd name="T34" fmla="*/ 2147483647 w 108"/>
                    <a:gd name="T35" fmla="*/ 2147483647 h 156"/>
                    <a:gd name="T36" fmla="*/ 2147483647 w 108"/>
                    <a:gd name="T37" fmla="*/ 2147483647 h 156"/>
                    <a:gd name="T38" fmla="*/ 2147483647 w 108"/>
                    <a:gd name="T39" fmla="*/ 2147483647 h 156"/>
                    <a:gd name="T40" fmla="*/ 2147483647 w 108"/>
                    <a:gd name="T41" fmla="*/ 2147483647 h 156"/>
                    <a:gd name="T42" fmla="*/ 0 w 108"/>
                    <a:gd name="T43" fmla="*/ 2147483647 h 156"/>
                    <a:gd name="T44" fmla="*/ 0 w 108"/>
                    <a:gd name="T45" fmla="*/ 2147483647 h 156"/>
                    <a:gd name="T46" fmla="*/ 2147483647 w 108"/>
                    <a:gd name="T47" fmla="*/ 2147483647 h 156"/>
                    <a:gd name="T48" fmla="*/ 2147483647 w 108"/>
                    <a:gd name="T49" fmla="*/ 2147483647 h 156"/>
                    <a:gd name="T50" fmla="*/ 2147483647 w 108"/>
                    <a:gd name="T51" fmla="*/ 2147483647 h 156"/>
                    <a:gd name="T52" fmla="*/ 2147483647 w 108"/>
                    <a:gd name="T53" fmla="*/ 2147483647 h 156"/>
                    <a:gd name="T54" fmla="*/ 2147483647 w 108"/>
                    <a:gd name="T55" fmla="*/ 2147483647 h 156"/>
                    <a:gd name="T56" fmla="*/ 2147483647 w 108"/>
                    <a:gd name="T57" fmla="*/ 2147483647 h 156"/>
                    <a:gd name="T58" fmla="*/ 2147483647 w 108"/>
                    <a:gd name="T59" fmla="*/ 2147483647 h 156"/>
                    <a:gd name="T60" fmla="*/ 2147483647 w 108"/>
                    <a:gd name="T61" fmla="*/ 2147483647 h 15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08"/>
                    <a:gd name="T94" fmla="*/ 0 h 156"/>
                    <a:gd name="T95" fmla="*/ 108 w 108"/>
                    <a:gd name="T96" fmla="*/ 156 h 15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08" h="156">
                      <a:moveTo>
                        <a:pt x="72" y="96"/>
                      </a:moveTo>
                      <a:lnTo>
                        <a:pt x="72" y="72"/>
                      </a:lnTo>
                      <a:lnTo>
                        <a:pt x="78" y="66"/>
                      </a:lnTo>
                      <a:lnTo>
                        <a:pt x="84" y="66"/>
                      </a:lnTo>
                      <a:lnTo>
                        <a:pt x="96" y="60"/>
                      </a:lnTo>
                      <a:lnTo>
                        <a:pt x="102" y="60"/>
                      </a:lnTo>
                      <a:lnTo>
                        <a:pt x="108" y="48"/>
                      </a:lnTo>
                      <a:lnTo>
                        <a:pt x="108" y="30"/>
                      </a:lnTo>
                      <a:lnTo>
                        <a:pt x="102" y="18"/>
                      </a:lnTo>
                      <a:lnTo>
                        <a:pt x="96" y="12"/>
                      </a:lnTo>
                      <a:lnTo>
                        <a:pt x="102" y="0"/>
                      </a:lnTo>
                      <a:lnTo>
                        <a:pt x="54" y="0"/>
                      </a:lnTo>
                      <a:lnTo>
                        <a:pt x="60" y="0"/>
                      </a:lnTo>
                      <a:lnTo>
                        <a:pt x="60" y="6"/>
                      </a:lnTo>
                      <a:lnTo>
                        <a:pt x="54" y="6"/>
                      </a:lnTo>
                      <a:lnTo>
                        <a:pt x="48" y="18"/>
                      </a:lnTo>
                      <a:lnTo>
                        <a:pt x="36" y="24"/>
                      </a:lnTo>
                      <a:lnTo>
                        <a:pt x="30" y="30"/>
                      </a:lnTo>
                      <a:lnTo>
                        <a:pt x="18" y="66"/>
                      </a:lnTo>
                      <a:lnTo>
                        <a:pt x="12" y="78"/>
                      </a:lnTo>
                      <a:lnTo>
                        <a:pt x="12" y="90"/>
                      </a:lnTo>
                      <a:lnTo>
                        <a:pt x="0" y="114"/>
                      </a:lnTo>
                      <a:lnTo>
                        <a:pt x="0" y="156"/>
                      </a:lnTo>
                      <a:lnTo>
                        <a:pt x="12" y="150"/>
                      </a:lnTo>
                      <a:lnTo>
                        <a:pt x="24" y="126"/>
                      </a:lnTo>
                      <a:lnTo>
                        <a:pt x="30" y="132"/>
                      </a:lnTo>
                      <a:lnTo>
                        <a:pt x="36" y="132"/>
                      </a:lnTo>
                      <a:lnTo>
                        <a:pt x="42" y="126"/>
                      </a:lnTo>
                      <a:lnTo>
                        <a:pt x="48" y="114"/>
                      </a:lnTo>
                      <a:lnTo>
                        <a:pt x="48" y="102"/>
                      </a:lnTo>
                      <a:lnTo>
                        <a:pt x="72" y="96"/>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605" name="Latvia"/>
                <p:cNvSpPr>
                  <a:spLocks/>
                </p:cNvSpPr>
                <p:nvPr/>
              </p:nvSpPr>
              <p:spPr bwMode="gray">
                <a:xfrm>
                  <a:off x="3000" y="1125"/>
                  <a:ext cx="109" cy="46"/>
                </a:xfrm>
                <a:custGeom>
                  <a:avLst/>
                  <a:gdLst>
                    <a:gd name="T0" fmla="*/ 2147483647 w 426"/>
                    <a:gd name="T1" fmla="*/ 2147483647 h 180"/>
                    <a:gd name="T2" fmla="*/ 2147483647 w 426"/>
                    <a:gd name="T3" fmla="*/ 2147483647 h 180"/>
                    <a:gd name="T4" fmla="*/ 2147483647 w 426"/>
                    <a:gd name="T5" fmla="*/ 2147483647 h 180"/>
                    <a:gd name="T6" fmla="*/ 2147483647 w 426"/>
                    <a:gd name="T7" fmla="*/ 2147483647 h 180"/>
                    <a:gd name="T8" fmla="*/ 2147483647 w 426"/>
                    <a:gd name="T9" fmla="*/ 2147483647 h 180"/>
                    <a:gd name="T10" fmla="*/ 2147483647 w 426"/>
                    <a:gd name="T11" fmla="*/ 2147483647 h 180"/>
                    <a:gd name="T12" fmla="*/ 2147483647 w 426"/>
                    <a:gd name="T13" fmla="*/ 2147483647 h 180"/>
                    <a:gd name="T14" fmla="*/ 2147483647 w 426"/>
                    <a:gd name="T15" fmla="*/ 2147483647 h 180"/>
                    <a:gd name="T16" fmla="*/ 2147483647 w 426"/>
                    <a:gd name="T17" fmla="*/ 2147483647 h 180"/>
                    <a:gd name="T18" fmla="*/ 2147483647 w 426"/>
                    <a:gd name="T19" fmla="*/ 2147483647 h 180"/>
                    <a:gd name="T20" fmla="*/ 2147483647 w 426"/>
                    <a:gd name="T21" fmla="*/ 2147483647 h 180"/>
                    <a:gd name="T22" fmla="*/ 2147483647 w 426"/>
                    <a:gd name="T23" fmla="*/ 2147483647 h 180"/>
                    <a:gd name="T24" fmla="*/ 2147483647 w 426"/>
                    <a:gd name="T25" fmla="*/ 2147483647 h 180"/>
                    <a:gd name="T26" fmla="*/ 2147483647 w 426"/>
                    <a:gd name="T27" fmla="*/ 2147483647 h 180"/>
                    <a:gd name="T28" fmla="*/ 2147483647 w 426"/>
                    <a:gd name="T29" fmla="*/ 2147483647 h 180"/>
                    <a:gd name="T30" fmla="*/ 2147483647 w 426"/>
                    <a:gd name="T31" fmla="*/ 2147483647 h 180"/>
                    <a:gd name="T32" fmla="*/ 2147483647 w 426"/>
                    <a:gd name="T33" fmla="*/ 2147483647 h 180"/>
                    <a:gd name="T34" fmla="*/ 2147483647 w 426"/>
                    <a:gd name="T35" fmla="*/ 2147483647 h 180"/>
                    <a:gd name="T36" fmla="*/ 2147483647 w 426"/>
                    <a:gd name="T37" fmla="*/ 2147483647 h 180"/>
                    <a:gd name="T38" fmla="*/ 2147483647 w 426"/>
                    <a:gd name="T39" fmla="*/ 2147483647 h 180"/>
                    <a:gd name="T40" fmla="*/ 2147483647 w 426"/>
                    <a:gd name="T41" fmla="*/ 2147483647 h 180"/>
                    <a:gd name="T42" fmla="*/ 2147483647 w 426"/>
                    <a:gd name="T43" fmla="*/ 2147483647 h 180"/>
                    <a:gd name="T44" fmla="*/ 2147483647 w 426"/>
                    <a:gd name="T45" fmla="*/ 2147483647 h 180"/>
                    <a:gd name="T46" fmla="*/ 2147483647 w 426"/>
                    <a:gd name="T47" fmla="*/ 2147483647 h 180"/>
                    <a:gd name="T48" fmla="*/ 2147483647 w 426"/>
                    <a:gd name="T49" fmla="*/ 2147483647 h 180"/>
                    <a:gd name="T50" fmla="*/ 2147483647 w 426"/>
                    <a:gd name="T51" fmla="*/ 2147483647 h 180"/>
                    <a:gd name="T52" fmla="*/ 2147483647 w 426"/>
                    <a:gd name="T53" fmla="*/ 2147483647 h 180"/>
                    <a:gd name="T54" fmla="*/ 2147483647 w 426"/>
                    <a:gd name="T55" fmla="*/ 2147483647 h 180"/>
                    <a:gd name="T56" fmla="*/ 2147483647 w 426"/>
                    <a:gd name="T57" fmla="*/ 2147483647 h 180"/>
                    <a:gd name="T58" fmla="*/ 2147483647 w 426"/>
                    <a:gd name="T59" fmla="*/ 2147483647 h 180"/>
                    <a:gd name="T60" fmla="*/ 2147483647 w 426"/>
                    <a:gd name="T61" fmla="*/ 0 h 180"/>
                    <a:gd name="T62" fmla="*/ 2147483647 w 426"/>
                    <a:gd name="T63" fmla="*/ 2147483647 h 180"/>
                    <a:gd name="T64" fmla="*/ 2147483647 w 426"/>
                    <a:gd name="T65" fmla="*/ 2147483647 h 180"/>
                    <a:gd name="T66" fmla="*/ 2147483647 w 426"/>
                    <a:gd name="T67" fmla="*/ 2147483647 h 180"/>
                    <a:gd name="T68" fmla="*/ 2147483647 w 426"/>
                    <a:gd name="T69" fmla="*/ 2147483647 h 180"/>
                    <a:gd name="T70" fmla="*/ 2147483647 w 426"/>
                    <a:gd name="T71" fmla="*/ 2147483647 h 180"/>
                    <a:gd name="T72" fmla="*/ 2147483647 w 426"/>
                    <a:gd name="T73" fmla="*/ 2147483647 h 180"/>
                    <a:gd name="T74" fmla="*/ 2147483647 w 426"/>
                    <a:gd name="T75" fmla="*/ 2147483647 h 180"/>
                    <a:gd name="T76" fmla="*/ 2147483647 w 426"/>
                    <a:gd name="T77" fmla="*/ 2147483647 h 180"/>
                    <a:gd name="T78" fmla="*/ 2147483647 w 426"/>
                    <a:gd name="T79" fmla="*/ 2147483647 h 180"/>
                    <a:gd name="T80" fmla="*/ 2147483647 w 426"/>
                    <a:gd name="T81" fmla="*/ 2147483647 h 180"/>
                    <a:gd name="T82" fmla="*/ 2147483647 w 426"/>
                    <a:gd name="T83" fmla="*/ 2147483647 h 180"/>
                    <a:gd name="T84" fmla="*/ 0 w 426"/>
                    <a:gd name="T85" fmla="*/ 2147483647 h 180"/>
                    <a:gd name="T86" fmla="*/ 2147483647 w 426"/>
                    <a:gd name="T87" fmla="*/ 2147483647 h 18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26"/>
                    <a:gd name="T133" fmla="*/ 0 h 180"/>
                    <a:gd name="T134" fmla="*/ 426 w 426"/>
                    <a:gd name="T135" fmla="*/ 180 h 18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26" h="180">
                      <a:moveTo>
                        <a:pt x="6" y="144"/>
                      </a:moveTo>
                      <a:lnTo>
                        <a:pt x="6" y="138"/>
                      </a:lnTo>
                      <a:lnTo>
                        <a:pt x="12" y="138"/>
                      </a:lnTo>
                      <a:lnTo>
                        <a:pt x="24" y="132"/>
                      </a:lnTo>
                      <a:lnTo>
                        <a:pt x="66" y="132"/>
                      </a:lnTo>
                      <a:lnTo>
                        <a:pt x="78" y="120"/>
                      </a:lnTo>
                      <a:lnTo>
                        <a:pt x="96" y="120"/>
                      </a:lnTo>
                      <a:lnTo>
                        <a:pt x="102" y="126"/>
                      </a:lnTo>
                      <a:lnTo>
                        <a:pt x="108" y="126"/>
                      </a:lnTo>
                      <a:lnTo>
                        <a:pt x="114" y="132"/>
                      </a:lnTo>
                      <a:lnTo>
                        <a:pt x="120" y="132"/>
                      </a:lnTo>
                      <a:lnTo>
                        <a:pt x="126" y="126"/>
                      </a:lnTo>
                      <a:lnTo>
                        <a:pt x="132" y="126"/>
                      </a:lnTo>
                      <a:lnTo>
                        <a:pt x="144" y="132"/>
                      </a:lnTo>
                      <a:lnTo>
                        <a:pt x="150" y="132"/>
                      </a:lnTo>
                      <a:lnTo>
                        <a:pt x="156" y="138"/>
                      </a:lnTo>
                      <a:lnTo>
                        <a:pt x="162" y="138"/>
                      </a:lnTo>
                      <a:lnTo>
                        <a:pt x="168" y="132"/>
                      </a:lnTo>
                      <a:lnTo>
                        <a:pt x="180" y="132"/>
                      </a:lnTo>
                      <a:lnTo>
                        <a:pt x="186" y="138"/>
                      </a:lnTo>
                      <a:lnTo>
                        <a:pt x="204" y="138"/>
                      </a:lnTo>
                      <a:lnTo>
                        <a:pt x="216" y="126"/>
                      </a:lnTo>
                      <a:lnTo>
                        <a:pt x="228" y="126"/>
                      </a:lnTo>
                      <a:lnTo>
                        <a:pt x="234" y="132"/>
                      </a:lnTo>
                      <a:lnTo>
                        <a:pt x="240" y="144"/>
                      </a:lnTo>
                      <a:lnTo>
                        <a:pt x="270" y="144"/>
                      </a:lnTo>
                      <a:lnTo>
                        <a:pt x="282" y="150"/>
                      </a:lnTo>
                      <a:lnTo>
                        <a:pt x="288" y="150"/>
                      </a:lnTo>
                      <a:lnTo>
                        <a:pt x="300" y="162"/>
                      </a:lnTo>
                      <a:lnTo>
                        <a:pt x="318" y="174"/>
                      </a:lnTo>
                      <a:lnTo>
                        <a:pt x="336" y="180"/>
                      </a:lnTo>
                      <a:lnTo>
                        <a:pt x="360" y="168"/>
                      </a:lnTo>
                      <a:lnTo>
                        <a:pt x="378" y="168"/>
                      </a:lnTo>
                      <a:lnTo>
                        <a:pt x="384" y="174"/>
                      </a:lnTo>
                      <a:lnTo>
                        <a:pt x="390" y="168"/>
                      </a:lnTo>
                      <a:lnTo>
                        <a:pt x="396" y="168"/>
                      </a:lnTo>
                      <a:lnTo>
                        <a:pt x="402" y="162"/>
                      </a:lnTo>
                      <a:lnTo>
                        <a:pt x="408" y="150"/>
                      </a:lnTo>
                      <a:lnTo>
                        <a:pt x="414" y="144"/>
                      </a:lnTo>
                      <a:lnTo>
                        <a:pt x="420" y="150"/>
                      </a:lnTo>
                      <a:lnTo>
                        <a:pt x="426" y="150"/>
                      </a:lnTo>
                      <a:lnTo>
                        <a:pt x="426" y="126"/>
                      </a:lnTo>
                      <a:lnTo>
                        <a:pt x="414" y="114"/>
                      </a:lnTo>
                      <a:lnTo>
                        <a:pt x="408" y="102"/>
                      </a:lnTo>
                      <a:lnTo>
                        <a:pt x="402" y="96"/>
                      </a:lnTo>
                      <a:lnTo>
                        <a:pt x="378" y="90"/>
                      </a:lnTo>
                      <a:lnTo>
                        <a:pt x="384" y="72"/>
                      </a:lnTo>
                      <a:lnTo>
                        <a:pt x="402" y="72"/>
                      </a:lnTo>
                      <a:lnTo>
                        <a:pt x="402" y="66"/>
                      </a:lnTo>
                      <a:lnTo>
                        <a:pt x="396" y="60"/>
                      </a:lnTo>
                      <a:lnTo>
                        <a:pt x="384" y="54"/>
                      </a:lnTo>
                      <a:lnTo>
                        <a:pt x="372" y="42"/>
                      </a:lnTo>
                      <a:lnTo>
                        <a:pt x="354" y="42"/>
                      </a:lnTo>
                      <a:lnTo>
                        <a:pt x="348" y="36"/>
                      </a:lnTo>
                      <a:lnTo>
                        <a:pt x="330" y="36"/>
                      </a:lnTo>
                      <a:lnTo>
                        <a:pt x="324" y="42"/>
                      </a:lnTo>
                      <a:lnTo>
                        <a:pt x="306" y="42"/>
                      </a:lnTo>
                      <a:lnTo>
                        <a:pt x="288" y="24"/>
                      </a:lnTo>
                      <a:lnTo>
                        <a:pt x="276" y="18"/>
                      </a:lnTo>
                      <a:lnTo>
                        <a:pt x="270" y="12"/>
                      </a:lnTo>
                      <a:lnTo>
                        <a:pt x="246" y="0"/>
                      </a:lnTo>
                      <a:lnTo>
                        <a:pt x="216" y="0"/>
                      </a:lnTo>
                      <a:lnTo>
                        <a:pt x="186" y="12"/>
                      </a:lnTo>
                      <a:lnTo>
                        <a:pt x="174" y="12"/>
                      </a:lnTo>
                      <a:lnTo>
                        <a:pt x="180" y="24"/>
                      </a:lnTo>
                      <a:lnTo>
                        <a:pt x="180" y="30"/>
                      </a:lnTo>
                      <a:lnTo>
                        <a:pt x="186" y="42"/>
                      </a:lnTo>
                      <a:lnTo>
                        <a:pt x="186" y="60"/>
                      </a:lnTo>
                      <a:lnTo>
                        <a:pt x="192" y="66"/>
                      </a:lnTo>
                      <a:lnTo>
                        <a:pt x="186" y="78"/>
                      </a:lnTo>
                      <a:lnTo>
                        <a:pt x="156" y="78"/>
                      </a:lnTo>
                      <a:lnTo>
                        <a:pt x="138" y="72"/>
                      </a:lnTo>
                      <a:lnTo>
                        <a:pt x="126" y="72"/>
                      </a:lnTo>
                      <a:lnTo>
                        <a:pt x="114" y="54"/>
                      </a:lnTo>
                      <a:lnTo>
                        <a:pt x="84" y="24"/>
                      </a:lnTo>
                      <a:lnTo>
                        <a:pt x="72" y="24"/>
                      </a:lnTo>
                      <a:lnTo>
                        <a:pt x="60" y="30"/>
                      </a:lnTo>
                      <a:lnTo>
                        <a:pt x="48" y="30"/>
                      </a:lnTo>
                      <a:lnTo>
                        <a:pt x="36" y="36"/>
                      </a:lnTo>
                      <a:lnTo>
                        <a:pt x="30" y="42"/>
                      </a:lnTo>
                      <a:lnTo>
                        <a:pt x="24" y="54"/>
                      </a:lnTo>
                      <a:lnTo>
                        <a:pt x="24" y="66"/>
                      </a:lnTo>
                      <a:lnTo>
                        <a:pt x="18" y="78"/>
                      </a:lnTo>
                      <a:lnTo>
                        <a:pt x="6" y="84"/>
                      </a:lnTo>
                      <a:lnTo>
                        <a:pt x="0" y="96"/>
                      </a:lnTo>
                      <a:lnTo>
                        <a:pt x="0" y="120"/>
                      </a:lnTo>
                      <a:lnTo>
                        <a:pt x="6" y="132"/>
                      </a:lnTo>
                      <a:lnTo>
                        <a:pt x="6" y="150"/>
                      </a:lnTo>
                      <a:lnTo>
                        <a:pt x="6" y="144"/>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606" name="Laos"/>
                <p:cNvSpPr>
                  <a:spLocks/>
                </p:cNvSpPr>
                <p:nvPr/>
              </p:nvSpPr>
              <p:spPr bwMode="gray">
                <a:xfrm>
                  <a:off x="4444" y="1846"/>
                  <a:ext cx="154" cy="178"/>
                </a:xfrm>
                <a:custGeom>
                  <a:avLst/>
                  <a:gdLst>
                    <a:gd name="T0" fmla="*/ 2147483647 w 600"/>
                    <a:gd name="T1" fmla="*/ 2147483647 h 696"/>
                    <a:gd name="T2" fmla="*/ 2147483647 w 600"/>
                    <a:gd name="T3" fmla="*/ 2147483647 h 696"/>
                    <a:gd name="T4" fmla="*/ 2147483647 w 600"/>
                    <a:gd name="T5" fmla="*/ 2147483647 h 696"/>
                    <a:gd name="T6" fmla="*/ 2147483647 w 600"/>
                    <a:gd name="T7" fmla="*/ 2147483647 h 696"/>
                    <a:gd name="T8" fmla="*/ 2147483647 w 600"/>
                    <a:gd name="T9" fmla="*/ 2147483647 h 696"/>
                    <a:gd name="T10" fmla="*/ 2147483647 w 600"/>
                    <a:gd name="T11" fmla="*/ 2147483647 h 696"/>
                    <a:gd name="T12" fmla="*/ 2147483647 w 600"/>
                    <a:gd name="T13" fmla="*/ 2147483647 h 696"/>
                    <a:gd name="T14" fmla="*/ 2147483647 w 600"/>
                    <a:gd name="T15" fmla="*/ 2147483647 h 696"/>
                    <a:gd name="T16" fmla="*/ 2147483647 w 600"/>
                    <a:gd name="T17" fmla="*/ 2147483647 h 696"/>
                    <a:gd name="T18" fmla="*/ 2147483647 w 600"/>
                    <a:gd name="T19" fmla="*/ 2147483647 h 696"/>
                    <a:gd name="T20" fmla="*/ 2147483647 w 600"/>
                    <a:gd name="T21" fmla="*/ 2147483647 h 696"/>
                    <a:gd name="T22" fmla="*/ 2147483647 w 600"/>
                    <a:gd name="T23" fmla="*/ 2147483647 h 696"/>
                    <a:gd name="T24" fmla="*/ 2147483647 w 600"/>
                    <a:gd name="T25" fmla="*/ 2147483647 h 696"/>
                    <a:gd name="T26" fmla="*/ 2147483647 w 600"/>
                    <a:gd name="T27" fmla="*/ 2147483647 h 696"/>
                    <a:gd name="T28" fmla="*/ 2147483647 w 600"/>
                    <a:gd name="T29" fmla="*/ 2147483647 h 696"/>
                    <a:gd name="T30" fmla="*/ 2147483647 w 600"/>
                    <a:gd name="T31" fmla="*/ 2147483647 h 696"/>
                    <a:gd name="T32" fmla="*/ 2147483647 w 600"/>
                    <a:gd name="T33" fmla="*/ 2147483647 h 696"/>
                    <a:gd name="T34" fmla="*/ 2147483647 w 600"/>
                    <a:gd name="T35" fmla="*/ 2147483647 h 696"/>
                    <a:gd name="T36" fmla="*/ 2147483647 w 600"/>
                    <a:gd name="T37" fmla="*/ 2147483647 h 696"/>
                    <a:gd name="T38" fmla="*/ 2147483647 w 600"/>
                    <a:gd name="T39" fmla="*/ 2147483647 h 696"/>
                    <a:gd name="T40" fmla="*/ 2147483647 w 600"/>
                    <a:gd name="T41" fmla="*/ 2147483647 h 696"/>
                    <a:gd name="T42" fmla="*/ 2147483647 w 600"/>
                    <a:gd name="T43" fmla="*/ 2147483647 h 696"/>
                    <a:gd name="T44" fmla="*/ 2147483647 w 600"/>
                    <a:gd name="T45" fmla="*/ 2147483647 h 696"/>
                    <a:gd name="T46" fmla="*/ 2147483647 w 600"/>
                    <a:gd name="T47" fmla="*/ 2147483647 h 696"/>
                    <a:gd name="T48" fmla="*/ 2147483647 w 600"/>
                    <a:gd name="T49" fmla="*/ 2147483647 h 696"/>
                    <a:gd name="T50" fmla="*/ 2147483647 w 600"/>
                    <a:gd name="T51" fmla="*/ 2147483647 h 696"/>
                    <a:gd name="T52" fmla="*/ 2147483647 w 600"/>
                    <a:gd name="T53" fmla="*/ 2147483647 h 696"/>
                    <a:gd name="T54" fmla="*/ 2147483647 w 600"/>
                    <a:gd name="T55" fmla="*/ 2147483647 h 696"/>
                    <a:gd name="T56" fmla="*/ 2147483647 w 600"/>
                    <a:gd name="T57" fmla="*/ 2147483647 h 696"/>
                    <a:gd name="T58" fmla="*/ 2147483647 w 600"/>
                    <a:gd name="T59" fmla="*/ 2147483647 h 696"/>
                    <a:gd name="T60" fmla="*/ 2147483647 w 600"/>
                    <a:gd name="T61" fmla="*/ 2147483647 h 696"/>
                    <a:gd name="T62" fmla="*/ 2147483647 w 600"/>
                    <a:gd name="T63" fmla="*/ 2147483647 h 696"/>
                    <a:gd name="T64" fmla="*/ 2147483647 w 600"/>
                    <a:gd name="T65" fmla="*/ 2147483647 h 696"/>
                    <a:gd name="T66" fmla="*/ 2147483647 w 600"/>
                    <a:gd name="T67" fmla="*/ 2147483647 h 696"/>
                    <a:gd name="T68" fmla="*/ 2147483647 w 600"/>
                    <a:gd name="T69" fmla="*/ 2147483647 h 696"/>
                    <a:gd name="T70" fmla="*/ 2147483647 w 600"/>
                    <a:gd name="T71" fmla="*/ 2147483647 h 696"/>
                    <a:gd name="T72" fmla="*/ 2147483647 w 600"/>
                    <a:gd name="T73" fmla="*/ 2147483647 h 696"/>
                    <a:gd name="T74" fmla="*/ 2147483647 w 600"/>
                    <a:gd name="T75" fmla="*/ 2147483647 h 696"/>
                    <a:gd name="T76" fmla="*/ 2147483647 w 600"/>
                    <a:gd name="T77" fmla="*/ 2147483647 h 696"/>
                    <a:gd name="T78" fmla="*/ 2147483647 w 600"/>
                    <a:gd name="T79" fmla="*/ 2147483647 h 696"/>
                    <a:gd name="T80" fmla="*/ 2147483647 w 600"/>
                    <a:gd name="T81" fmla="*/ 2147483647 h 696"/>
                    <a:gd name="T82" fmla="*/ 2147483647 w 600"/>
                    <a:gd name="T83" fmla="*/ 2147483647 h 696"/>
                    <a:gd name="T84" fmla="*/ 2147483647 w 600"/>
                    <a:gd name="T85" fmla="*/ 2147483647 h 696"/>
                    <a:gd name="T86" fmla="*/ 2147483647 w 600"/>
                    <a:gd name="T87" fmla="*/ 2147483647 h 696"/>
                    <a:gd name="T88" fmla="*/ 2147483647 w 600"/>
                    <a:gd name="T89" fmla="*/ 2147483647 h 696"/>
                    <a:gd name="T90" fmla="*/ 2147483647 w 600"/>
                    <a:gd name="T91" fmla="*/ 2147483647 h 696"/>
                    <a:gd name="T92" fmla="*/ 2147483647 w 600"/>
                    <a:gd name="T93" fmla="*/ 2147483647 h 696"/>
                    <a:gd name="T94" fmla="*/ 2147483647 w 600"/>
                    <a:gd name="T95" fmla="*/ 2147483647 h 696"/>
                    <a:gd name="T96" fmla="*/ 2147483647 w 600"/>
                    <a:gd name="T97" fmla="*/ 2147483647 h 696"/>
                    <a:gd name="T98" fmla="*/ 2147483647 w 600"/>
                    <a:gd name="T99" fmla="*/ 2147483647 h 696"/>
                    <a:gd name="T100" fmla="*/ 2147483647 w 600"/>
                    <a:gd name="T101" fmla="*/ 2147483647 h 696"/>
                    <a:gd name="T102" fmla="*/ 2147483647 w 600"/>
                    <a:gd name="T103" fmla="*/ 2147483647 h 696"/>
                    <a:gd name="T104" fmla="*/ 2147483647 w 600"/>
                    <a:gd name="T105" fmla="*/ 2147483647 h 696"/>
                    <a:gd name="T106" fmla="*/ 2147483647 w 600"/>
                    <a:gd name="T107" fmla="*/ 2147483647 h 696"/>
                    <a:gd name="T108" fmla="*/ 2147483647 w 600"/>
                    <a:gd name="T109" fmla="*/ 2147483647 h 696"/>
                    <a:gd name="T110" fmla="*/ 2147483647 w 600"/>
                    <a:gd name="T111" fmla="*/ 2147483647 h 696"/>
                    <a:gd name="T112" fmla="*/ 2147483647 w 600"/>
                    <a:gd name="T113" fmla="*/ 2147483647 h 696"/>
                    <a:gd name="T114" fmla="*/ 2147483647 w 600"/>
                    <a:gd name="T115" fmla="*/ 2147483647 h 696"/>
                    <a:gd name="T116" fmla="*/ 2147483647 w 600"/>
                    <a:gd name="T117" fmla="*/ 2147483647 h 696"/>
                    <a:gd name="T118" fmla="*/ 0 w 600"/>
                    <a:gd name="T119" fmla="*/ 2147483647 h 696"/>
                    <a:gd name="T120" fmla="*/ 2147483647 w 600"/>
                    <a:gd name="T121" fmla="*/ 2147483647 h 69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600"/>
                    <a:gd name="T184" fmla="*/ 0 h 696"/>
                    <a:gd name="T185" fmla="*/ 600 w 600"/>
                    <a:gd name="T186" fmla="*/ 696 h 69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600" h="696">
                      <a:moveTo>
                        <a:pt x="24" y="180"/>
                      </a:moveTo>
                      <a:lnTo>
                        <a:pt x="36" y="180"/>
                      </a:lnTo>
                      <a:lnTo>
                        <a:pt x="42" y="186"/>
                      </a:lnTo>
                      <a:lnTo>
                        <a:pt x="42" y="198"/>
                      </a:lnTo>
                      <a:lnTo>
                        <a:pt x="36" y="204"/>
                      </a:lnTo>
                      <a:lnTo>
                        <a:pt x="36" y="228"/>
                      </a:lnTo>
                      <a:lnTo>
                        <a:pt x="42" y="240"/>
                      </a:lnTo>
                      <a:lnTo>
                        <a:pt x="48" y="246"/>
                      </a:lnTo>
                      <a:lnTo>
                        <a:pt x="66" y="246"/>
                      </a:lnTo>
                      <a:lnTo>
                        <a:pt x="66" y="234"/>
                      </a:lnTo>
                      <a:lnTo>
                        <a:pt x="78" y="234"/>
                      </a:lnTo>
                      <a:lnTo>
                        <a:pt x="84" y="228"/>
                      </a:lnTo>
                      <a:lnTo>
                        <a:pt x="90" y="228"/>
                      </a:lnTo>
                      <a:lnTo>
                        <a:pt x="102" y="234"/>
                      </a:lnTo>
                      <a:lnTo>
                        <a:pt x="102" y="264"/>
                      </a:lnTo>
                      <a:lnTo>
                        <a:pt x="96" y="270"/>
                      </a:lnTo>
                      <a:lnTo>
                        <a:pt x="102" y="276"/>
                      </a:lnTo>
                      <a:lnTo>
                        <a:pt x="108" y="288"/>
                      </a:lnTo>
                      <a:lnTo>
                        <a:pt x="108" y="300"/>
                      </a:lnTo>
                      <a:lnTo>
                        <a:pt x="102" y="312"/>
                      </a:lnTo>
                      <a:lnTo>
                        <a:pt x="90" y="324"/>
                      </a:lnTo>
                      <a:lnTo>
                        <a:pt x="102" y="324"/>
                      </a:lnTo>
                      <a:lnTo>
                        <a:pt x="108" y="330"/>
                      </a:lnTo>
                      <a:lnTo>
                        <a:pt x="108" y="342"/>
                      </a:lnTo>
                      <a:lnTo>
                        <a:pt x="84" y="390"/>
                      </a:lnTo>
                      <a:lnTo>
                        <a:pt x="84" y="402"/>
                      </a:lnTo>
                      <a:lnTo>
                        <a:pt x="102" y="402"/>
                      </a:lnTo>
                      <a:lnTo>
                        <a:pt x="126" y="390"/>
                      </a:lnTo>
                      <a:lnTo>
                        <a:pt x="132" y="384"/>
                      </a:lnTo>
                      <a:lnTo>
                        <a:pt x="132" y="378"/>
                      </a:lnTo>
                      <a:lnTo>
                        <a:pt x="144" y="366"/>
                      </a:lnTo>
                      <a:lnTo>
                        <a:pt x="150" y="354"/>
                      </a:lnTo>
                      <a:lnTo>
                        <a:pt x="156" y="348"/>
                      </a:lnTo>
                      <a:lnTo>
                        <a:pt x="168" y="348"/>
                      </a:lnTo>
                      <a:lnTo>
                        <a:pt x="174" y="354"/>
                      </a:lnTo>
                      <a:lnTo>
                        <a:pt x="198" y="366"/>
                      </a:lnTo>
                      <a:lnTo>
                        <a:pt x="216" y="366"/>
                      </a:lnTo>
                      <a:lnTo>
                        <a:pt x="234" y="348"/>
                      </a:lnTo>
                      <a:lnTo>
                        <a:pt x="234" y="336"/>
                      </a:lnTo>
                      <a:lnTo>
                        <a:pt x="240" y="330"/>
                      </a:lnTo>
                      <a:lnTo>
                        <a:pt x="258" y="330"/>
                      </a:lnTo>
                      <a:lnTo>
                        <a:pt x="264" y="336"/>
                      </a:lnTo>
                      <a:lnTo>
                        <a:pt x="276" y="342"/>
                      </a:lnTo>
                      <a:lnTo>
                        <a:pt x="300" y="342"/>
                      </a:lnTo>
                      <a:lnTo>
                        <a:pt x="306" y="348"/>
                      </a:lnTo>
                      <a:lnTo>
                        <a:pt x="306" y="360"/>
                      </a:lnTo>
                      <a:lnTo>
                        <a:pt x="318" y="372"/>
                      </a:lnTo>
                      <a:lnTo>
                        <a:pt x="336" y="384"/>
                      </a:lnTo>
                      <a:lnTo>
                        <a:pt x="348" y="390"/>
                      </a:lnTo>
                      <a:lnTo>
                        <a:pt x="366" y="408"/>
                      </a:lnTo>
                      <a:lnTo>
                        <a:pt x="372" y="450"/>
                      </a:lnTo>
                      <a:lnTo>
                        <a:pt x="372" y="462"/>
                      </a:lnTo>
                      <a:lnTo>
                        <a:pt x="384" y="486"/>
                      </a:lnTo>
                      <a:lnTo>
                        <a:pt x="420" y="522"/>
                      </a:lnTo>
                      <a:lnTo>
                        <a:pt x="420" y="528"/>
                      </a:lnTo>
                      <a:lnTo>
                        <a:pt x="426" y="534"/>
                      </a:lnTo>
                      <a:lnTo>
                        <a:pt x="426" y="546"/>
                      </a:lnTo>
                      <a:lnTo>
                        <a:pt x="432" y="540"/>
                      </a:lnTo>
                      <a:lnTo>
                        <a:pt x="432" y="546"/>
                      </a:lnTo>
                      <a:lnTo>
                        <a:pt x="444" y="558"/>
                      </a:lnTo>
                      <a:lnTo>
                        <a:pt x="432" y="582"/>
                      </a:lnTo>
                      <a:lnTo>
                        <a:pt x="426" y="588"/>
                      </a:lnTo>
                      <a:lnTo>
                        <a:pt x="426" y="594"/>
                      </a:lnTo>
                      <a:lnTo>
                        <a:pt x="438" y="606"/>
                      </a:lnTo>
                      <a:lnTo>
                        <a:pt x="450" y="612"/>
                      </a:lnTo>
                      <a:lnTo>
                        <a:pt x="456" y="618"/>
                      </a:lnTo>
                      <a:lnTo>
                        <a:pt x="456" y="630"/>
                      </a:lnTo>
                      <a:lnTo>
                        <a:pt x="450" y="636"/>
                      </a:lnTo>
                      <a:lnTo>
                        <a:pt x="444" y="648"/>
                      </a:lnTo>
                      <a:lnTo>
                        <a:pt x="432" y="654"/>
                      </a:lnTo>
                      <a:lnTo>
                        <a:pt x="426" y="660"/>
                      </a:lnTo>
                      <a:lnTo>
                        <a:pt x="426" y="672"/>
                      </a:lnTo>
                      <a:lnTo>
                        <a:pt x="450" y="672"/>
                      </a:lnTo>
                      <a:lnTo>
                        <a:pt x="456" y="678"/>
                      </a:lnTo>
                      <a:lnTo>
                        <a:pt x="462" y="678"/>
                      </a:lnTo>
                      <a:lnTo>
                        <a:pt x="462" y="684"/>
                      </a:lnTo>
                      <a:lnTo>
                        <a:pt x="474" y="696"/>
                      </a:lnTo>
                      <a:lnTo>
                        <a:pt x="486" y="696"/>
                      </a:lnTo>
                      <a:lnTo>
                        <a:pt x="492" y="690"/>
                      </a:lnTo>
                      <a:lnTo>
                        <a:pt x="492" y="678"/>
                      </a:lnTo>
                      <a:lnTo>
                        <a:pt x="480" y="666"/>
                      </a:lnTo>
                      <a:lnTo>
                        <a:pt x="498" y="654"/>
                      </a:lnTo>
                      <a:lnTo>
                        <a:pt x="510" y="642"/>
                      </a:lnTo>
                      <a:lnTo>
                        <a:pt x="546" y="654"/>
                      </a:lnTo>
                      <a:lnTo>
                        <a:pt x="558" y="642"/>
                      </a:lnTo>
                      <a:lnTo>
                        <a:pt x="582" y="648"/>
                      </a:lnTo>
                      <a:lnTo>
                        <a:pt x="588" y="648"/>
                      </a:lnTo>
                      <a:lnTo>
                        <a:pt x="600" y="636"/>
                      </a:lnTo>
                      <a:lnTo>
                        <a:pt x="600" y="630"/>
                      </a:lnTo>
                      <a:lnTo>
                        <a:pt x="588" y="618"/>
                      </a:lnTo>
                      <a:lnTo>
                        <a:pt x="582" y="618"/>
                      </a:lnTo>
                      <a:lnTo>
                        <a:pt x="600" y="582"/>
                      </a:lnTo>
                      <a:lnTo>
                        <a:pt x="594" y="582"/>
                      </a:lnTo>
                      <a:lnTo>
                        <a:pt x="588" y="576"/>
                      </a:lnTo>
                      <a:lnTo>
                        <a:pt x="564" y="564"/>
                      </a:lnTo>
                      <a:lnTo>
                        <a:pt x="540" y="540"/>
                      </a:lnTo>
                      <a:lnTo>
                        <a:pt x="546" y="540"/>
                      </a:lnTo>
                      <a:lnTo>
                        <a:pt x="552" y="534"/>
                      </a:lnTo>
                      <a:lnTo>
                        <a:pt x="558" y="534"/>
                      </a:lnTo>
                      <a:lnTo>
                        <a:pt x="564" y="528"/>
                      </a:lnTo>
                      <a:lnTo>
                        <a:pt x="564" y="516"/>
                      </a:lnTo>
                      <a:lnTo>
                        <a:pt x="558" y="510"/>
                      </a:lnTo>
                      <a:lnTo>
                        <a:pt x="546" y="504"/>
                      </a:lnTo>
                      <a:lnTo>
                        <a:pt x="540" y="498"/>
                      </a:lnTo>
                      <a:lnTo>
                        <a:pt x="528" y="498"/>
                      </a:lnTo>
                      <a:lnTo>
                        <a:pt x="516" y="486"/>
                      </a:lnTo>
                      <a:lnTo>
                        <a:pt x="504" y="462"/>
                      </a:lnTo>
                      <a:lnTo>
                        <a:pt x="498" y="456"/>
                      </a:lnTo>
                      <a:lnTo>
                        <a:pt x="498" y="450"/>
                      </a:lnTo>
                      <a:lnTo>
                        <a:pt x="480" y="450"/>
                      </a:lnTo>
                      <a:lnTo>
                        <a:pt x="474" y="432"/>
                      </a:lnTo>
                      <a:lnTo>
                        <a:pt x="456" y="414"/>
                      </a:lnTo>
                      <a:lnTo>
                        <a:pt x="438" y="402"/>
                      </a:lnTo>
                      <a:lnTo>
                        <a:pt x="426" y="378"/>
                      </a:lnTo>
                      <a:lnTo>
                        <a:pt x="426" y="354"/>
                      </a:lnTo>
                      <a:lnTo>
                        <a:pt x="420" y="354"/>
                      </a:lnTo>
                      <a:lnTo>
                        <a:pt x="414" y="348"/>
                      </a:lnTo>
                      <a:lnTo>
                        <a:pt x="402" y="342"/>
                      </a:lnTo>
                      <a:lnTo>
                        <a:pt x="390" y="342"/>
                      </a:lnTo>
                      <a:lnTo>
                        <a:pt x="384" y="336"/>
                      </a:lnTo>
                      <a:lnTo>
                        <a:pt x="384" y="306"/>
                      </a:lnTo>
                      <a:lnTo>
                        <a:pt x="372" y="306"/>
                      </a:lnTo>
                      <a:lnTo>
                        <a:pt x="366" y="300"/>
                      </a:lnTo>
                      <a:lnTo>
                        <a:pt x="354" y="294"/>
                      </a:lnTo>
                      <a:lnTo>
                        <a:pt x="342" y="282"/>
                      </a:lnTo>
                      <a:lnTo>
                        <a:pt x="306" y="264"/>
                      </a:lnTo>
                      <a:lnTo>
                        <a:pt x="300" y="258"/>
                      </a:lnTo>
                      <a:lnTo>
                        <a:pt x="288" y="252"/>
                      </a:lnTo>
                      <a:lnTo>
                        <a:pt x="288" y="234"/>
                      </a:lnTo>
                      <a:lnTo>
                        <a:pt x="282" y="228"/>
                      </a:lnTo>
                      <a:lnTo>
                        <a:pt x="306" y="228"/>
                      </a:lnTo>
                      <a:lnTo>
                        <a:pt x="312" y="234"/>
                      </a:lnTo>
                      <a:lnTo>
                        <a:pt x="330" y="234"/>
                      </a:lnTo>
                      <a:lnTo>
                        <a:pt x="336" y="228"/>
                      </a:lnTo>
                      <a:lnTo>
                        <a:pt x="342" y="216"/>
                      </a:lnTo>
                      <a:lnTo>
                        <a:pt x="354" y="210"/>
                      </a:lnTo>
                      <a:lnTo>
                        <a:pt x="360" y="198"/>
                      </a:lnTo>
                      <a:lnTo>
                        <a:pt x="360" y="186"/>
                      </a:lnTo>
                      <a:lnTo>
                        <a:pt x="348" y="180"/>
                      </a:lnTo>
                      <a:lnTo>
                        <a:pt x="330" y="174"/>
                      </a:lnTo>
                      <a:lnTo>
                        <a:pt x="306" y="162"/>
                      </a:lnTo>
                      <a:lnTo>
                        <a:pt x="306" y="156"/>
                      </a:lnTo>
                      <a:lnTo>
                        <a:pt x="312" y="150"/>
                      </a:lnTo>
                      <a:lnTo>
                        <a:pt x="318" y="150"/>
                      </a:lnTo>
                      <a:lnTo>
                        <a:pt x="294" y="126"/>
                      </a:lnTo>
                      <a:lnTo>
                        <a:pt x="282" y="120"/>
                      </a:lnTo>
                      <a:lnTo>
                        <a:pt x="270" y="120"/>
                      </a:lnTo>
                      <a:lnTo>
                        <a:pt x="264" y="132"/>
                      </a:lnTo>
                      <a:lnTo>
                        <a:pt x="264" y="138"/>
                      </a:lnTo>
                      <a:lnTo>
                        <a:pt x="258" y="150"/>
                      </a:lnTo>
                      <a:lnTo>
                        <a:pt x="252" y="156"/>
                      </a:lnTo>
                      <a:lnTo>
                        <a:pt x="240" y="144"/>
                      </a:lnTo>
                      <a:lnTo>
                        <a:pt x="240" y="138"/>
                      </a:lnTo>
                      <a:lnTo>
                        <a:pt x="222" y="138"/>
                      </a:lnTo>
                      <a:lnTo>
                        <a:pt x="216" y="126"/>
                      </a:lnTo>
                      <a:lnTo>
                        <a:pt x="198" y="108"/>
                      </a:lnTo>
                      <a:lnTo>
                        <a:pt x="186" y="84"/>
                      </a:lnTo>
                      <a:lnTo>
                        <a:pt x="186" y="54"/>
                      </a:lnTo>
                      <a:lnTo>
                        <a:pt x="180" y="54"/>
                      </a:lnTo>
                      <a:lnTo>
                        <a:pt x="174" y="60"/>
                      </a:lnTo>
                      <a:lnTo>
                        <a:pt x="168" y="48"/>
                      </a:lnTo>
                      <a:lnTo>
                        <a:pt x="156" y="42"/>
                      </a:lnTo>
                      <a:lnTo>
                        <a:pt x="150" y="30"/>
                      </a:lnTo>
                      <a:lnTo>
                        <a:pt x="144" y="24"/>
                      </a:lnTo>
                      <a:lnTo>
                        <a:pt x="138" y="12"/>
                      </a:lnTo>
                      <a:lnTo>
                        <a:pt x="132" y="6"/>
                      </a:lnTo>
                      <a:lnTo>
                        <a:pt x="96" y="0"/>
                      </a:lnTo>
                      <a:lnTo>
                        <a:pt x="90" y="6"/>
                      </a:lnTo>
                      <a:lnTo>
                        <a:pt x="90" y="48"/>
                      </a:lnTo>
                      <a:lnTo>
                        <a:pt x="114" y="72"/>
                      </a:lnTo>
                      <a:lnTo>
                        <a:pt x="114" y="108"/>
                      </a:lnTo>
                      <a:lnTo>
                        <a:pt x="72" y="108"/>
                      </a:lnTo>
                      <a:lnTo>
                        <a:pt x="72" y="84"/>
                      </a:lnTo>
                      <a:lnTo>
                        <a:pt x="36" y="102"/>
                      </a:lnTo>
                      <a:lnTo>
                        <a:pt x="36" y="114"/>
                      </a:lnTo>
                      <a:lnTo>
                        <a:pt x="30" y="126"/>
                      </a:lnTo>
                      <a:lnTo>
                        <a:pt x="36" y="132"/>
                      </a:lnTo>
                      <a:lnTo>
                        <a:pt x="30" y="138"/>
                      </a:lnTo>
                      <a:lnTo>
                        <a:pt x="18" y="138"/>
                      </a:lnTo>
                      <a:lnTo>
                        <a:pt x="0" y="156"/>
                      </a:lnTo>
                      <a:lnTo>
                        <a:pt x="0" y="168"/>
                      </a:lnTo>
                      <a:lnTo>
                        <a:pt x="6" y="168"/>
                      </a:lnTo>
                      <a:lnTo>
                        <a:pt x="12" y="174"/>
                      </a:lnTo>
                      <a:lnTo>
                        <a:pt x="24" y="18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607" name="Kyrgyzstan"/>
                <p:cNvSpPr>
                  <a:spLocks/>
                </p:cNvSpPr>
                <p:nvPr/>
              </p:nvSpPr>
              <p:spPr bwMode="gray">
                <a:xfrm>
                  <a:off x="3830" y="1421"/>
                  <a:ext cx="172" cy="80"/>
                </a:xfrm>
                <a:custGeom>
                  <a:avLst/>
                  <a:gdLst>
                    <a:gd name="T0" fmla="*/ 2147483647 w 672"/>
                    <a:gd name="T1" fmla="*/ 2147483647 h 312"/>
                    <a:gd name="T2" fmla="*/ 2147483647 w 672"/>
                    <a:gd name="T3" fmla="*/ 2147483647 h 312"/>
                    <a:gd name="T4" fmla="*/ 2147483647 w 672"/>
                    <a:gd name="T5" fmla="*/ 2147483647 h 312"/>
                    <a:gd name="T6" fmla="*/ 2147483647 w 672"/>
                    <a:gd name="T7" fmla="*/ 2147483647 h 312"/>
                    <a:gd name="T8" fmla="*/ 2147483647 w 672"/>
                    <a:gd name="T9" fmla="*/ 2147483647 h 312"/>
                    <a:gd name="T10" fmla="*/ 2147483647 w 672"/>
                    <a:gd name="T11" fmla="*/ 2147483647 h 312"/>
                    <a:gd name="T12" fmla="*/ 2147483647 w 672"/>
                    <a:gd name="T13" fmla="*/ 2147483647 h 312"/>
                    <a:gd name="T14" fmla="*/ 2147483647 w 672"/>
                    <a:gd name="T15" fmla="*/ 2147483647 h 312"/>
                    <a:gd name="T16" fmla="*/ 2147483647 w 672"/>
                    <a:gd name="T17" fmla="*/ 2147483647 h 312"/>
                    <a:gd name="T18" fmla="*/ 2147483647 w 672"/>
                    <a:gd name="T19" fmla="*/ 2147483647 h 312"/>
                    <a:gd name="T20" fmla="*/ 2147483647 w 672"/>
                    <a:gd name="T21" fmla="*/ 2147483647 h 312"/>
                    <a:gd name="T22" fmla="*/ 2147483647 w 672"/>
                    <a:gd name="T23" fmla="*/ 2147483647 h 312"/>
                    <a:gd name="T24" fmla="*/ 0 w 672"/>
                    <a:gd name="T25" fmla="*/ 2147483647 h 312"/>
                    <a:gd name="T26" fmla="*/ 2147483647 w 672"/>
                    <a:gd name="T27" fmla="*/ 2147483647 h 312"/>
                    <a:gd name="T28" fmla="*/ 2147483647 w 672"/>
                    <a:gd name="T29" fmla="*/ 2147483647 h 312"/>
                    <a:gd name="T30" fmla="*/ 2147483647 w 672"/>
                    <a:gd name="T31" fmla="*/ 2147483647 h 312"/>
                    <a:gd name="T32" fmla="*/ 2147483647 w 672"/>
                    <a:gd name="T33" fmla="*/ 2147483647 h 312"/>
                    <a:gd name="T34" fmla="*/ 2147483647 w 672"/>
                    <a:gd name="T35" fmla="*/ 2147483647 h 312"/>
                    <a:gd name="T36" fmla="*/ 2147483647 w 672"/>
                    <a:gd name="T37" fmla="*/ 2147483647 h 312"/>
                    <a:gd name="T38" fmla="*/ 2147483647 w 672"/>
                    <a:gd name="T39" fmla="*/ 2147483647 h 312"/>
                    <a:gd name="T40" fmla="*/ 2147483647 w 672"/>
                    <a:gd name="T41" fmla="*/ 2147483647 h 312"/>
                    <a:gd name="T42" fmla="*/ 2147483647 w 672"/>
                    <a:gd name="T43" fmla="*/ 2147483647 h 312"/>
                    <a:gd name="T44" fmla="*/ 2147483647 w 672"/>
                    <a:gd name="T45" fmla="*/ 2147483647 h 312"/>
                    <a:gd name="T46" fmla="*/ 2147483647 w 672"/>
                    <a:gd name="T47" fmla="*/ 2147483647 h 312"/>
                    <a:gd name="T48" fmla="*/ 2147483647 w 672"/>
                    <a:gd name="T49" fmla="*/ 2147483647 h 312"/>
                    <a:gd name="T50" fmla="*/ 2147483647 w 672"/>
                    <a:gd name="T51" fmla="*/ 2147483647 h 312"/>
                    <a:gd name="T52" fmla="*/ 2147483647 w 672"/>
                    <a:gd name="T53" fmla="*/ 2147483647 h 312"/>
                    <a:gd name="T54" fmla="*/ 2147483647 w 672"/>
                    <a:gd name="T55" fmla="*/ 2147483647 h 312"/>
                    <a:gd name="T56" fmla="*/ 2147483647 w 672"/>
                    <a:gd name="T57" fmla="*/ 2147483647 h 312"/>
                    <a:gd name="T58" fmla="*/ 2147483647 w 672"/>
                    <a:gd name="T59" fmla="*/ 2147483647 h 312"/>
                    <a:gd name="T60" fmla="*/ 2147483647 w 672"/>
                    <a:gd name="T61" fmla="*/ 2147483647 h 312"/>
                    <a:gd name="T62" fmla="*/ 2147483647 w 672"/>
                    <a:gd name="T63" fmla="*/ 2147483647 h 312"/>
                    <a:gd name="T64" fmla="*/ 2147483647 w 672"/>
                    <a:gd name="T65" fmla="*/ 2147483647 h 312"/>
                    <a:gd name="T66" fmla="*/ 2147483647 w 672"/>
                    <a:gd name="T67" fmla="*/ 2147483647 h 312"/>
                    <a:gd name="T68" fmla="*/ 2147483647 w 672"/>
                    <a:gd name="T69" fmla="*/ 2147483647 h 312"/>
                    <a:gd name="T70" fmla="*/ 2147483647 w 672"/>
                    <a:gd name="T71" fmla="*/ 2147483647 h 312"/>
                    <a:gd name="T72" fmla="*/ 2147483647 w 672"/>
                    <a:gd name="T73" fmla="*/ 2147483647 h 312"/>
                    <a:gd name="T74" fmla="*/ 2147483647 w 672"/>
                    <a:gd name="T75" fmla="*/ 2147483647 h 312"/>
                    <a:gd name="T76" fmla="*/ 2147483647 w 672"/>
                    <a:gd name="T77" fmla="*/ 0 h 312"/>
                    <a:gd name="T78" fmla="*/ 2147483647 w 672"/>
                    <a:gd name="T79" fmla="*/ 2147483647 h 312"/>
                    <a:gd name="T80" fmla="*/ 2147483647 w 672"/>
                    <a:gd name="T81" fmla="*/ 2147483647 h 312"/>
                    <a:gd name="T82" fmla="*/ 2147483647 w 672"/>
                    <a:gd name="T83" fmla="*/ 2147483647 h 312"/>
                    <a:gd name="T84" fmla="*/ 2147483647 w 672"/>
                    <a:gd name="T85" fmla="*/ 2147483647 h 312"/>
                    <a:gd name="T86" fmla="*/ 2147483647 w 672"/>
                    <a:gd name="T87" fmla="*/ 2147483647 h 312"/>
                    <a:gd name="T88" fmla="*/ 2147483647 w 672"/>
                    <a:gd name="T89" fmla="*/ 2147483647 h 31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672"/>
                    <a:gd name="T136" fmla="*/ 0 h 312"/>
                    <a:gd name="T137" fmla="*/ 672 w 672"/>
                    <a:gd name="T138" fmla="*/ 312 h 312"/>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672" h="312">
                      <a:moveTo>
                        <a:pt x="36" y="132"/>
                      </a:moveTo>
                      <a:lnTo>
                        <a:pt x="66" y="144"/>
                      </a:lnTo>
                      <a:lnTo>
                        <a:pt x="78" y="156"/>
                      </a:lnTo>
                      <a:lnTo>
                        <a:pt x="114" y="156"/>
                      </a:lnTo>
                      <a:lnTo>
                        <a:pt x="114" y="144"/>
                      </a:lnTo>
                      <a:lnTo>
                        <a:pt x="126" y="144"/>
                      </a:lnTo>
                      <a:lnTo>
                        <a:pt x="126" y="132"/>
                      </a:lnTo>
                      <a:lnTo>
                        <a:pt x="144" y="156"/>
                      </a:lnTo>
                      <a:lnTo>
                        <a:pt x="162" y="156"/>
                      </a:lnTo>
                      <a:lnTo>
                        <a:pt x="168" y="174"/>
                      </a:lnTo>
                      <a:lnTo>
                        <a:pt x="192" y="174"/>
                      </a:lnTo>
                      <a:lnTo>
                        <a:pt x="198" y="186"/>
                      </a:lnTo>
                      <a:lnTo>
                        <a:pt x="204" y="186"/>
                      </a:lnTo>
                      <a:lnTo>
                        <a:pt x="216" y="180"/>
                      </a:lnTo>
                      <a:lnTo>
                        <a:pt x="228" y="180"/>
                      </a:lnTo>
                      <a:lnTo>
                        <a:pt x="228" y="192"/>
                      </a:lnTo>
                      <a:lnTo>
                        <a:pt x="216" y="204"/>
                      </a:lnTo>
                      <a:lnTo>
                        <a:pt x="204" y="210"/>
                      </a:lnTo>
                      <a:lnTo>
                        <a:pt x="192" y="210"/>
                      </a:lnTo>
                      <a:lnTo>
                        <a:pt x="192" y="216"/>
                      </a:lnTo>
                      <a:lnTo>
                        <a:pt x="174" y="222"/>
                      </a:lnTo>
                      <a:lnTo>
                        <a:pt x="156" y="240"/>
                      </a:lnTo>
                      <a:lnTo>
                        <a:pt x="150" y="240"/>
                      </a:lnTo>
                      <a:lnTo>
                        <a:pt x="144" y="234"/>
                      </a:lnTo>
                      <a:lnTo>
                        <a:pt x="138" y="234"/>
                      </a:lnTo>
                      <a:lnTo>
                        <a:pt x="132" y="228"/>
                      </a:lnTo>
                      <a:lnTo>
                        <a:pt x="114" y="228"/>
                      </a:lnTo>
                      <a:lnTo>
                        <a:pt x="102" y="234"/>
                      </a:lnTo>
                      <a:lnTo>
                        <a:pt x="96" y="234"/>
                      </a:lnTo>
                      <a:lnTo>
                        <a:pt x="96" y="246"/>
                      </a:lnTo>
                      <a:lnTo>
                        <a:pt x="90" y="252"/>
                      </a:lnTo>
                      <a:lnTo>
                        <a:pt x="84" y="252"/>
                      </a:lnTo>
                      <a:lnTo>
                        <a:pt x="72" y="246"/>
                      </a:lnTo>
                      <a:lnTo>
                        <a:pt x="36" y="234"/>
                      </a:lnTo>
                      <a:lnTo>
                        <a:pt x="24" y="234"/>
                      </a:lnTo>
                      <a:lnTo>
                        <a:pt x="18" y="240"/>
                      </a:lnTo>
                      <a:lnTo>
                        <a:pt x="18" y="252"/>
                      </a:lnTo>
                      <a:lnTo>
                        <a:pt x="12" y="258"/>
                      </a:lnTo>
                      <a:lnTo>
                        <a:pt x="0" y="264"/>
                      </a:lnTo>
                      <a:lnTo>
                        <a:pt x="0" y="276"/>
                      </a:lnTo>
                      <a:lnTo>
                        <a:pt x="6" y="282"/>
                      </a:lnTo>
                      <a:lnTo>
                        <a:pt x="6" y="288"/>
                      </a:lnTo>
                      <a:lnTo>
                        <a:pt x="12" y="294"/>
                      </a:lnTo>
                      <a:lnTo>
                        <a:pt x="24" y="288"/>
                      </a:lnTo>
                      <a:lnTo>
                        <a:pt x="36" y="288"/>
                      </a:lnTo>
                      <a:lnTo>
                        <a:pt x="42" y="282"/>
                      </a:lnTo>
                      <a:lnTo>
                        <a:pt x="60" y="282"/>
                      </a:lnTo>
                      <a:lnTo>
                        <a:pt x="72" y="288"/>
                      </a:lnTo>
                      <a:lnTo>
                        <a:pt x="96" y="288"/>
                      </a:lnTo>
                      <a:lnTo>
                        <a:pt x="108" y="300"/>
                      </a:lnTo>
                      <a:lnTo>
                        <a:pt x="126" y="300"/>
                      </a:lnTo>
                      <a:lnTo>
                        <a:pt x="132" y="294"/>
                      </a:lnTo>
                      <a:lnTo>
                        <a:pt x="144" y="288"/>
                      </a:lnTo>
                      <a:lnTo>
                        <a:pt x="150" y="282"/>
                      </a:lnTo>
                      <a:lnTo>
                        <a:pt x="180" y="312"/>
                      </a:lnTo>
                      <a:lnTo>
                        <a:pt x="192" y="306"/>
                      </a:lnTo>
                      <a:lnTo>
                        <a:pt x="198" y="306"/>
                      </a:lnTo>
                      <a:lnTo>
                        <a:pt x="198" y="312"/>
                      </a:lnTo>
                      <a:lnTo>
                        <a:pt x="210" y="312"/>
                      </a:lnTo>
                      <a:lnTo>
                        <a:pt x="222" y="306"/>
                      </a:lnTo>
                      <a:lnTo>
                        <a:pt x="228" y="300"/>
                      </a:lnTo>
                      <a:lnTo>
                        <a:pt x="270" y="300"/>
                      </a:lnTo>
                      <a:lnTo>
                        <a:pt x="282" y="288"/>
                      </a:lnTo>
                      <a:lnTo>
                        <a:pt x="300" y="294"/>
                      </a:lnTo>
                      <a:lnTo>
                        <a:pt x="318" y="294"/>
                      </a:lnTo>
                      <a:lnTo>
                        <a:pt x="318" y="282"/>
                      </a:lnTo>
                      <a:lnTo>
                        <a:pt x="312" y="270"/>
                      </a:lnTo>
                      <a:lnTo>
                        <a:pt x="300" y="264"/>
                      </a:lnTo>
                      <a:lnTo>
                        <a:pt x="300" y="258"/>
                      </a:lnTo>
                      <a:lnTo>
                        <a:pt x="306" y="252"/>
                      </a:lnTo>
                      <a:lnTo>
                        <a:pt x="318" y="246"/>
                      </a:lnTo>
                      <a:lnTo>
                        <a:pt x="330" y="246"/>
                      </a:lnTo>
                      <a:lnTo>
                        <a:pt x="336" y="240"/>
                      </a:lnTo>
                      <a:lnTo>
                        <a:pt x="348" y="234"/>
                      </a:lnTo>
                      <a:lnTo>
                        <a:pt x="348" y="216"/>
                      </a:lnTo>
                      <a:lnTo>
                        <a:pt x="372" y="216"/>
                      </a:lnTo>
                      <a:lnTo>
                        <a:pt x="384" y="204"/>
                      </a:lnTo>
                      <a:lnTo>
                        <a:pt x="396" y="204"/>
                      </a:lnTo>
                      <a:lnTo>
                        <a:pt x="402" y="210"/>
                      </a:lnTo>
                      <a:lnTo>
                        <a:pt x="408" y="222"/>
                      </a:lnTo>
                      <a:lnTo>
                        <a:pt x="414" y="228"/>
                      </a:lnTo>
                      <a:lnTo>
                        <a:pt x="426" y="222"/>
                      </a:lnTo>
                      <a:lnTo>
                        <a:pt x="456" y="228"/>
                      </a:lnTo>
                      <a:lnTo>
                        <a:pt x="462" y="222"/>
                      </a:lnTo>
                      <a:lnTo>
                        <a:pt x="462" y="198"/>
                      </a:lnTo>
                      <a:lnTo>
                        <a:pt x="468" y="186"/>
                      </a:lnTo>
                      <a:lnTo>
                        <a:pt x="486" y="168"/>
                      </a:lnTo>
                      <a:lnTo>
                        <a:pt x="516" y="168"/>
                      </a:lnTo>
                      <a:lnTo>
                        <a:pt x="534" y="174"/>
                      </a:lnTo>
                      <a:lnTo>
                        <a:pt x="552" y="174"/>
                      </a:lnTo>
                      <a:lnTo>
                        <a:pt x="558" y="168"/>
                      </a:lnTo>
                      <a:lnTo>
                        <a:pt x="564" y="156"/>
                      </a:lnTo>
                      <a:lnTo>
                        <a:pt x="564" y="138"/>
                      </a:lnTo>
                      <a:lnTo>
                        <a:pt x="570" y="132"/>
                      </a:lnTo>
                      <a:lnTo>
                        <a:pt x="582" y="126"/>
                      </a:lnTo>
                      <a:lnTo>
                        <a:pt x="594" y="114"/>
                      </a:lnTo>
                      <a:lnTo>
                        <a:pt x="642" y="96"/>
                      </a:lnTo>
                      <a:lnTo>
                        <a:pt x="666" y="96"/>
                      </a:lnTo>
                      <a:lnTo>
                        <a:pt x="672" y="90"/>
                      </a:lnTo>
                      <a:lnTo>
                        <a:pt x="672" y="78"/>
                      </a:lnTo>
                      <a:lnTo>
                        <a:pt x="660" y="66"/>
                      </a:lnTo>
                      <a:lnTo>
                        <a:pt x="642" y="60"/>
                      </a:lnTo>
                      <a:lnTo>
                        <a:pt x="600" y="60"/>
                      </a:lnTo>
                      <a:lnTo>
                        <a:pt x="576" y="30"/>
                      </a:lnTo>
                      <a:lnTo>
                        <a:pt x="558" y="30"/>
                      </a:lnTo>
                      <a:lnTo>
                        <a:pt x="546" y="18"/>
                      </a:lnTo>
                      <a:lnTo>
                        <a:pt x="498" y="24"/>
                      </a:lnTo>
                      <a:lnTo>
                        <a:pt x="486" y="24"/>
                      </a:lnTo>
                      <a:lnTo>
                        <a:pt x="474" y="18"/>
                      </a:lnTo>
                      <a:lnTo>
                        <a:pt x="354" y="18"/>
                      </a:lnTo>
                      <a:lnTo>
                        <a:pt x="336" y="24"/>
                      </a:lnTo>
                      <a:lnTo>
                        <a:pt x="318" y="24"/>
                      </a:lnTo>
                      <a:lnTo>
                        <a:pt x="306" y="18"/>
                      </a:lnTo>
                      <a:lnTo>
                        <a:pt x="282" y="18"/>
                      </a:lnTo>
                      <a:lnTo>
                        <a:pt x="276" y="6"/>
                      </a:lnTo>
                      <a:lnTo>
                        <a:pt x="264" y="0"/>
                      </a:lnTo>
                      <a:lnTo>
                        <a:pt x="222" y="0"/>
                      </a:lnTo>
                      <a:lnTo>
                        <a:pt x="216" y="6"/>
                      </a:lnTo>
                      <a:lnTo>
                        <a:pt x="216" y="36"/>
                      </a:lnTo>
                      <a:lnTo>
                        <a:pt x="222" y="48"/>
                      </a:lnTo>
                      <a:lnTo>
                        <a:pt x="222" y="60"/>
                      </a:lnTo>
                      <a:lnTo>
                        <a:pt x="204" y="54"/>
                      </a:lnTo>
                      <a:lnTo>
                        <a:pt x="174" y="54"/>
                      </a:lnTo>
                      <a:lnTo>
                        <a:pt x="138" y="36"/>
                      </a:lnTo>
                      <a:lnTo>
                        <a:pt x="120" y="30"/>
                      </a:lnTo>
                      <a:lnTo>
                        <a:pt x="108" y="24"/>
                      </a:lnTo>
                      <a:lnTo>
                        <a:pt x="78" y="24"/>
                      </a:lnTo>
                      <a:lnTo>
                        <a:pt x="60" y="42"/>
                      </a:lnTo>
                      <a:lnTo>
                        <a:pt x="54" y="54"/>
                      </a:lnTo>
                      <a:lnTo>
                        <a:pt x="54" y="72"/>
                      </a:lnTo>
                      <a:lnTo>
                        <a:pt x="72" y="72"/>
                      </a:lnTo>
                      <a:lnTo>
                        <a:pt x="78" y="78"/>
                      </a:lnTo>
                      <a:lnTo>
                        <a:pt x="84" y="78"/>
                      </a:lnTo>
                      <a:lnTo>
                        <a:pt x="84" y="84"/>
                      </a:lnTo>
                      <a:lnTo>
                        <a:pt x="36" y="132"/>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608" name="Kuwait"/>
                <p:cNvSpPr>
                  <a:spLocks/>
                </p:cNvSpPr>
                <p:nvPr/>
              </p:nvSpPr>
              <p:spPr bwMode="gray">
                <a:xfrm>
                  <a:off x="3476" y="1691"/>
                  <a:ext cx="35" cy="31"/>
                </a:xfrm>
                <a:custGeom>
                  <a:avLst/>
                  <a:gdLst>
                    <a:gd name="T0" fmla="*/ 2147483647 w 138"/>
                    <a:gd name="T1" fmla="*/ 0 h 120"/>
                    <a:gd name="T2" fmla="*/ 2147483647 w 138"/>
                    <a:gd name="T3" fmla="*/ 0 h 120"/>
                    <a:gd name="T4" fmla="*/ 2147483647 w 138"/>
                    <a:gd name="T5" fmla="*/ 2147483647 h 120"/>
                    <a:gd name="T6" fmla="*/ 2147483647 w 138"/>
                    <a:gd name="T7" fmla="*/ 2147483647 h 120"/>
                    <a:gd name="T8" fmla="*/ 2147483647 w 138"/>
                    <a:gd name="T9" fmla="*/ 2147483647 h 120"/>
                    <a:gd name="T10" fmla="*/ 2147483647 w 138"/>
                    <a:gd name="T11" fmla="*/ 2147483647 h 120"/>
                    <a:gd name="T12" fmla="*/ 0 w 138"/>
                    <a:gd name="T13" fmla="*/ 2147483647 h 120"/>
                    <a:gd name="T14" fmla="*/ 2147483647 w 138"/>
                    <a:gd name="T15" fmla="*/ 2147483647 h 120"/>
                    <a:gd name="T16" fmla="*/ 2147483647 w 138"/>
                    <a:gd name="T17" fmla="*/ 2147483647 h 120"/>
                    <a:gd name="T18" fmla="*/ 2147483647 w 138"/>
                    <a:gd name="T19" fmla="*/ 2147483647 h 120"/>
                    <a:gd name="T20" fmla="*/ 2147483647 w 138"/>
                    <a:gd name="T21" fmla="*/ 2147483647 h 120"/>
                    <a:gd name="T22" fmla="*/ 2147483647 w 138"/>
                    <a:gd name="T23" fmla="*/ 2147483647 h 120"/>
                    <a:gd name="T24" fmla="*/ 2147483647 w 138"/>
                    <a:gd name="T25" fmla="*/ 2147483647 h 120"/>
                    <a:gd name="T26" fmla="*/ 2147483647 w 138"/>
                    <a:gd name="T27" fmla="*/ 2147483647 h 120"/>
                    <a:gd name="T28" fmla="*/ 2147483647 w 138"/>
                    <a:gd name="T29" fmla="*/ 2147483647 h 120"/>
                    <a:gd name="T30" fmla="*/ 2147483647 w 138"/>
                    <a:gd name="T31" fmla="*/ 2147483647 h 120"/>
                    <a:gd name="T32" fmla="*/ 2147483647 w 138"/>
                    <a:gd name="T33" fmla="*/ 2147483647 h 120"/>
                    <a:gd name="T34" fmla="*/ 2147483647 w 138"/>
                    <a:gd name="T35" fmla="*/ 2147483647 h 120"/>
                    <a:gd name="T36" fmla="*/ 2147483647 w 138"/>
                    <a:gd name="T37" fmla="*/ 2147483647 h 120"/>
                    <a:gd name="T38" fmla="*/ 2147483647 w 138"/>
                    <a:gd name="T39" fmla="*/ 2147483647 h 120"/>
                    <a:gd name="T40" fmla="*/ 2147483647 w 138"/>
                    <a:gd name="T41" fmla="*/ 2147483647 h 120"/>
                    <a:gd name="T42" fmla="*/ 2147483647 w 138"/>
                    <a:gd name="T43" fmla="*/ 2147483647 h 120"/>
                    <a:gd name="T44" fmla="*/ 2147483647 w 138"/>
                    <a:gd name="T45" fmla="*/ 2147483647 h 120"/>
                    <a:gd name="T46" fmla="*/ 2147483647 w 138"/>
                    <a:gd name="T47" fmla="*/ 2147483647 h 120"/>
                    <a:gd name="T48" fmla="*/ 2147483647 w 138"/>
                    <a:gd name="T49" fmla="*/ 0 h 120"/>
                    <a:gd name="T50" fmla="*/ 2147483647 w 138"/>
                    <a:gd name="T51" fmla="*/ 0 h 12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38"/>
                    <a:gd name="T79" fmla="*/ 0 h 120"/>
                    <a:gd name="T80" fmla="*/ 138 w 138"/>
                    <a:gd name="T81" fmla="*/ 120 h 12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38" h="120">
                      <a:moveTo>
                        <a:pt x="54" y="0"/>
                      </a:moveTo>
                      <a:lnTo>
                        <a:pt x="36" y="0"/>
                      </a:lnTo>
                      <a:lnTo>
                        <a:pt x="30" y="12"/>
                      </a:lnTo>
                      <a:lnTo>
                        <a:pt x="24" y="18"/>
                      </a:lnTo>
                      <a:lnTo>
                        <a:pt x="24" y="30"/>
                      </a:lnTo>
                      <a:lnTo>
                        <a:pt x="6" y="66"/>
                      </a:lnTo>
                      <a:lnTo>
                        <a:pt x="0" y="72"/>
                      </a:lnTo>
                      <a:lnTo>
                        <a:pt x="42" y="72"/>
                      </a:lnTo>
                      <a:lnTo>
                        <a:pt x="60" y="78"/>
                      </a:lnTo>
                      <a:lnTo>
                        <a:pt x="66" y="78"/>
                      </a:lnTo>
                      <a:lnTo>
                        <a:pt x="66" y="114"/>
                      </a:lnTo>
                      <a:lnTo>
                        <a:pt x="72" y="120"/>
                      </a:lnTo>
                      <a:lnTo>
                        <a:pt x="138" y="120"/>
                      </a:lnTo>
                      <a:lnTo>
                        <a:pt x="126" y="114"/>
                      </a:lnTo>
                      <a:lnTo>
                        <a:pt x="114" y="102"/>
                      </a:lnTo>
                      <a:lnTo>
                        <a:pt x="102" y="78"/>
                      </a:lnTo>
                      <a:lnTo>
                        <a:pt x="102" y="66"/>
                      </a:lnTo>
                      <a:lnTo>
                        <a:pt x="90" y="60"/>
                      </a:lnTo>
                      <a:lnTo>
                        <a:pt x="84" y="36"/>
                      </a:lnTo>
                      <a:lnTo>
                        <a:pt x="120" y="36"/>
                      </a:lnTo>
                      <a:lnTo>
                        <a:pt x="120" y="18"/>
                      </a:lnTo>
                      <a:lnTo>
                        <a:pt x="114" y="12"/>
                      </a:lnTo>
                      <a:lnTo>
                        <a:pt x="90" y="12"/>
                      </a:lnTo>
                      <a:lnTo>
                        <a:pt x="90" y="18"/>
                      </a:lnTo>
                      <a:lnTo>
                        <a:pt x="84" y="0"/>
                      </a:lnTo>
                      <a:lnTo>
                        <a:pt x="54" y="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609" name="Korea, South"/>
                <p:cNvSpPr>
                  <a:spLocks noEditPoints="1"/>
                </p:cNvSpPr>
                <p:nvPr/>
              </p:nvSpPr>
              <p:spPr bwMode="gray">
                <a:xfrm>
                  <a:off x="4811" y="1516"/>
                  <a:ext cx="70" cy="109"/>
                </a:xfrm>
                <a:custGeom>
                  <a:avLst/>
                  <a:gdLst>
                    <a:gd name="T0" fmla="*/ 2147483647 w 276"/>
                    <a:gd name="T1" fmla="*/ 2147483647 h 426"/>
                    <a:gd name="T2" fmla="*/ 2147483647 w 276"/>
                    <a:gd name="T3" fmla="*/ 2147483647 h 426"/>
                    <a:gd name="T4" fmla="*/ 2147483647 w 276"/>
                    <a:gd name="T5" fmla="*/ 2147483647 h 426"/>
                    <a:gd name="T6" fmla="*/ 2147483647 w 276"/>
                    <a:gd name="T7" fmla="*/ 2147483647 h 426"/>
                    <a:gd name="T8" fmla="*/ 2147483647 w 276"/>
                    <a:gd name="T9" fmla="*/ 2147483647 h 426"/>
                    <a:gd name="T10" fmla="*/ 2147483647 w 276"/>
                    <a:gd name="T11" fmla="*/ 2147483647 h 426"/>
                    <a:gd name="T12" fmla="*/ 2147483647 w 276"/>
                    <a:gd name="T13" fmla="*/ 2147483647 h 426"/>
                    <a:gd name="T14" fmla="*/ 2147483647 w 276"/>
                    <a:gd name="T15" fmla="*/ 2147483647 h 426"/>
                    <a:gd name="T16" fmla="*/ 2147483647 w 276"/>
                    <a:gd name="T17" fmla="*/ 2147483647 h 426"/>
                    <a:gd name="T18" fmla="*/ 2147483647 w 276"/>
                    <a:gd name="T19" fmla="*/ 2147483647 h 426"/>
                    <a:gd name="T20" fmla="*/ 2147483647 w 276"/>
                    <a:gd name="T21" fmla="*/ 2147483647 h 426"/>
                    <a:gd name="T22" fmla="*/ 2147483647 w 276"/>
                    <a:gd name="T23" fmla="*/ 2147483647 h 426"/>
                    <a:gd name="T24" fmla="*/ 2147483647 w 276"/>
                    <a:gd name="T25" fmla="*/ 0 h 426"/>
                    <a:gd name="T26" fmla="*/ 2147483647 w 276"/>
                    <a:gd name="T27" fmla="*/ 2147483647 h 426"/>
                    <a:gd name="T28" fmla="*/ 2147483647 w 276"/>
                    <a:gd name="T29" fmla="*/ 2147483647 h 426"/>
                    <a:gd name="T30" fmla="*/ 2147483647 w 276"/>
                    <a:gd name="T31" fmla="*/ 2147483647 h 426"/>
                    <a:gd name="T32" fmla="*/ 2147483647 w 276"/>
                    <a:gd name="T33" fmla="*/ 2147483647 h 426"/>
                    <a:gd name="T34" fmla="*/ 0 w 276"/>
                    <a:gd name="T35" fmla="*/ 2147483647 h 426"/>
                    <a:gd name="T36" fmla="*/ 2147483647 w 276"/>
                    <a:gd name="T37" fmla="*/ 2147483647 h 426"/>
                    <a:gd name="T38" fmla="*/ 2147483647 w 276"/>
                    <a:gd name="T39" fmla="*/ 2147483647 h 426"/>
                    <a:gd name="T40" fmla="*/ 2147483647 w 276"/>
                    <a:gd name="T41" fmla="*/ 2147483647 h 426"/>
                    <a:gd name="T42" fmla="*/ 2147483647 w 276"/>
                    <a:gd name="T43" fmla="*/ 2147483647 h 426"/>
                    <a:gd name="T44" fmla="*/ 2147483647 w 276"/>
                    <a:gd name="T45" fmla="*/ 2147483647 h 426"/>
                    <a:gd name="T46" fmla="*/ 2147483647 w 276"/>
                    <a:gd name="T47" fmla="*/ 2147483647 h 426"/>
                    <a:gd name="T48" fmla="*/ 2147483647 w 276"/>
                    <a:gd name="T49" fmla="*/ 2147483647 h 426"/>
                    <a:gd name="T50" fmla="*/ 2147483647 w 276"/>
                    <a:gd name="T51" fmla="*/ 2147483647 h 426"/>
                    <a:gd name="T52" fmla="*/ 2147483647 w 276"/>
                    <a:gd name="T53" fmla="*/ 2147483647 h 426"/>
                    <a:gd name="T54" fmla="*/ 2147483647 w 276"/>
                    <a:gd name="T55" fmla="*/ 2147483647 h 426"/>
                    <a:gd name="T56" fmla="*/ 2147483647 w 276"/>
                    <a:gd name="T57" fmla="*/ 2147483647 h 426"/>
                    <a:gd name="T58" fmla="*/ 2147483647 w 276"/>
                    <a:gd name="T59" fmla="*/ 2147483647 h 426"/>
                    <a:gd name="T60" fmla="*/ 2147483647 w 276"/>
                    <a:gd name="T61" fmla="*/ 2147483647 h 426"/>
                    <a:gd name="T62" fmla="*/ 2147483647 w 276"/>
                    <a:gd name="T63" fmla="*/ 2147483647 h 426"/>
                    <a:gd name="T64" fmla="*/ 2147483647 w 276"/>
                    <a:gd name="T65" fmla="*/ 2147483647 h 426"/>
                    <a:gd name="T66" fmla="*/ 2147483647 w 276"/>
                    <a:gd name="T67" fmla="*/ 2147483647 h 426"/>
                    <a:gd name="T68" fmla="*/ 2147483647 w 276"/>
                    <a:gd name="T69" fmla="*/ 2147483647 h 426"/>
                    <a:gd name="T70" fmla="*/ 2147483647 w 276"/>
                    <a:gd name="T71" fmla="*/ 2147483647 h 426"/>
                    <a:gd name="T72" fmla="*/ 2147483647 w 276"/>
                    <a:gd name="T73" fmla="*/ 2147483647 h 426"/>
                    <a:gd name="T74" fmla="*/ 2147483647 w 276"/>
                    <a:gd name="T75" fmla="*/ 2147483647 h 42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76"/>
                    <a:gd name="T115" fmla="*/ 0 h 426"/>
                    <a:gd name="T116" fmla="*/ 276 w 276"/>
                    <a:gd name="T117" fmla="*/ 426 h 42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76" h="426">
                      <a:moveTo>
                        <a:pt x="150" y="402"/>
                      </a:moveTo>
                      <a:lnTo>
                        <a:pt x="132" y="408"/>
                      </a:lnTo>
                      <a:lnTo>
                        <a:pt x="126" y="414"/>
                      </a:lnTo>
                      <a:lnTo>
                        <a:pt x="138" y="426"/>
                      </a:lnTo>
                      <a:lnTo>
                        <a:pt x="162" y="426"/>
                      </a:lnTo>
                      <a:lnTo>
                        <a:pt x="174" y="414"/>
                      </a:lnTo>
                      <a:lnTo>
                        <a:pt x="174" y="408"/>
                      </a:lnTo>
                      <a:lnTo>
                        <a:pt x="168" y="402"/>
                      </a:lnTo>
                      <a:lnTo>
                        <a:pt x="150" y="402"/>
                      </a:lnTo>
                      <a:close/>
                      <a:moveTo>
                        <a:pt x="276" y="246"/>
                      </a:moveTo>
                      <a:lnTo>
                        <a:pt x="270" y="228"/>
                      </a:lnTo>
                      <a:lnTo>
                        <a:pt x="264" y="216"/>
                      </a:lnTo>
                      <a:lnTo>
                        <a:pt x="246" y="198"/>
                      </a:lnTo>
                      <a:lnTo>
                        <a:pt x="252" y="186"/>
                      </a:lnTo>
                      <a:lnTo>
                        <a:pt x="252" y="180"/>
                      </a:lnTo>
                      <a:lnTo>
                        <a:pt x="246" y="162"/>
                      </a:lnTo>
                      <a:lnTo>
                        <a:pt x="240" y="150"/>
                      </a:lnTo>
                      <a:lnTo>
                        <a:pt x="210" y="120"/>
                      </a:lnTo>
                      <a:lnTo>
                        <a:pt x="198" y="102"/>
                      </a:lnTo>
                      <a:lnTo>
                        <a:pt x="168" y="72"/>
                      </a:lnTo>
                      <a:lnTo>
                        <a:pt x="144" y="66"/>
                      </a:lnTo>
                      <a:lnTo>
                        <a:pt x="144" y="60"/>
                      </a:lnTo>
                      <a:lnTo>
                        <a:pt x="138" y="54"/>
                      </a:lnTo>
                      <a:lnTo>
                        <a:pt x="132" y="42"/>
                      </a:lnTo>
                      <a:lnTo>
                        <a:pt x="102" y="12"/>
                      </a:lnTo>
                      <a:lnTo>
                        <a:pt x="96" y="0"/>
                      </a:lnTo>
                      <a:lnTo>
                        <a:pt x="78" y="12"/>
                      </a:lnTo>
                      <a:lnTo>
                        <a:pt x="48" y="12"/>
                      </a:lnTo>
                      <a:lnTo>
                        <a:pt x="24" y="24"/>
                      </a:lnTo>
                      <a:lnTo>
                        <a:pt x="18" y="30"/>
                      </a:lnTo>
                      <a:lnTo>
                        <a:pt x="12" y="30"/>
                      </a:lnTo>
                      <a:lnTo>
                        <a:pt x="12" y="36"/>
                      </a:lnTo>
                      <a:lnTo>
                        <a:pt x="18" y="42"/>
                      </a:lnTo>
                      <a:lnTo>
                        <a:pt x="18" y="48"/>
                      </a:lnTo>
                      <a:lnTo>
                        <a:pt x="12" y="54"/>
                      </a:lnTo>
                      <a:lnTo>
                        <a:pt x="0" y="60"/>
                      </a:lnTo>
                      <a:lnTo>
                        <a:pt x="0" y="66"/>
                      </a:lnTo>
                      <a:lnTo>
                        <a:pt x="6" y="72"/>
                      </a:lnTo>
                      <a:lnTo>
                        <a:pt x="12" y="84"/>
                      </a:lnTo>
                      <a:lnTo>
                        <a:pt x="24" y="90"/>
                      </a:lnTo>
                      <a:lnTo>
                        <a:pt x="30" y="90"/>
                      </a:lnTo>
                      <a:lnTo>
                        <a:pt x="42" y="96"/>
                      </a:lnTo>
                      <a:lnTo>
                        <a:pt x="60" y="132"/>
                      </a:lnTo>
                      <a:lnTo>
                        <a:pt x="54" y="132"/>
                      </a:lnTo>
                      <a:lnTo>
                        <a:pt x="48" y="126"/>
                      </a:lnTo>
                      <a:lnTo>
                        <a:pt x="36" y="126"/>
                      </a:lnTo>
                      <a:lnTo>
                        <a:pt x="24" y="120"/>
                      </a:lnTo>
                      <a:lnTo>
                        <a:pt x="6" y="120"/>
                      </a:lnTo>
                      <a:lnTo>
                        <a:pt x="6" y="126"/>
                      </a:lnTo>
                      <a:lnTo>
                        <a:pt x="18" y="132"/>
                      </a:lnTo>
                      <a:lnTo>
                        <a:pt x="30" y="144"/>
                      </a:lnTo>
                      <a:lnTo>
                        <a:pt x="42" y="150"/>
                      </a:lnTo>
                      <a:lnTo>
                        <a:pt x="54" y="192"/>
                      </a:lnTo>
                      <a:lnTo>
                        <a:pt x="90" y="198"/>
                      </a:lnTo>
                      <a:lnTo>
                        <a:pt x="90" y="228"/>
                      </a:lnTo>
                      <a:lnTo>
                        <a:pt x="78" y="240"/>
                      </a:lnTo>
                      <a:lnTo>
                        <a:pt x="78" y="270"/>
                      </a:lnTo>
                      <a:lnTo>
                        <a:pt x="84" y="282"/>
                      </a:lnTo>
                      <a:lnTo>
                        <a:pt x="102" y="300"/>
                      </a:lnTo>
                      <a:lnTo>
                        <a:pt x="108" y="300"/>
                      </a:lnTo>
                      <a:lnTo>
                        <a:pt x="108" y="306"/>
                      </a:lnTo>
                      <a:lnTo>
                        <a:pt x="102" y="312"/>
                      </a:lnTo>
                      <a:lnTo>
                        <a:pt x="102" y="324"/>
                      </a:lnTo>
                      <a:lnTo>
                        <a:pt x="108" y="330"/>
                      </a:lnTo>
                      <a:lnTo>
                        <a:pt x="132" y="330"/>
                      </a:lnTo>
                      <a:lnTo>
                        <a:pt x="144" y="324"/>
                      </a:lnTo>
                      <a:lnTo>
                        <a:pt x="144" y="318"/>
                      </a:lnTo>
                      <a:lnTo>
                        <a:pt x="150" y="312"/>
                      </a:lnTo>
                      <a:lnTo>
                        <a:pt x="150" y="306"/>
                      </a:lnTo>
                      <a:lnTo>
                        <a:pt x="198" y="282"/>
                      </a:lnTo>
                      <a:lnTo>
                        <a:pt x="222" y="288"/>
                      </a:lnTo>
                      <a:lnTo>
                        <a:pt x="234" y="270"/>
                      </a:lnTo>
                      <a:lnTo>
                        <a:pt x="258" y="270"/>
                      </a:lnTo>
                      <a:lnTo>
                        <a:pt x="270" y="264"/>
                      </a:lnTo>
                      <a:lnTo>
                        <a:pt x="276" y="264"/>
                      </a:lnTo>
                      <a:lnTo>
                        <a:pt x="276" y="246"/>
                      </a:lnTo>
                      <a:close/>
                    </a:path>
                  </a:pathLst>
                </a:custGeom>
                <a:solidFill>
                  <a:schemeClr val="accent1"/>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610" name="Korea, North"/>
                <p:cNvSpPr>
                  <a:spLocks/>
                </p:cNvSpPr>
                <p:nvPr/>
              </p:nvSpPr>
              <p:spPr bwMode="gray">
                <a:xfrm>
                  <a:off x="4753" y="1426"/>
                  <a:ext cx="84" cy="107"/>
                </a:xfrm>
                <a:custGeom>
                  <a:avLst/>
                  <a:gdLst>
                    <a:gd name="T0" fmla="*/ 2147483647 w 330"/>
                    <a:gd name="T1" fmla="*/ 0 h 420"/>
                    <a:gd name="T2" fmla="*/ 2147483647 w 330"/>
                    <a:gd name="T3" fmla="*/ 2147483647 h 420"/>
                    <a:gd name="T4" fmla="*/ 2147483647 w 330"/>
                    <a:gd name="T5" fmla="*/ 2147483647 h 420"/>
                    <a:gd name="T6" fmla="*/ 2147483647 w 330"/>
                    <a:gd name="T7" fmla="*/ 2147483647 h 420"/>
                    <a:gd name="T8" fmla="*/ 2147483647 w 330"/>
                    <a:gd name="T9" fmla="*/ 2147483647 h 420"/>
                    <a:gd name="T10" fmla="*/ 2147483647 w 330"/>
                    <a:gd name="T11" fmla="*/ 2147483647 h 420"/>
                    <a:gd name="T12" fmla="*/ 2147483647 w 330"/>
                    <a:gd name="T13" fmla="*/ 2147483647 h 420"/>
                    <a:gd name="T14" fmla="*/ 2147483647 w 330"/>
                    <a:gd name="T15" fmla="*/ 2147483647 h 420"/>
                    <a:gd name="T16" fmla="*/ 2147483647 w 330"/>
                    <a:gd name="T17" fmla="*/ 2147483647 h 420"/>
                    <a:gd name="T18" fmla="*/ 2147483647 w 330"/>
                    <a:gd name="T19" fmla="*/ 2147483647 h 420"/>
                    <a:gd name="T20" fmla="*/ 2147483647 w 330"/>
                    <a:gd name="T21" fmla="*/ 2147483647 h 420"/>
                    <a:gd name="T22" fmla="*/ 2147483647 w 330"/>
                    <a:gd name="T23" fmla="*/ 2147483647 h 420"/>
                    <a:gd name="T24" fmla="*/ 2147483647 w 330"/>
                    <a:gd name="T25" fmla="*/ 2147483647 h 420"/>
                    <a:gd name="T26" fmla="*/ 2147483647 w 330"/>
                    <a:gd name="T27" fmla="*/ 2147483647 h 420"/>
                    <a:gd name="T28" fmla="*/ 2147483647 w 330"/>
                    <a:gd name="T29" fmla="*/ 2147483647 h 420"/>
                    <a:gd name="T30" fmla="*/ 2147483647 w 330"/>
                    <a:gd name="T31" fmla="*/ 2147483647 h 420"/>
                    <a:gd name="T32" fmla="*/ 2147483647 w 330"/>
                    <a:gd name="T33" fmla="*/ 2147483647 h 420"/>
                    <a:gd name="T34" fmla="*/ 2147483647 w 330"/>
                    <a:gd name="T35" fmla="*/ 2147483647 h 420"/>
                    <a:gd name="T36" fmla="*/ 2147483647 w 330"/>
                    <a:gd name="T37" fmla="*/ 2147483647 h 420"/>
                    <a:gd name="T38" fmla="*/ 2147483647 w 330"/>
                    <a:gd name="T39" fmla="*/ 2147483647 h 420"/>
                    <a:gd name="T40" fmla="*/ 2147483647 w 330"/>
                    <a:gd name="T41" fmla="*/ 2147483647 h 420"/>
                    <a:gd name="T42" fmla="*/ 2147483647 w 330"/>
                    <a:gd name="T43" fmla="*/ 2147483647 h 420"/>
                    <a:gd name="T44" fmla="*/ 2147483647 w 330"/>
                    <a:gd name="T45" fmla="*/ 2147483647 h 420"/>
                    <a:gd name="T46" fmla="*/ 2147483647 w 330"/>
                    <a:gd name="T47" fmla="*/ 2147483647 h 420"/>
                    <a:gd name="T48" fmla="*/ 2147483647 w 330"/>
                    <a:gd name="T49" fmla="*/ 2147483647 h 420"/>
                    <a:gd name="T50" fmla="*/ 2147483647 w 330"/>
                    <a:gd name="T51" fmla="*/ 2147483647 h 420"/>
                    <a:gd name="T52" fmla="*/ 2147483647 w 330"/>
                    <a:gd name="T53" fmla="*/ 2147483647 h 420"/>
                    <a:gd name="T54" fmla="*/ 2147483647 w 330"/>
                    <a:gd name="T55" fmla="*/ 2147483647 h 420"/>
                    <a:gd name="T56" fmla="*/ 2147483647 w 330"/>
                    <a:gd name="T57" fmla="*/ 2147483647 h 420"/>
                    <a:gd name="T58" fmla="*/ 2147483647 w 330"/>
                    <a:gd name="T59" fmla="*/ 2147483647 h 420"/>
                    <a:gd name="T60" fmla="*/ 2147483647 w 330"/>
                    <a:gd name="T61" fmla="*/ 2147483647 h 420"/>
                    <a:gd name="T62" fmla="*/ 2147483647 w 330"/>
                    <a:gd name="T63" fmla="*/ 2147483647 h 420"/>
                    <a:gd name="T64" fmla="*/ 2147483647 w 330"/>
                    <a:gd name="T65" fmla="*/ 2147483647 h 420"/>
                    <a:gd name="T66" fmla="*/ 2147483647 w 330"/>
                    <a:gd name="T67" fmla="*/ 2147483647 h 420"/>
                    <a:gd name="T68" fmla="*/ 2147483647 w 330"/>
                    <a:gd name="T69" fmla="*/ 2147483647 h 420"/>
                    <a:gd name="T70" fmla="*/ 2147483647 w 330"/>
                    <a:gd name="T71" fmla="*/ 2147483647 h 420"/>
                    <a:gd name="T72" fmla="*/ 2147483647 w 330"/>
                    <a:gd name="T73" fmla="*/ 2147483647 h 420"/>
                    <a:gd name="T74" fmla="*/ 2147483647 w 330"/>
                    <a:gd name="T75" fmla="*/ 2147483647 h 420"/>
                    <a:gd name="T76" fmla="*/ 2147483647 w 330"/>
                    <a:gd name="T77" fmla="*/ 2147483647 h 420"/>
                    <a:gd name="T78" fmla="*/ 2147483647 w 330"/>
                    <a:gd name="T79" fmla="*/ 2147483647 h 420"/>
                    <a:gd name="T80" fmla="*/ 2147483647 w 330"/>
                    <a:gd name="T81" fmla="*/ 2147483647 h 420"/>
                    <a:gd name="T82" fmla="*/ 2147483647 w 330"/>
                    <a:gd name="T83" fmla="*/ 2147483647 h 420"/>
                    <a:gd name="T84" fmla="*/ 2147483647 w 330"/>
                    <a:gd name="T85" fmla="*/ 2147483647 h 420"/>
                    <a:gd name="T86" fmla="*/ 2147483647 w 330"/>
                    <a:gd name="T87" fmla="*/ 2147483647 h 420"/>
                    <a:gd name="T88" fmla="*/ 2147483647 w 330"/>
                    <a:gd name="T89" fmla="*/ 2147483647 h 420"/>
                    <a:gd name="T90" fmla="*/ 2147483647 w 330"/>
                    <a:gd name="T91" fmla="*/ 2147483647 h 420"/>
                    <a:gd name="T92" fmla="*/ 2147483647 w 330"/>
                    <a:gd name="T93" fmla="*/ 2147483647 h 420"/>
                    <a:gd name="T94" fmla="*/ 2147483647 w 330"/>
                    <a:gd name="T95" fmla="*/ 2147483647 h 420"/>
                    <a:gd name="T96" fmla="*/ 2147483647 w 330"/>
                    <a:gd name="T97" fmla="*/ 2147483647 h 420"/>
                    <a:gd name="T98" fmla="*/ 2147483647 w 330"/>
                    <a:gd name="T99" fmla="*/ 2147483647 h 420"/>
                    <a:gd name="T100" fmla="*/ 2147483647 w 330"/>
                    <a:gd name="T101" fmla="*/ 2147483647 h 420"/>
                    <a:gd name="T102" fmla="*/ 2147483647 w 330"/>
                    <a:gd name="T103" fmla="*/ 0 h 42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330"/>
                    <a:gd name="T157" fmla="*/ 0 h 420"/>
                    <a:gd name="T158" fmla="*/ 330 w 330"/>
                    <a:gd name="T159" fmla="*/ 420 h 42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330" h="420">
                      <a:moveTo>
                        <a:pt x="270" y="0"/>
                      </a:moveTo>
                      <a:lnTo>
                        <a:pt x="240" y="0"/>
                      </a:lnTo>
                      <a:lnTo>
                        <a:pt x="240" y="6"/>
                      </a:lnTo>
                      <a:lnTo>
                        <a:pt x="246" y="12"/>
                      </a:lnTo>
                      <a:lnTo>
                        <a:pt x="252" y="24"/>
                      </a:lnTo>
                      <a:lnTo>
                        <a:pt x="252" y="42"/>
                      </a:lnTo>
                      <a:lnTo>
                        <a:pt x="228" y="42"/>
                      </a:lnTo>
                      <a:lnTo>
                        <a:pt x="234" y="54"/>
                      </a:lnTo>
                      <a:lnTo>
                        <a:pt x="234" y="60"/>
                      </a:lnTo>
                      <a:lnTo>
                        <a:pt x="228" y="72"/>
                      </a:lnTo>
                      <a:lnTo>
                        <a:pt x="216" y="78"/>
                      </a:lnTo>
                      <a:lnTo>
                        <a:pt x="204" y="72"/>
                      </a:lnTo>
                      <a:lnTo>
                        <a:pt x="180" y="72"/>
                      </a:lnTo>
                      <a:lnTo>
                        <a:pt x="174" y="66"/>
                      </a:lnTo>
                      <a:lnTo>
                        <a:pt x="168" y="72"/>
                      </a:lnTo>
                      <a:lnTo>
                        <a:pt x="168" y="84"/>
                      </a:lnTo>
                      <a:lnTo>
                        <a:pt x="192" y="108"/>
                      </a:lnTo>
                      <a:lnTo>
                        <a:pt x="198" y="108"/>
                      </a:lnTo>
                      <a:lnTo>
                        <a:pt x="198" y="120"/>
                      </a:lnTo>
                      <a:lnTo>
                        <a:pt x="150" y="120"/>
                      </a:lnTo>
                      <a:lnTo>
                        <a:pt x="138" y="114"/>
                      </a:lnTo>
                      <a:lnTo>
                        <a:pt x="126" y="114"/>
                      </a:lnTo>
                      <a:lnTo>
                        <a:pt x="114" y="102"/>
                      </a:lnTo>
                      <a:lnTo>
                        <a:pt x="102" y="96"/>
                      </a:lnTo>
                      <a:lnTo>
                        <a:pt x="90" y="96"/>
                      </a:lnTo>
                      <a:lnTo>
                        <a:pt x="90" y="102"/>
                      </a:lnTo>
                      <a:lnTo>
                        <a:pt x="84" y="108"/>
                      </a:lnTo>
                      <a:lnTo>
                        <a:pt x="84" y="138"/>
                      </a:lnTo>
                      <a:lnTo>
                        <a:pt x="66" y="174"/>
                      </a:lnTo>
                      <a:lnTo>
                        <a:pt x="54" y="186"/>
                      </a:lnTo>
                      <a:lnTo>
                        <a:pt x="18" y="204"/>
                      </a:lnTo>
                      <a:lnTo>
                        <a:pt x="12" y="216"/>
                      </a:lnTo>
                      <a:lnTo>
                        <a:pt x="6" y="222"/>
                      </a:lnTo>
                      <a:lnTo>
                        <a:pt x="6" y="234"/>
                      </a:lnTo>
                      <a:lnTo>
                        <a:pt x="0" y="246"/>
                      </a:lnTo>
                      <a:lnTo>
                        <a:pt x="12" y="228"/>
                      </a:lnTo>
                      <a:lnTo>
                        <a:pt x="18" y="246"/>
                      </a:lnTo>
                      <a:lnTo>
                        <a:pt x="36" y="270"/>
                      </a:lnTo>
                      <a:lnTo>
                        <a:pt x="48" y="252"/>
                      </a:lnTo>
                      <a:lnTo>
                        <a:pt x="54" y="258"/>
                      </a:lnTo>
                      <a:lnTo>
                        <a:pt x="60" y="270"/>
                      </a:lnTo>
                      <a:lnTo>
                        <a:pt x="96" y="270"/>
                      </a:lnTo>
                      <a:lnTo>
                        <a:pt x="96" y="282"/>
                      </a:lnTo>
                      <a:lnTo>
                        <a:pt x="102" y="294"/>
                      </a:lnTo>
                      <a:lnTo>
                        <a:pt x="102" y="336"/>
                      </a:lnTo>
                      <a:lnTo>
                        <a:pt x="138" y="336"/>
                      </a:lnTo>
                      <a:lnTo>
                        <a:pt x="144" y="348"/>
                      </a:lnTo>
                      <a:lnTo>
                        <a:pt x="132" y="342"/>
                      </a:lnTo>
                      <a:lnTo>
                        <a:pt x="108" y="342"/>
                      </a:lnTo>
                      <a:lnTo>
                        <a:pt x="102" y="348"/>
                      </a:lnTo>
                      <a:lnTo>
                        <a:pt x="102" y="360"/>
                      </a:lnTo>
                      <a:lnTo>
                        <a:pt x="108" y="378"/>
                      </a:lnTo>
                      <a:lnTo>
                        <a:pt x="114" y="384"/>
                      </a:lnTo>
                      <a:lnTo>
                        <a:pt x="126" y="408"/>
                      </a:lnTo>
                      <a:lnTo>
                        <a:pt x="156" y="396"/>
                      </a:lnTo>
                      <a:lnTo>
                        <a:pt x="162" y="402"/>
                      </a:lnTo>
                      <a:lnTo>
                        <a:pt x="174" y="408"/>
                      </a:lnTo>
                      <a:lnTo>
                        <a:pt x="180" y="414"/>
                      </a:lnTo>
                      <a:lnTo>
                        <a:pt x="192" y="420"/>
                      </a:lnTo>
                      <a:lnTo>
                        <a:pt x="198" y="420"/>
                      </a:lnTo>
                      <a:lnTo>
                        <a:pt x="216" y="414"/>
                      </a:lnTo>
                      <a:lnTo>
                        <a:pt x="228" y="414"/>
                      </a:lnTo>
                      <a:lnTo>
                        <a:pt x="240" y="408"/>
                      </a:lnTo>
                      <a:lnTo>
                        <a:pt x="246" y="402"/>
                      </a:lnTo>
                      <a:lnTo>
                        <a:pt x="246" y="396"/>
                      </a:lnTo>
                      <a:lnTo>
                        <a:pt x="240" y="390"/>
                      </a:lnTo>
                      <a:lnTo>
                        <a:pt x="240" y="384"/>
                      </a:lnTo>
                      <a:lnTo>
                        <a:pt x="246" y="384"/>
                      </a:lnTo>
                      <a:lnTo>
                        <a:pt x="252" y="378"/>
                      </a:lnTo>
                      <a:lnTo>
                        <a:pt x="276" y="366"/>
                      </a:lnTo>
                      <a:lnTo>
                        <a:pt x="306" y="366"/>
                      </a:lnTo>
                      <a:lnTo>
                        <a:pt x="324" y="354"/>
                      </a:lnTo>
                      <a:lnTo>
                        <a:pt x="312" y="342"/>
                      </a:lnTo>
                      <a:lnTo>
                        <a:pt x="312" y="336"/>
                      </a:lnTo>
                      <a:lnTo>
                        <a:pt x="264" y="312"/>
                      </a:lnTo>
                      <a:lnTo>
                        <a:pt x="240" y="312"/>
                      </a:lnTo>
                      <a:lnTo>
                        <a:pt x="240" y="300"/>
                      </a:lnTo>
                      <a:lnTo>
                        <a:pt x="246" y="288"/>
                      </a:lnTo>
                      <a:lnTo>
                        <a:pt x="252" y="282"/>
                      </a:lnTo>
                      <a:lnTo>
                        <a:pt x="246" y="276"/>
                      </a:lnTo>
                      <a:lnTo>
                        <a:pt x="234" y="270"/>
                      </a:lnTo>
                      <a:lnTo>
                        <a:pt x="228" y="264"/>
                      </a:lnTo>
                      <a:lnTo>
                        <a:pt x="228" y="252"/>
                      </a:lnTo>
                      <a:lnTo>
                        <a:pt x="240" y="246"/>
                      </a:lnTo>
                      <a:lnTo>
                        <a:pt x="246" y="240"/>
                      </a:lnTo>
                      <a:lnTo>
                        <a:pt x="258" y="234"/>
                      </a:lnTo>
                      <a:lnTo>
                        <a:pt x="270" y="234"/>
                      </a:lnTo>
                      <a:lnTo>
                        <a:pt x="276" y="228"/>
                      </a:lnTo>
                      <a:lnTo>
                        <a:pt x="288" y="204"/>
                      </a:lnTo>
                      <a:lnTo>
                        <a:pt x="288" y="192"/>
                      </a:lnTo>
                      <a:lnTo>
                        <a:pt x="294" y="186"/>
                      </a:lnTo>
                      <a:lnTo>
                        <a:pt x="300" y="174"/>
                      </a:lnTo>
                      <a:lnTo>
                        <a:pt x="324" y="162"/>
                      </a:lnTo>
                      <a:lnTo>
                        <a:pt x="312" y="132"/>
                      </a:lnTo>
                      <a:lnTo>
                        <a:pt x="306" y="126"/>
                      </a:lnTo>
                      <a:lnTo>
                        <a:pt x="294" y="102"/>
                      </a:lnTo>
                      <a:lnTo>
                        <a:pt x="294" y="90"/>
                      </a:lnTo>
                      <a:lnTo>
                        <a:pt x="306" y="66"/>
                      </a:lnTo>
                      <a:lnTo>
                        <a:pt x="318" y="60"/>
                      </a:lnTo>
                      <a:lnTo>
                        <a:pt x="324" y="54"/>
                      </a:lnTo>
                      <a:lnTo>
                        <a:pt x="330" y="54"/>
                      </a:lnTo>
                      <a:lnTo>
                        <a:pt x="312" y="36"/>
                      </a:lnTo>
                      <a:lnTo>
                        <a:pt x="288" y="24"/>
                      </a:lnTo>
                      <a:lnTo>
                        <a:pt x="270" y="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611" name="Kenya"/>
                <p:cNvSpPr>
                  <a:spLocks/>
                </p:cNvSpPr>
                <p:nvPr/>
              </p:nvSpPr>
              <p:spPr bwMode="gray">
                <a:xfrm>
                  <a:off x="3272" y="2213"/>
                  <a:ext cx="144" cy="195"/>
                </a:xfrm>
                <a:custGeom>
                  <a:avLst/>
                  <a:gdLst>
                    <a:gd name="T0" fmla="*/ 2147483647 w 564"/>
                    <a:gd name="T1" fmla="*/ 2147483647 h 762"/>
                    <a:gd name="T2" fmla="*/ 2147483647 w 564"/>
                    <a:gd name="T3" fmla="*/ 2147483647 h 762"/>
                    <a:gd name="T4" fmla="*/ 2147483647 w 564"/>
                    <a:gd name="T5" fmla="*/ 2147483647 h 762"/>
                    <a:gd name="T6" fmla="*/ 2147483647 w 564"/>
                    <a:gd name="T7" fmla="*/ 2147483647 h 762"/>
                    <a:gd name="T8" fmla="*/ 2147483647 w 564"/>
                    <a:gd name="T9" fmla="*/ 2147483647 h 762"/>
                    <a:gd name="T10" fmla="*/ 2147483647 w 564"/>
                    <a:gd name="T11" fmla="*/ 2147483647 h 762"/>
                    <a:gd name="T12" fmla="*/ 2147483647 w 564"/>
                    <a:gd name="T13" fmla="*/ 2147483647 h 762"/>
                    <a:gd name="T14" fmla="*/ 2147483647 w 564"/>
                    <a:gd name="T15" fmla="*/ 2147483647 h 762"/>
                    <a:gd name="T16" fmla="*/ 2147483647 w 564"/>
                    <a:gd name="T17" fmla="*/ 2147483647 h 762"/>
                    <a:gd name="T18" fmla="*/ 2147483647 w 564"/>
                    <a:gd name="T19" fmla="*/ 2147483647 h 762"/>
                    <a:gd name="T20" fmla="*/ 2147483647 w 564"/>
                    <a:gd name="T21" fmla="*/ 2147483647 h 762"/>
                    <a:gd name="T22" fmla="*/ 2147483647 w 564"/>
                    <a:gd name="T23" fmla="*/ 2147483647 h 762"/>
                    <a:gd name="T24" fmla="*/ 2147483647 w 564"/>
                    <a:gd name="T25" fmla="*/ 0 h 762"/>
                    <a:gd name="T26" fmla="*/ 2147483647 w 564"/>
                    <a:gd name="T27" fmla="*/ 2147483647 h 762"/>
                    <a:gd name="T28" fmla="*/ 2147483647 w 564"/>
                    <a:gd name="T29" fmla="*/ 2147483647 h 762"/>
                    <a:gd name="T30" fmla="*/ 2147483647 w 564"/>
                    <a:gd name="T31" fmla="*/ 2147483647 h 762"/>
                    <a:gd name="T32" fmla="*/ 2147483647 w 564"/>
                    <a:gd name="T33" fmla="*/ 2147483647 h 762"/>
                    <a:gd name="T34" fmla="*/ 2147483647 w 564"/>
                    <a:gd name="T35" fmla="*/ 2147483647 h 762"/>
                    <a:gd name="T36" fmla="*/ 2147483647 w 564"/>
                    <a:gd name="T37" fmla="*/ 2147483647 h 762"/>
                    <a:gd name="T38" fmla="*/ 2147483647 w 564"/>
                    <a:gd name="T39" fmla="*/ 2147483647 h 762"/>
                    <a:gd name="T40" fmla="*/ 2147483647 w 564"/>
                    <a:gd name="T41" fmla="*/ 2147483647 h 762"/>
                    <a:gd name="T42" fmla="*/ 2147483647 w 564"/>
                    <a:gd name="T43" fmla="*/ 2147483647 h 762"/>
                    <a:gd name="T44" fmla="*/ 2147483647 w 564"/>
                    <a:gd name="T45" fmla="*/ 2147483647 h 762"/>
                    <a:gd name="T46" fmla="*/ 2147483647 w 564"/>
                    <a:gd name="T47" fmla="*/ 2147483647 h 762"/>
                    <a:gd name="T48" fmla="*/ 2147483647 w 564"/>
                    <a:gd name="T49" fmla="*/ 2147483647 h 762"/>
                    <a:gd name="T50" fmla="*/ 2147483647 w 564"/>
                    <a:gd name="T51" fmla="*/ 2147483647 h 762"/>
                    <a:gd name="T52" fmla="*/ 2147483647 w 564"/>
                    <a:gd name="T53" fmla="*/ 2147483647 h 762"/>
                    <a:gd name="T54" fmla="*/ 2147483647 w 564"/>
                    <a:gd name="T55" fmla="*/ 2147483647 h 762"/>
                    <a:gd name="T56" fmla="*/ 2147483647 w 564"/>
                    <a:gd name="T57" fmla="*/ 2147483647 h 762"/>
                    <a:gd name="T58" fmla="*/ 0 w 564"/>
                    <a:gd name="T59" fmla="*/ 2147483647 h 762"/>
                    <a:gd name="T60" fmla="*/ 2147483647 w 564"/>
                    <a:gd name="T61" fmla="*/ 2147483647 h 762"/>
                    <a:gd name="T62" fmla="*/ 2147483647 w 564"/>
                    <a:gd name="T63" fmla="*/ 2147483647 h 762"/>
                    <a:gd name="T64" fmla="*/ 2147483647 w 564"/>
                    <a:gd name="T65" fmla="*/ 2147483647 h 762"/>
                    <a:gd name="T66" fmla="*/ 2147483647 w 564"/>
                    <a:gd name="T67" fmla="*/ 2147483647 h 762"/>
                    <a:gd name="T68" fmla="*/ 2147483647 w 564"/>
                    <a:gd name="T69" fmla="*/ 2147483647 h 762"/>
                    <a:gd name="T70" fmla="*/ 0 w 564"/>
                    <a:gd name="T71" fmla="*/ 2147483647 h 762"/>
                    <a:gd name="T72" fmla="*/ 2147483647 w 564"/>
                    <a:gd name="T73" fmla="*/ 2147483647 h 762"/>
                    <a:gd name="T74" fmla="*/ 2147483647 w 564"/>
                    <a:gd name="T75" fmla="*/ 2147483647 h 762"/>
                    <a:gd name="T76" fmla="*/ 2147483647 w 564"/>
                    <a:gd name="T77" fmla="*/ 2147483647 h 762"/>
                    <a:gd name="T78" fmla="*/ 2147483647 w 564"/>
                    <a:gd name="T79" fmla="*/ 2147483647 h 762"/>
                    <a:gd name="T80" fmla="*/ 2147483647 w 564"/>
                    <a:gd name="T81" fmla="*/ 2147483647 h 762"/>
                    <a:gd name="T82" fmla="*/ 2147483647 w 564"/>
                    <a:gd name="T83" fmla="*/ 2147483647 h 762"/>
                    <a:gd name="T84" fmla="*/ 2147483647 w 564"/>
                    <a:gd name="T85" fmla="*/ 2147483647 h 762"/>
                    <a:gd name="T86" fmla="*/ 2147483647 w 564"/>
                    <a:gd name="T87" fmla="*/ 2147483647 h 762"/>
                    <a:gd name="T88" fmla="*/ 2147483647 w 564"/>
                    <a:gd name="T89" fmla="*/ 2147483647 h 762"/>
                    <a:gd name="T90" fmla="*/ 2147483647 w 564"/>
                    <a:gd name="T91" fmla="*/ 2147483647 h 762"/>
                    <a:gd name="T92" fmla="*/ 2147483647 w 564"/>
                    <a:gd name="T93" fmla="*/ 2147483647 h 762"/>
                    <a:gd name="T94" fmla="*/ 2147483647 w 564"/>
                    <a:gd name="T95" fmla="*/ 2147483647 h 762"/>
                    <a:gd name="T96" fmla="*/ 2147483647 w 564"/>
                    <a:gd name="T97" fmla="*/ 2147483647 h 762"/>
                    <a:gd name="T98" fmla="*/ 2147483647 w 564"/>
                    <a:gd name="T99" fmla="*/ 2147483647 h 762"/>
                    <a:gd name="T100" fmla="*/ 2147483647 w 564"/>
                    <a:gd name="T101" fmla="*/ 2147483647 h 76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64"/>
                    <a:gd name="T154" fmla="*/ 0 h 762"/>
                    <a:gd name="T155" fmla="*/ 564 w 564"/>
                    <a:gd name="T156" fmla="*/ 762 h 762"/>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64" h="762">
                      <a:moveTo>
                        <a:pt x="498" y="150"/>
                      </a:moveTo>
                      <a:lnTo>
                        <a:pt x="540" y="108"/>
                      </a:lnTo>
                      <a:lnTo>
                        <a:pt x="558" y="72"/>
                      </a:lnTo>
                      <a:lnTo>
                        <a:pt x="564" y="66"/>
                      </a:lnTo>
                      <a:lnTo>
                        <a:pt x="564" y="60"/>
                      </a:lnTo>
                      <a:lnTo>
                        <a:pt x="540" y="54"/>
                      </a:lnTo>
                      <a:lnTo>
                        <a:pt x="534" y="60"/>
                      </a:lnTo>
                      <a:lnTo>
                        <a:pt x="504" y="60"/>
                      </a:lnTo>
                      <a:lnTo>
                        <a:pt x="480" y="30"/>
                      </a:lnTo>
                      <a:lnTo>
                        <a:pt x="462" y="48"/>
                      </a:lnTo>
                      <a:lnTo>
                        <a:pt x="456" y="48"/>
                      </a:lnTo>
                      <a:lnTo>
                        <a:pt x="450" y="54"/>
                      </a:lnTo>
                      <a:lnTo>
                        <a:pt x="438" y="60"/>
                      </a:lnTo>
                      <a:lnTo>
                        <a:pt x="426" y="60"/>
                      </a:lnTo>
                      <a:lnTo>
                        <a:pt x="414" y="72"/>
                      </a:lnTo>
                      <a:lnTo>
                        <a:pt x="414" y="84"/>
                      </a:lnTo>
                      <a:lnTo>
                        <a:pt x="390" y="102"/>
                      </a:lnTo>
                      <a:lnTo>
                        <a:pt x="378" y="96"/>
                      </a:lnTo>
                      <a:lnTo>
                        <a:pt x="372" y="96"/>
                      </a:lnTo>
                      <a:lnTo>
                        <a:pt x="360" y="90"/>
                      </a:lnTo>
                      <a:lnTo>
                        <a:pt x="330" y="90"/>
                      </a:lnTo>
                      <a:lnTo>
                        <a:pt x="318" y="84"/>
                      </a:lnTo>
                      <a:lnTo>
                        <a:pt x="288" y="84"/>
                      </a:lnTo>
                      <a:lnTo>
                        <a:pt x="210" y="24"/>
                      </a:lnTo>
                      <a:lnTo>
                        <a:pt x="138" y="18"/>
                      </a:lnTo>
                      <a:lnTo>
                        <a:pt x="132" y="0"/>
                      </a:lnTo>
                      <a:lnTo>
                        <a:pt x="108" y="12"/>
                      </a:lnTo>
                      <a:lnTo>
                        <a:pt x="18" y="12"/>
                      </a:lnTo>
                      <a:lnTo>
                        <a:pt x="0" y="42"/>
                      </a:lnTo>
                      <a:lnTo>
                        <a:pt x="6" y="48"/>
                      </a:lnTo>
                      <a:lnTo>
                        <a:pt x="12" y="60"/>
                      </a:lnTo>
                      <a:lnTo>
                        <a:pt x="12" y="84"/>
                      </a:lnTo>
                      <a:lnTo>
                        <a:pt x="18" y="84"/>
                      </a:lnTo>
                      <a:lnTo>
                        <a:pt x="24" y="90"/>
                      </a:lnTo>
                      <a:lnTo>
                        <a:pt x="24" y="84"/>
                      </a:lnTo>
                      <a:lnTo>
                        <a:pt x="30" y="84"/>
                      </a:lnTo>
                      <a:lnTo>
                        <a:pt x="30" y="96"/>
                      </a:lnTo>
                      <a:lnTo>
                        <a:pt x="24" y="102"/>
                      </a:lnTo>
                      <a:lnTo>
                        <a:pt x="24" y="108"/>
                      </a:lnTo>
                      <a:lnTo>
                        <a:pt x="42" y="126"/>
                      </a:lnTo>
                      <a:lnTo>
                        <a:pt x="36" y="132"/>
                      </a:lnTo>
                      <a:lnTo>
                        <a:pt x="72" y="174"/>
                      </a:lnTo>
                      <a:lnTo>
                        <a:pt x="66" y="180"/>
                      </a:lnTo>
                      <a:lnTo>
                        <a:pt x="60" y="180"/>
                      </a:lnTo>
                      <a:lnTo>
                        <a:pt x="54" y="186"/>
                      </a:lnTo>
                      <a:lnTo>
                        <a:pt x="54" y="192"/>
                      </a:lnTo>
                      <a:lnTo>
                        <a:pt x="66" y="216"/>
                      </a:lnTo>
                      <a:lnTo>
                        <a:pt x="72" y="222"/>
                      </a:lnTo>
                      <a:lnTo>
                        <a:pt x="78" y="234"/>
                      </a:lnTo>
                      <a:lnTo>
                        <a:pt x="78" y="246"/>
                      </a:lnTo>
                      <a:lnTo>
                        <a:pt x="66" y="258"/>
                      </a:lnTo>
                      <a:lnTo>
                        <a:pt x="60" y="282"/>
                      </a:lnTo>
                      <a:lnTo>
                        <a:pt x="42" y="282"/>
                      </a:lnTo>
                      <a:lnTo>
                        <a:pt x="36" y="288"/>
                      </a:lnTo>
                      <a:lnTo>
                        <a:pt x="36" y="312"/>
                      </a:lnTo>
                      <a:lnTo>
                        <a:pt x="18" y="324"/>
                      </a:lnTo>
                      <a:lnTo>
                        <a:pt x="12" y="342"/>
                      </a:lnTo>
                      <a:lnTo>
                        <a:pt x="6" y="348"/>
                      </a:lnTo>
                      <a:lnTo>
                        <a:pt x="0" y="360"/>
                      </a:lnTo>
                      <a:lnTo>
                        <a:pt x="0" y="384"/>
                      </a:lnTo>
                      <a:lnTo>
                        <a:pt x="18" y="402"/>
                      </a:lnTo>
                      <a:lnTo>
                        <a:pt x="30" y="402"/>
                      </a:lnTo>
                      <a:lnTo>
                        <a:pt x="30" y="390"/>
                      </a:lnTo>
                      <a:lnTo>
                        <a:pt x="54" y="390"/>
                      </a:lnTo>
                      <a:lnTo>
                        <a:pt x="60" y="408"/>
                      </a:lnTo>
                      <a:lnTo>
                        <a:pt x="42" y="408"/>
                      </a:lnTo>
                      <a:lnTo>
                        <a:pt x="30" y="420"/>
                      </a:lnTo>
                      <a:lnTo>
                        <a:pt x="24" y="414"/>
                      </a:lnTo>
                      <a:lnTo>
                        <a:pt x="18" y="414"/>
                      </a:lnTo>
                      <a:lnTo>
                        <a:pt x="6" y="420"/>
                      </a:lnTo>
                      <a:lnTo>
                        <a:pt x="0" y="432"/>
                      </a:lnTo>
                      <a:lnTo>
                        <a:pt x="0" y="438"/>
                      </a:lnTo>
                      <a:lnTo>
                        <a:pt x="12" y="450"/>
                      </a:lnTo>
                      <a:lnTo>
                        <a:pt x="6" y="468"/>
                      </a:lnTo>
                      <a:lnTo>
                        <a:pt x="258" y="624"/>
                      </a:lnTo>
                      <a:lnTo>
                        <a:pt x="270" y="636"/>
                      </a:lnTo>
                      <a:lnTo>
                        <a:pt x="270" y="642"/>
                      </a:lnTo>
                      <a:lnTo>
                        <a:pt x="264" y="648"/>
                      </a:lnTo>
                      <a:lnTo>
                        <a:pt x="258" y="648"/>
                      </a:lnTo>
                      <a:lnTo>
                        <a:pt x="252" y="654"/>
                      </a:lnTo>
                      <a:lnTo>
                        <a:pt x="366" y="762"/>
                      </a:lnTo>
                      <a:lnTo>
                        <a:pt x="384" y="756"/>
                      </a:lnTo>
                      <a:lnTo>
                        <a:pt x="414" y="690"/>
                      </a:lnTo>
                      <a:lnTo>
                        <a:pt x="414" y="660"/>
                      </a:lnTo>
                      <a:lnTo>
                        <a:pt x="426" y="648"/>
                      </a:lnTo>
                      <a:lnTo>
                        <a:pt x="432" y="648"/>
                      </a:lnTo>
                      <a:lnTo>
                        <a:pt x="444" y="636"/>
                      </a:lnTo>
                      <a:lnTo>
                        <a:pt x="444" y="624"/>
                      </a:lnTo>
                      <a:lnTo>
                        <a:pt x="438" y="618"/>
                      </a:lnTo>
                      <a:lnTo>
                        <a:pt x="438" y="600"/>
                      </a:lnTo>
                      <a:lnTo>
                        <a:pt x="444" y="594"/>
                      </a:lnTo>
                      <a:lnTo>
                        <a:pt x="456" y="588"/>
                      </a:lnTo>
                      <a:lnTo>
                        <a:pt x="468" y="588"/>
                      </a:lnTo>
                      <a:lnTo>
                        <a:pt x="474" y="582"/>
                      </a:lnTo>
                      <a:lnTo>
                        <a:pt x="480" y="582"/>
                      </a:lnTo>
                      <a:lnTo>
                        <a:pt x="486" y="540"/>
                      </a:lnTo>
                      <a:lnTo>
                        <a:pt x="516" y="540"/>
                      </a:lnTo>
                      <a:lnTo>
                        <a:pt x="528" y="534"/>
                      </a:lnTo>
                      <a:lnTo>
                        <a:pt x="534" y="522"/>
                      </a:lnTo>
                      <a:lnTo>
                        <a:pt x="540" y="516"/>
                      </a:lnTo>
                      <a:lnTo>
                        <a:pt x="498" y="450"/>
                      </a:lnTo>
                      <a:lnTo>
                        <a:pt x="498" y="15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612" name="Kazakhstan"/>
                <p:cNvSpPr>
                  <a:spLocks noEditPoints="1"/>
                </p:cNvSpPr>
                <p:nvPr/>
              </p:nvSpPr>
              <p:spPr bwMode="gray">
                <a:xfrm>
                  <a:off x="3419" y="1177"/>
                  <a:ext cx="643" cy="298"/>
                </a:xfrm>
                <a:custGeom>
                  <a:avLst/>
                  <a:gdLst>
                    <a:gd name="T0" fmla="*/ 2147483647 w 2514"/>
                    <a:gd name="T1" fmla="*/ 2147483647 h 1164"/>
                    <a:gd name="T2" fmla="*/ 2147483647 w 2514"/>
                    <a:gd name="T3" fmla="*/ 2147483647 h 1164"/>
                    <a:gd name="T4" fmla="*/ 2147483647 w 2514"/>
                    <a:gd name="T5" fmla="*/ 2147483647 h 1164"/>
                    <a:gd name="T6" fmla="*/ 2147483647 w 2514"/>
                    <a:gd name="T7" fmla="*/ 2147483647 h 1164"/>
                    <a:gd name="T8" fmla="*/ 2147483647 w 2514"/>
                    <a:gd name="T9" fmla="*/ 2147483647 h 1164"/>
                    <a:gd name="T10" fmla="*/ 2147483647 w 2514"/>
                    <a:gd name="T11" fmla="*/ 2147483647 h 1164"/>
                    <a:gd name="T12" fmla="*/ 2147483647 w 2514"/>
                    <a:gd name="T13" fmla="*/ 2147483647 h 1164"/>
                    <a:gd name="T14" fmla="*/ 2147483647 w 2514"/>
                    <a:gd name="T15" fmla="*/ 2147483647 h 1164"/>
                    <a:gd name="T16" fmla="*/ 2147483647 w 2514"/>
                    <a:gd name="T17" fmla="*/ 2147483647 h 1164"/>
                    <a:gd name="T18" fmla="*/ 2147483647 w 2514"/>
                    <a:gd name="T19" fmla="*/ 2147483647 h 1164"/>
                    <a:gd name="T20" fmla="*/ 2147483647 w 2514"/>
                    <a:gd name="T21" fmla="*/ 2147483647 h 1164"/>
                    <a:gd name="T22" fmla="*/ 2147483647 w 2514"/>
                    <a:gd name="T23" fmla="*/ 2147483647 h 1164"/>
                    <a:gd name="T24" fmla="*/ 2147483647 w 2514"/>
                    <a:gd name="T25" fmla="*/ 2147483647 h 1164"/>
                    <a:gd name="T26" fmla="*/ 2147483647 w 2514"/>
                    <a:gd name="T27" fmla="*/ 2147483647 h 1164"/>
                    <a:gd name="T28" fmla="*/ 2147483647 w 2514"/>
                    <a:gd name="T29" fmla="*/ 2147483647 h 1164"/>
                    <a:gd name="T30" fmla="*/ 2147483647 w 2514"/>
                    <a:gd name="T31" fmla="*/ 2147483647 h 1164"/>
                    <a:gd name="T32" fmla="*/ 2147483647 w 2514"/>
                    <a:gd name="T33" fmla="*/ 2147483647 h 1164"/>
                    <a:gd name="T34" fmla="*/ 2147483647 w 2514"/>
                    <a:gd name="T35" fmla="*/ 2147483647 h 1164"/>
                    <a:gd name="T36" fmla="*/ 2147483647 w 2514"/>
                    <a:gd name="T37" fmla="*/ 2147483647 h 1164"/>
                    <a:gd name="T38" fmla="*/ 2147483647 w 2514"/>
                    <a:gd name="T39" fmla="*/ 2147483647 h 1164"/>
                    <a:gd name="T40" fmla="*/ 2147483647 w 2514"/>
                    <a:gd name="T41" fmla="*/ 2147483647 h 1164"/>
                    <a:gd name="T42" fmla="*/ 2147483647 w 2514"/>
                    <a:gd name="T43" fmla="*/ 2147483647 h 1164"/>
                    <a:gd name="T44" fmla="*/ 2147483647 w 2514"/>
                    <a:gd name="T45" fmla="*/ 2147483647 h 1164"/>
                    <a:gd name="T46" fmla="*/ 2147483647 w 2514"/>
                    <a:gd name="T47" fmla="*/ 2147483647 h 1164"/>
                    <a:gd name="T48" fmla="*/ 2147483647 w 2514"/>
                    <a:gd name="T49" fmla="*/ 2147483647 h 1164"/>
                    <a:gd name="T50" fmla="*/ 2147483647 w 2514"/>
                    <a:gd name="T51" fmla="*/ 2147483647 h 1164"/>
                    <a:gd name="T52" fmla="*/ 2147483647 w 2514"/>
                    <a:gd name="T53" fmla="*/ 2147483647 h 1164"/>
                    <a:gd name="T54" fmla="*/ 2147483647 w 2514"/>
                    <a:gd name="T55" fmla="*/ 2147483647 h 1164"/>
                    <a:gd name="T56" fmla="*/ 2147483647 w 2514"/>
                    <a:gd name="T57" fmla="*/ 2147483647 h 1164"/>
                    <a:gd name="T58" fmla="*/ 2147483647 w 2514"/>
                    <a:gd name="T59" fmla="*/ 2147483647 h 1164"/>
                    <a:gd name="T60" fmla="*/ 2147483647 w 2514"/>
                    <a:gd name="T61" fmla="*/ 2147483647 h 1164"/>
                    <a:gd name="T62" fmla="*/ 2147483647 w 2514"/>
                    <a:gd name="T63" fmla="*/ 2147483647 h 1164"/>
                    <a:gd name="T64" fmla="*/ 2147483647 w 2514"/>
                    <a:gd name="T65" fmla="*/ 2147483647 h 1164"/>
                    <a:gd name="T66" fmla="*/ 2147483647 w 2514"/>
                    <a:gd name="T67" fmla="*/ 2147483647 h 1164"/>
                    <a:gd name="T68" fmla="*/ 2147483647 w 2514"/>
                    <a:gd name="T69" fmla="*/ 2147483647 h 1164"/>
                    <a:gd name="T70" fmla="*/ 2147483647 w 2514"/>
                    <a:gd name="T71" fmla="*/ 2147483647 h 1164"/>
                    <a:gd name="T72" fmla="*/ 2147483647 w 2514"/>
                    <a:gd name="T73" fmla="*/ 2147483647 h 1164"/>
                    <a:gd name="T74" fmla="*/ 2147483647 w 2514"/>
                    <a:gd name="T75" fmla="*/ 2147483647 h 1164"/>
                    <a:gd name="T76" fmla="*/ 2147483647 w 2514"/>
                    <a:gd name="T77" fmla="*/ 2147483647 h 1164"/>
                    <a:gd name="T78" fmla="*/ 2147483647 w 2514"/>
                    <a:gd name="T79" fmla="*/ 2147483647 h 1164"/>
                    <a:gd name="T80" fmla="*/ 2147483647 w 2514"/>
                    <a:gd name="T81" fmla="*/ 2147483647 h 1164"/>
                    <a:gd name="T82" fmla="*/ 2147483647 w 2514"/>
                    <a:gd name="T83" fmla="*/ 2147483647 h 1164"/>
                    <a:gd name="T84" fmla="*/ 2147483647 w 2514"/>
                    <a:gd name="T85" fmla="*/ 2147483647 h 1164"/>
                    <a:gd name="T86" fmla="*/ 2147483647 w 2514"/>
                    <a:gd name="T87" fmla="*/ 2147483647 h 1164"/>
                    <a:gd name="T88" fmla="*/ 2147483647 w 2514"/>
                    <a:gd name="T89" fmla="*/ 2147483647 h 1164"/>
                    <a:gd name="T90" fmla="*/ 2147483647 w 2514"/>
                    <a:gd name="T91" fmla="*/ 2147483647 h 1164"/>
                    <a:gd name="T92" fmla="*/ 2147483647 w 2514"/>
                    <a:gd name="T93" fmla="*/ 2147483647 h 1164"/>
                    <a:gd name="T94" fmla="*/ 2147483647 w 2514"/>
                    <a:gd name="T95" fmla="*/ 2147483647 h 1164"/>
                    <a:gd name="T96" fmla="*/ 2147483647 w 2514"/>
                    <a:gd name="T97" fmla="*/ 2147483647 h 1164"/>
                    <a:gd name="T98" fmla="*/ 2147483647 w 2514"/>
                    <a:gd name="T99" fmla="*/ 2147483647 h 1164"/>
                    <a:gd name="T100" fmla="*/ 2147483647 w 2514"/>
                    <a:gd name="T101" fmla="*/ 2147483647 h 1164"/>
                    <a:gd name="T102" fmla="*/ 2147483647 w 2514"/>
                    <a:gd name="T103" fmla="*/ 2147483647 h 1164"/>
                    <a:gd name="T104" fmla="*/ 2147483647 w 2514"/>
                    <a:gd name="T105" fmla="*/ 2147483647 h 1164"/>
                    <a:gd name="T106" fmla="*/ 2147483647 w 2514"/>
                    <a:gd name="T107" fmla="*/ 2147483647 h 1164"/>
                    <a:gd name="T108" fmla="*/ 2147483647 w 2514"/>
                    <a:gd name="T109" fmla="*/ 2147483647 h 1164"/>
                    <a:gd name="T110" fmla="*/ 2147483647 w 2514"/>
                    <a:gd name="T111" fmla="*/ 2147483647 h 1164"/>
                    <a:gd name="T112" fmla="*/ 2147483647 w 2514"/>
                    <a:gd name="T113" fmla="*/ 2147483647 h 1164"/>
                    <a:gd name="T114" fmla="*/ 2147483647 w 2514"/>
                    <a:gd name="T115" fmla="*/ 2147483647 h 1164"/>
                    <a:gd name="T116" fmla="*/ 2147483647 w 2514"/>
                    <a:gd name="T117" fmla="*/ 2147483647 h 1164"/>
                    <a:gd name="T118" fmla="*/ 2147483647 w 2514"/>
                    <a:gd name="T119" fmla="*/ 2147483647 h 1164"/>
                    <a:gd name="T120" fmla="*/ 2147483647 w 2514"/>
                    <a:gd name="T121" fmla="*/ 2147483647 h 1164"/>
                    <a:gd name="T122" fmla="*/ 2147483647 w 2514"/>
                    <a:gd name="T123" fmla="*/ 2147483647 h 116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514"/>
                    <a:gd name="T187" fmla="*/ 0 h 1164"/>
                    <a:gd name="T188" fmla="*/ 2514 w 2514"/>
                    <a:gd name="T189" fmla="*/ 1164 h 116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514" h="1164">
                      <a:moveTo>
                        <a:pt x="852" y="756"/>
                      </a:moveTo>
                      <a:lnTo>
                        <a:pt x="840" y="744"/>
                      </a:lnTo>
                      <a:lnTo>
                        <a:pt x="822" y="768"/>
                      </a:lnTo>
                      <a:lnTo>
                        <a:pt x="816" y="780"/>
                      </a:lnTo>
                      <a:lnTo>
                        <a:pt x="870" y="804"/>
                      </a:lnTo>
                      <a:lnTo>
                        <a:pt x="870" y="786"/>
                      </a:lnTo>
                      <a:lnTo>
                        <a:pt x="864" y="780"/>
                      </a:lnTo>
                      <a:lnTo>
                        <a:pt x="858" y="768"/>
                      </a:lnTo>
                      <a:lnTo>
                        <a:pt x="858" y="762"/>
                      </a:lnTo>
                      <a:lnTo>
                        <a:pt x="852" y="756"/>
                      </a:lnTo>
                      <a:close/>
                      <a:moveTo>
                        <a:pt x="2484" y="492"/>
                      </a:moveTo>
                      <a:lnTo>
                        <a:pt x="2484" y="486"/>
                      </a:lnTo>
                      <a:lnTo>
                        <a:pt x="2514" y="486"/>
                      </a:lnTo>
                      <a:lnTo>
                        <a:pt x="2478" y="444"/>
                      </a:lnTo>
                      <a:lnTo>
                        <a:pt x="2454" y="420"/>
                      </a:lnTo>
                      <a:lnTo>
                        <a:pt x="2442" y="456"/>
                      </a:lnTo>
                      <a:lnTo>
                        <a:pt x="2370" y="450"/>
                      </a:lnTo>
                      <a:lnTo>
                        <a:pt x="2370" y="444"/>
                      </a:lnTo>
                      <a:lnTo>
                        <a:pt x="2364" y="438"/>
                      </a:lnTo>
                      <a:lnTo>
                        <a:pt x="2358" y="426"/>
                      </a:lnTo>
                      <a:lnTo>
                        <a:pt x="2352" y="420"/>
                      </a:lnTo>
                      <a:lnTo>
                        <a:pt x="2346" y="408"/>
                      </a:lnTo>
                      <a:lnTo>
                        <a:pt x="2346" y="402"/>
                      </a:lnTo>
                      <a:lnTo>
                        <a:pt x="2340" y="402"/>
                      </a:lnTo>
                      <a:lnTo>
                        <a:pt x="2328" y="396"/>
                      </a:lnTo>
                      <a:lnTo>
                        <a:pt x="2316" y="396"/>
                      </a:lnTo>
                      <a:lnTo>
                        <a:pt x="2304" y="390"/>
                      </a:lnTo>
                      <a:lnTo>
                        <a:pt x="2292" y="390"/>
                      </a:lnTo>
                      <a:lnTo>
                        <a:pt x="2286" y="378"/>
                      </a:lnTo>
                      <a:lnTo>
                        <a:pt x="2274" y="372"/>
                      </a:lnTo>
                      <a:lnTo>
                        <a:pt x="2250" y="348"/>
                      </a:lnTo>
                      <a:lnTo>
                        <a:pt x="2226" y="336"/>
                      </a:lnTo>
                      <a:lnTo>
                        <a:pt x="2208" y="336"/>
                      </a:lnTo>
                      <a:lnTo>
                        <a:pt x="2196" y="342"/>
                      </a:lnTo>
                      <a:lnTo>
                        <a:pt x="2178" y="348"/>
                      </a:lnTo>
                      <a:lnTo>
                        <a:pt x="2166" y="354"/>
                      </a:lnTo>
                      <a:lnTo>
                        <a:pt x="2160" y="366"/>
                      </a:lnTo>
                      <a:lnTo>
                        <a:pt x="2136" y="366"/>
                      </a:lnTo>
                      <a:lnTo>
                        <a:pt x="2124" y="360"/>
                      </a:lnTo>
                      <a:lnTo>
                        <a:pt x="2118" y="348"/>
                      </a:lnTo>
                      <a:lnTo>
                        <a:pt x="2106" y="342"/>
                      </a:lnTo>
                      <a:lnTo>
                        <a:pt x="2076" y="342"/>
                      </a:lnTo>
                      <a:lnTo>
                        <a:pt x="2076" y="336"/>
                      </a:lnTo>
                      <a:lnTo>
                        <a:pt x="2070" y="330"/>
                      </a:lnTo>
                      <a:lnTo>
                        <a:pt x="2070" y="318"/>
                      </a:lnTo>
                      <a:lnTo>
                        <a:pt x="2064" y="312"/>
                      </a:lnTo>
                      <a:lnTo>
                        <a:pt x="2052" y="312"/>
                      </a:lnTo>
                      <a:lnTo>
                        <a:pt x="2052" y="318"/>
                      </a:lnTo>
                      <a:lnTo>
                        <a:pt x="2046" y="324"/>
                      </a:lnTo>
                      <a:lnTo>
                        <a:pt x="2046" y="336"/>
                      </a:lnTo>
                      <a:lnTo>
                        <a:pt x="2034" y="348"/>
                      </a:lnTo>
                      <a:lnTo>
                        <a:pt x="2022" y="354"/>
                      </a:lnTo>
                      <a:lnTo>
                        <a:pt x="2010" y="354"/>
                      </a:lnTo>
                      <a:lnTo>
                        <a:pt x="1998" y="348"/>
                      </a:lnTo>
                      <a:lnTo>
                        <a:pt x="1986" y="336"/>
                      </a:lnTo>
                      <a:lnTo>
                        <a:pt x="1974" y="318"/>
                      </a:lnTo>
                      <a:lnTo>
                        <a:pt x="1938" y="282"/>
                      </a:lnTo>
                      <a:lnTo>
                        <a:pt x="1920" y="258"/>
                      </a:lnTo>
                      <a:lnTo>
                        <a:pt x="1848" y="198"/>
                      </a:lnTo>
                      <a:lnTo>
                        <a:pt x="1818" y="168"/>
                      </a:lnTo>
                      <a:lnTo>
                        <a:pt x="1800" y="156"/>
                      </a:lnTo>
                      <a:lnTo>
                        <a:pt x="1788" y="150"/>
                      </a:lnTo>
                      <a:lnTo>
                        <a:pt x="1758" y="132"/>
                      </a:lnTo>
                      <a:lnTo>
                        <a:pt x="1728" y="120"/>
                      </a:lnTo>
                      <a:lnTo>
                        <a:pt x="1692" y="102"/>
                      </a:lnTo>
                      <a:lnTo>
                        <a:pt x="1698" y="102"/>
                      </a:lnTo>
                      <a:lnTo>
                        <a:pt x="1710" y="90"/>
                      </a:lnTo>
                      <a:lnTo>
                        <a:pt x="1710" y="72"/>
                      </a:lnTo>
                      <a:lnTo>
                        <a:pt x="1704" y="66"/>
                      </a:lnTo>
                      <a:lnTo>
                        <a:pt x="1698" y="66"/>
                      </a:lnTo>
                      <a:lnTo>
                        <a:pt x="1680" y="84"/>
                      </a:lnTo>
                      <a:lnTo>
                        <a:pt x="1644" y="96"/>
                      </a:lnTo>
                      <a:lnTo>
                        <a:pt x="1632" y="114"/>
                      </a:lnTo>
                      <a:lnTo>
                        <a:pt x="1620" y="114"/>
                      </a:lnTo>
                      <a:lnTo>
                        <a:pt x="1608" y="120"/>
                      </a:lnTo>
                      <a:lnTo>
                        <a:pt x="1602" y="126"/>
                      </a:lnTo>
                      <a:lnTo>
                        <a:pt x="1602" y="144"/>
                      </a:lnTo>
                      <a:lnTo>
                        <a:pt x="1590" y="156"/>
                      </a:lnTo>
                      <a:lnTo>
                        <a:pt x="1578" y="150"/>
                      </a:lnTo>
                      <a:lnTo>
                        <a:pt x="1572" y="144"/>
                      </a:lnTo>
                      <a:lnTo>
                        <a:pt x="1560" y="138"/>
                      </a:lnTo>
                      <a:lnTo>
                        <a:pt x="1554" y="132"/>
                      </a:lnTo>
                      <a:lnTo>
                        <a:pt x="1548" y="132"/>
                      </a:lnTo>
                      <a:lnTo>
                        <a:pt x="1542" y="138"/>
                      </a:lnTo>
                      <a:lnTo>
                        <a:pt x="1536" y="138"/>
                      </a:lnTo>
                      <a:lnTo>
                        <a:pt x="1530" y="144"/>
                      </a:lnTo>
                      <a:lnTo>
                        <a:pt x="1524" y="144"/>
                      </a:lnTo>
                      <a:lnTo>
                        <a:pt x="1524" y="138"/>
                      </a:lnTo>
                      <a:lnTo>
                        <a:pt x="1530" y="132"/>
                      </a:lnTo>
                      <a:lnTo>
                        <a:pt x="1530" y="108"/>
                      </a:lnTo>
                      <a:lnTo>
                        <a:pt x="1518" y="102"/>
                      </a:lnTo>
                      <a:lnTo>
                        <a:pt x="1512" y="102"/>
                      </a:lnTo>
                      <a:lnTo>
                        <a:pt x="1506" y="108"/>
                      </a:lnTo>
                      <a:lnTo>
                        <a:pt x="1482" y="96"/>
                      </a:lnTo>
                      <a:lnTo>
                        <a:pt x="1458" y="108"/>
                      </a:lnTo>
                      <a:lnTo>
                        <a:pt x="1434" y="72"/>
                      </a:lnTo>
                      <a:lnTo>
                        <a:pt x="1422" y="90"/>
                      </a:lnTo>
                      <a:lnTo>
                        <a:pt x="1404" y="90"/>
                      </a:lnTo>
                      <a:lnTo>
                        <a:pt x="1392" y="96"/>
                      </a:lnTo>
                      <a:lnTo>
                        <a:pt x="1374" y="96"/>
                      </a:lnTo>
                      <a:lnTo>
                        <a:pt x="1368" y="90"/>
                      </a:lnTo>
                      <a:lnTo>
                        <a:pt x="1368" y="48"/>
                      </a:lnTo>
                      <a:lnTo>
                        <a:pt x="1362" y="42"/>
                      </a:lnTo>
                      <a:lnTo>
                        <a:pt x="1350" y="42"/>
                      </a:lnTo>
                      <a:lnTo>
                        <a:pt x="1344" y="36"/>
                      </a:lnTo>
                      <a:lnTo>
                        <a:pt x="1338" y="24"/>
                      </a:lnTo>
                      <a:lnTo>
                        <a:pt x="1320" y="6"/>
                      </a:lnTo>
                      <a:lnTo>
                        <a:pt x="1314" y="6"/>
                      </a:lnTo>
                      <a:lnTo>
                        <a:pt x="1302" y="18"/>
                      </a:lnTo>
                      <a:lnTo>
                        <a:pt x="1290" y="18"/>
                      </a:lnTo>
                      <a:lnTo>
                        <a:pt x="1278" y="6"/>
                      </a:lnTo>
                      <a:lnTo>
                        <a:pt x="1260" y="6"/>
                      </a:lnTo>
                      <a:lnTo>
                        <a:pt x="1242" y="0"/>
                      </a:lnTo>
                      <a:lnTo>
                        <a:pt x="1218" y="0"/>
                      </a:lnTo>
                      <a:lnTo>
                        <a:pt x="1200" y="6"/>
                      </a:lnTo>
                      <a:lnTo>
                        <a:pt x="1188" y="12"/>
                      </a:lnTo>
                      <a:lnTo>
                        <a:pt x="1176" y="24"/>
                      </a:lnTo>
                      <a:lnTo>
                        <a:pt x="1176" y="36"/>
                      </a:lnTo>
                      <a:lnTo>
                        <a:pt x="1164" y="36"/>
                      </a:lnTo>
                      <a:lnTo>
                        <a:pt x="1110" y="54"/>
                      </a:lnTo>
                      <a:lnTo>
                        <a:pt x="1020" y="54"/>
                      </a:lnTo>
                      <a:lnTo>
                        <a:pt x="1014" y="60"/>
                      </a:lnTo>
                      <a:lnTo>
                        <a:pt x="1014" y="78"/>
                      </a:lnTo>
                      <a:lnTo>
                        <a:pt x="948" y="78"/>
                      </a:lnTo>
                      <a:lnTo>
                        <a:pt x="942" y="96"/>
                      </a:lnTo>
                      <a:lnTo>
                        <a:pt x="888" y="96"/>
                      </a:lnTo>
                      <a:lnTo>
                        <a:pt x="828" y="102"/>
                      </a:lnTo>
                      <a:lnTo>
                        <a:pt x="792" y="114"/>
                      </a:lnTo>
                      <a:lnTo>
                        <a:pt x="780" y="126"/>
                      </a:lnTo>
                      <a:lnTo>
                        <a:pt x="780" y="132"/>
                      </a:lnTo>
                      <a:lnTo>
                        <a:pt x="786" y="138"/>
                      </a:lnTo>
                      <a:lnTo>
                        <a:pt x="786" y="144"/>
                      </a:lnTo>
                      <a:lnTo>
                        <a:pt x="810" y="144"/>
                      </a:lnTo>
                      <a:lnTo>
                        <a:pt x="798" y="162"/>
                      </a:lnTo>
                      <a:lnTo>
                        <a:pt x="810" y="162"/>
                      </a:lnTo>
                      <a:lnTo>
                        <a:pt x="834" y="174"/>
                      </a:lnTo>
                      <a:lnTo>
                        <a:pt x="846" y="174"/>
                      </a:lnTo>
                      <a:lnTo>
                        <a:pt x="858" y="186"/>
                      </a:lnTo>
                      <a:lnTo>
                        <a:pt x="804" y="186"/>
                      </a:lnTo>
                      <a:lnTo>
                        <a:pt x="792" y="198"/>
                      </a:lnTo>
                      <a:lnTo>
                        <a:pt x="798" y="204"/>
                      </a:lnTo>
                      <a:lnTo>
                        <a:pt x="804" y="216"/>
                      </a:lnTo>
                      <a:lnTo>
                        <a:pt x="810" y="222"/>
                      </a:lnTo>
                      <a:lnTo>
                        <a:pt x="810" y="234"/>
                      </a:lnTo>
                      <a:lnTo>
                        <a:pt x="798" y="246"/>
                      </a:lnTo>
                      <a:lnTo>
                        <a:pt x="786" y="246"/>
                      </a:lnTo>
                      <a:lnTo>
                        <a:pt x="774" y="252"/>
                      </a:lnTo>
                      <a:lnTo>
                        <a:pt x="762" y="252"/>
                      </a:lnTo>
                      <a:lnTo>
                        <a:pt x="792" y="282"/>
                      </a:lnTo>
                      <a:lnTo>
                        <a:pt x="816" y="282"/>
                      </a:lnTo>
                      <a:lnTo>
                        <a:pt x="834" y="288"/>
                      </a:lnTo>
                      <a:lnTo>
                        <a:pt x="846" y="294"/>
                      </a:lnTo>
                      <a:lnTo>
                        <a:pt x="870" y="318"/>
                      </a:lnTo>
                      <a:lnTo>
                        <a:pt x="876" y="336"/>
                      </a:lnTo>
                      <a:lnTo>
                        <a:pt x="876" y="348"/>
                      </a:lnTo>
                      <a:lnTo>
                        <a:pt x="870" y="360"/>
                      </a:lnTo>
                      <a:lnTo>
                        <a:pt x="864" y="366"/>
                      </a:lnTo>
                      <a:lnTo>
                        <a:pt x="828" y="366"/>
                      </a:lnTo>
                      <a:lnTo>
                        <a:pt x="816" y="360"/>
                      </a:lnTo>
                      <a:lnTo>
                        <a:pt x="810" y="354"/>
                      </a:lnTo>
                      <a:lnTo>
                        <a:pt x="798" y="354"/>
                      </a:lnTo>
                      <a:lnTo>
                        <a:pt x="792" y="348"/>
                      </a:lnTo>
                      <a:lnTo>
                        <a:pt x="780" y="372"/>
                      </a:lnTo>
                      <a:lnTo>
                        <a:pt x="768" y="372"/>
                      </a:lnTo>
                      <a:lnTo>
                        <a:pt x="756" y="366"/>
                      </a:lnTo>
                      <a:lnTo>
                        <a:pt x="732" y="366"/>
                      </a:lnTo>
                      <a:lnTo>
                        <a:pt x="708" y="354"/>
                      </a:lnTo>
                      <a:lnTo>
                        <a:pt x="702" y="342"/>
                      </a:lnTo>
                      <a:lnTo>
                        <a:pt x="690" y="336"/>
                      </a:lnTo>
                      <a:lnTo>
                        <a:pt x="684" y="330"/>
                      </a:lnTo>
                      <a:lnTo>
                        <a:pt x="672" y="330"/>
                      </a:lnTo>
                      <a:lnTo>
                        <a:pt x="666" y="336"/>
                      </a:lnTo>
                      <a:lnTo>
                        <a:pt x="654" y="342"/>
                      </a:lnTo>
                      <a:lnTo>
                        <a:pt x="636" y="348"/>
                      </a:lnTo>
                      <a:lnTo>
                        <a:pt x="624" y="348"/>
                      </a:lnTo>
                      <a:lnTo>
                        <a:pt x="588" y="330"/>
                      </a:lnTo>
                      <a:lnTo>
                        <a:pt x="582" y="330"/>
                      </a:lnTo>
                      <a:lnTo>
                        <a:pt x="570" y="336"/>
                      </a:lnTo>
                      <a:lnTo>
                        <a:pt x="558" y="348"/>
                      </a:lnTo>
                      <a:lnTo>
                        <a:pt x="546" y="354"/>
                      </a:lnTo>
                      <a:lnTo>
                        <a:pt x="540" y="366"/>
                      </a:lnTo>
                      <a:lnTo>
                        <a:pt x="534" y="372"/>
                      </a:lnTo>
                      <a:lnTo>
                        <a:pt x="462" y="336"/>
                      </a:lnTo>
                      <a:lnTo>
                        <a:pt x="450" y="336"/>
                      </a:lnTo>
                      <a:lnTo>
                        <a:pt x="450" y="342"/>
                      </a:lnTo>
                      <a:lnTo>
                        <a:pt x="462" y="354"/>
                      </a:lnTo>
                      <a:lnTo>
                        <a:pt x="462" y="372"/>
                      </a:lnTo>
                      <a:lnTo>
                        <a:pt x="450" y="372"/>
                      </a:lnTo>
                      <a:lnTo>
                        <a:pt x="438" y="360"/>
                      </a:lnTo>
                      <a:lnTo>
                        <a:pt x="438" y="354"/>
                      </a:lnTo>
                      <a:lnTo>
                        <a:pt x="426" y="324"/>
                      </a:lnTo>
                      <a:lnTo>
                        <a:pt x="390" y="324"/>
                      </a:lnTo>
                      <a:lnTo>
                        <a:pt x="384" y="312"/>
                      </a:lnTo>
                      <a:lnTo>
                        <a:pt x="384" y="306"/>
                      </a:lnTo>
                      <a:lnTo>
                        <a:pt x="378" y="300"/>
                      </a:lnTo>
                      <a:lnTo>
                        <a:pt x="318" y="300"/>
                      </a:lnTo>
                      <a:lnTo>
                        <a:pt x="312" y="288"/>
                      </a:lnTo>
                      <a:lnTo>
                        <a:pt x="306" y="282"/>
                      </a:lnTo>
                      <a:lnTo>
                        <a:pt x="288" y="282"/>
                      </a:lnTo>
                      <a:lnTo>
                        <a:pt x="276" y="288"/>
                      </a:lnTo>
                      <a:lnTo>
                        <a:pt x="264" y="300"/>
                      </a:lnTo>
                      <a:lnTo>
                        <a:pt x="234" y="300"/>
                      </a:lnTo>
                      <a:lnTo>
                        <a:pt x="228" y="294"/>
                      </a:lnTo>
                      <a:lnTo>
                        <a:pt x="228" y="288"/>
                      </a:lnTo>
                      <a:lnTo>
                        <a:pt x="222" y="288"/>
                      </a:lnTo>
                      <a:lnTo>
                        <a:pt x="210" y="282"/>
                      </a:lnTo>
                      <a:lnTo>
                        <a:pt x="180" y="282"/>
                      </a:lnTo>
                      <a:lnTo>
                        <a:pt x="180" y="288"/>
                      </a:lnTo>
                      <a:lnTo>
                        <a:pt x="186" y="294"/>
                      </a:lnTo>
                      <a:lnTo>
                        <a:pt x="186" y="312"/>
                      </a:lnTo>
                      <a:lnTo>
                        <a:pt x="174" y="324"/>
                      </a:lnTo>
                      <a:lnTo>
                        <a:pt x="162" y="330"/>
                      </a:lnTo>
                      <a:lnTo>
                        <a:pt x="150" y="330"/>
                      </a:lnTo>
                      <a:lnTo>
                        <a:pt x="138" y="336"/>
                      </a:lnTo>
                      <a:lnTo>
                        <a:pt x="132" y="336"/>
                      </a:lnTo>
                      <a:lnTo>
                        <a:pt x="132" y="360"/>
                      </a:lnTo>
                      <a:lnTo>
                        <a:pt x="102" y="372"/>
                      </a:lnTo>
                      <a:lnTo>
                        <a:pt x="114" y="384"/>
                      </a:lnTo>
                      <a:lnTo>
                        <a:pt x="120" y="396"/>
                      </a:lnTo>
                      <a:lnTo>
                        <a:pt x="114" y="402"/>
                      </a:lnTo>
                      <a:lnTo>
                        <a:pt x="108" y="414"/>
                      </a:lnTo>
                      <a:lnTo>
                        <a:pt x="102" y="420"/>
                      </a:lnTo>
                      <a:lnTo>
                        <a:pt x="90" y="420"/>
                      </a:lnTo>
                      <a:lnTo>
                        <a:pt x="78" y="414"/>
                      </a:lnTo>
                      <a:lnTo>
                        <a:pt x="72" y="402"/>
                      </a:lnTo>
                      <a:lnTo>
                        <a:pt x="60" y="396"/>
                      </a:lnTo>
                      <a:lnTo>
                        <a:pt x="48" y="384"/>
                      </a:lnTo>
                      <a:lnTo>
                        <a:pt x="36" y="378"/>
                      </a:lnTo>
                      <a:lnTo>
                        <a:pt x="24" y="378"/>
                      </a:lnTo>
                      <a:lnTo>
                        <a:pt x="18" y="384"/>
                      </a:lnTo>
                      <a:lnTo>
                        <a:pt x="18" y="396"/>
                      </a:lnTo>
                      <a:lnTo>
                        <a:pt x="24" y="402"/>
                      </a:lnTo>
                      <a:lnTo>
                        <a:pt x="24" y="426"/>
                      </a:lnTo>
                      <a:lnTo>
                        <a:pt x="0" y="426"/>
                      </a:lnTo>
                      <a:lnTo>
                        <a:pt x="6" y="462"/>
                      </a:lnTo>
                      <a:lnTo>
                        <a:pt x="12" y="468"/>
                      </a:lnTo>
                      <a:lnTo>
                        <a:pt x="12" y="492"/>
                      </a:lnTo>
                      <a:lnTo>
                        <a:pt x="0" y="516"/>
                      </a:lnTo>
                      <a:lnTo>
                        <a:pt x="0" y="546"/>
                      </a:lnTo>
                      <a:lnTo>
                        <a:pt x="6" y="546"/>
                      </a:lnTo>
                      <a:lnTo>
                        <a:pt x="12" y="552"/>
                      </a:lnTo>
                      <a:lnTo>
                        <a:pt x="36" y="552"/>
                      </a:lnTo>
                      <a:lnTo>
                        <a:pt x="42" y="558"/>
                      </a:lnTo>
                      <a:lnTo>
                        <a:pt x="42" y="588"/>
                      </a:lnTo>
                      <a:lnTo>
                        <a:pt x="48" y="594"/>
                      </a:lnTo>
                      <a:lnTo>
                        <a:pt x="90" y="594"/>
                      </a:lnTo>
                      <a:lnTo>
                        <a:pt x="102" y="588"/>
                      </a:lnTo>
                      <a:lnTo>
                        <a:pt x="114" y="588"/>
                      </a:lnTo>
                      <a:lnTo>
                        <a:pt x="162" y="636"/>
                      </a:lnTo>
                      <a:lnTo>
                        <a:pt x="168" y="648"/>
                      </a:lnTo>
                      <a:lnTo>
                        <a:pt x="180" y="660"/>
                      </a:lnTo>
                      <a:lnTo>
                        <a:pt x="180" y="672"/>
                      </a:lnTo>
                      <a:lnTo>
                        <a:pt x="144" y="672"/>
                      </a:lnTo>
                      <a:lnTo>
                        <a:pt x="144" y="678"/>
                      </a:lnTo>
                      <a:lnTo>
                        <a:pt x="156" y="690"/>
                      </a:lnTo>
                      <a:lnTo>
                        <a:pt x="174" y="696"/>
                      </a:lnTo>
                      <a:lnTo>
                        <a:pt x="186" y="696"/>
                      </a:lnTo>
                      <a:lnTo>
                        <a:pt x="192" y="702"/>
                      </a:lnTo>
                      <a:lnTo>
                        <a:pt x="198" y="702"/>
                      </a:lnTo>
                      <a:lnTo>
                        <a:pt x="204" y="690"/>
                      </a:lnTo>
                      <a:lnTo>
                        <a:pt x="222" y="690"/>
                      </a:lnTo>
                      <a:lnTo>
                        <a:pt x="228" y="684"/>
                      </a:lnTo>
                      <a:lnTo>
                        <a:pt x="246" y="672"/>
                      </a:lnTo>
                      <a:lnTo>
                        <a:pt x="306" y="648"/>
                      </a:lnTo>
                      <a:lnTo>
                        <a:pt x="324" y="642"/>
                      </a:lnTo>
                      <a:lnTo>
                        <a:pt x="336" y="648"/>
                      </a:lnTo>
                      <a:lnTo>
                        <a:pt x="342" y="654"/>
                      </a:lnTo>
                      <a:lnTo>
                        <a:pt x="360" y="666"/>
                      </a:lnTo>
                      <a:lnTo>
                        <a:pt x="366" y="672"/>
                      </a:lnTo>
                      <a:lnTo>
                        <a:pt x="384" y="672"/>
                      </a:lnTo>
                      <a:lnTo>
                        <a:pt x="390" y="666"/>
                      </a:lnTo>
                      <a:lnTo>
                        <a:pt x="402" y="666"/>
                      </a:lnTo>
                      <a:lnTo>
                        <a:pt x="408" y="660"/>
                      </a:lnTo>
                      <a:lnTo>
                        <a:pt x="414" y="666"/>
                      </a:lnTo>
                      <a:lnTo>
                        <a:pt x="426" y="672"/>
                      </a:lnTo>
                      <a:lnTo>
                        <a:pt x="450" y="696"/>
                      </a:lnTo>
                      <a:lnTo>
                        <a:pt x="450" y="726"/>
                      </a:lnTo>
                      <a:lnTo>
                        <a:pt x="444" y="732"/>
                      </a:lnTo>
                      <a:lnTo>
                        <a:pt x="444" y="738"/>
                      </a:lnTo>
                      <a:lnTo>
                        <a:pt x="438" y="744"/>
                      </a:lnTo>
                      <a:lnTo>
                        <a:pt x="438" y="750"/>
                      </a:lnTo>
                      <a:lnTo>
                        <a:pt x="444" y="756"/>
                      </a:lnTo>
                      <a:lnTo>
                        <a:pt x="450" y="768"/>
                      </a:lnTo>
                      <a:lnTo>
                        <a:pt x="462" y="774"/>
                      </a:lnTo>
                      <a:lnTo>
                        <a:pt x="474" y="786"/>
                      </a:lnTo>
                      <a:lnTo>
                        <a:pt x="486" y="786"/>
                      </a:lnTo>
                      <a:lnTo>
                        <a:pt x="504" y="768"/>
                      </a:lnTo>
                      <a:lnTo>
                        <a:pt x="516" y="762"/>
                      </a:lnTo>
                      <a:lnTo>
                        <a:pt x="528" y="762"/>
                      </a:lnTo>
                      <a:lnTo>
                        <a:pt x="528" y="792"/>
                      </a:lnTo>
                      <a:lnTo>
                        <a:pt x="546" y="810"/>
                      </a:lnTo>
                      <a:lnTo>
                        <a:pt x="510" y="816"/>
                      </a:lnTo>
                      <a:lnTo>
                        <a:pt x="510" y="828"/>
                      </a:lnTo>
                      <a:lnTo>
                        <a:pt x="504" y="834"/>
                      </a:lnTo>
                      <a:lnTo>
                        <a:pt x="498" y="834"/>
                      </a:lnTo>
                      <a:lnTo>
                        <a:pt x="486" y="822"/>
                      </a:lnTo>
                      <a:lnTo>
                        <a:pt x="486" y="816"/>
                      </a:lnTo>
                      <a:lnTo>
                        <a:pt x="498" y="804"/>
                      </a:lnTo>
                      <a:lnTo>
                        <a:pt x="504" y="804"/>
                      </a:lnTo>
                      <a:lnTo>
                        <a:pt x="510" y="798"/>
                      </a:lnTo>
                      <a:lnTo>
                        <a:pt x="480" y="798"/>
                      </a:lnTo>
                      <a:lnTo>
                        <a:pt x="462" y="792"/>
                      </a:lnTo>
                      <a:lnTo>
                        <a:pt x="450" y="792"/>
                      </a:lnTo>
                      <a:lnTo>
                        <a:pt x="432" y="786"/>
                      </a:lnTo>
                      <a:lnTo>
                        <a:pt x="408" y="786"/>
                      </a:lnTo>
                      <a:lnTo>
                        <a:pt x="390" y="780"/>
                      </a:lnTo>
                      <a:lnTo>
                        <a:pt x="372" y="780"/>
                      </a:lnTo>
                      <a:lnTo>
                        <a:pt x="360" y="774"/>
                      </a:lnTo>
                      <a:lnTo>
                        <a:pt x="348" y="774"/>
                      </a:lnTo>
                      <a:lnTo>
                        <a:pt x="360" y="804"/>
                      </a:lnTo>
                      <a:lnTo>
                        <a:pt x="342" y="804"/>
                      </a:lnTo>
                      <a:lnTo>
                        <a:pt x="330" y="816"/>
                      </a:lnTo>
                      <a:lnTo>
                        <a:pt x="330" y="822"/>
                      </a:lnTo>
                      <a:lnTo>
                        <a:pt x="336" y="828"/>
                      </a:lnTo>
                      <a:lnTo>
                        <a:pt x="348" y="834"/>
                      </a:lnTo>
                      <a:lnTo>
                        <a:pt x="354" y="840"/>
                      </a:lnTo>
                      <a:lnTo>
                        <a:pt x="366" y="840"/>
                      </a:lnTo>
                      <a:lnTo>
                        <a:pt x="372" y="846"/>
                      </a:lnTo>
                      <a:lnTo>
                        <a:pt x="372" y="852"/>
                      </a:lnTo>
                      <a:lnTo>
                        <a:pt x="360" y="852"/>
                      </a:lnTo>
                      <a:lnTo>
                        <a:pt x="348" y="846"/>
                      </a:lnTo>
                      <a:lnTo>
                        <a:pt x="336" y="846"/>
                      </a:lnTo>
                      <a:lnTo>
                        <a:pt x="324" y="840"/>
                      </a:lnTo>
                      <a:lnTo>
                        <a:pt x="306" y="834"/>
                      </a:lnTo>
                      <a:lnTo>
                        <a:pt x="300" y="834"/>
                      </a:lnTo>
                      <a:lnTo>
                        <a:pt x="294" y="840"/>
                      </a:lnTo>
                      <a:lnTo>
                        <a:pt x="294" y="846"/>
                      </a:lnTo>
                      <a:lnTo>
                        <a:pt x="306" y="858"/>
                      </a:lnTo>
                      <a:lnTo>
                        <a:pt x="318" y="864"/>
                      </a:lnTo>
                      <a:lnTo>
                        <a:pt x="324" y="870"/>
                      </a:lnTo>
                      <a:lnTo>
                        <a:pt x="336" y="870"/>
                      </a:lnTo>
                      <a:lnTo>
                        <a:pt x="336" y="882"/>
                      </a:lnTo>
                      <a:lnTo>
                        <a:pt x="342" y="894"/>
                      </a:lnTo>
                      <a:lnTo>
                        <a:pt x="366" y="918"/>
                      </a:lnTo>
                      <a:lnTo>
                        <a:pt x="372" y="930"/>
                      </a:lnTo>
                      <a:lnTo>
                        <a:pt x="372" y="954"/>
                      </a:lnTo>
                      <a:lnTo>
                        <a:pt x="408" y="960"/>
                      </a:lnTo>
                      <a:lnTo>
                        <a:pt x="414" y="978"/>
                      </a:lnTo>
                      <a:lnTo>
                        <a:pt x="444" y="978"/>
                      </a:lnTo>
                      <a:lnTo>
                        <a:pt x="480" y="996"/>
                      </a:lnTo>
                      <a:lnTo>
                        <a:pt x="486" y="1002"/>
                      </a:lnTo>
                      <a:lnTo>
                        <a:pt x="486" y="1014"/>
                      </a:lnTo>
                      <a:lnTo>
                        <a:pt x="480" y="1020"/>
                      </a:lnTo>
                      <a:lnTo>
                        <a:pt x="468" y="1026"/>
                      </a:lnTo>
                      <a:lnTo>
                        <a:pt x="462" y="1038"/>
                      </a:lnTo>
                      <a:lnTo>
                        <a:pt x="462" y="1056"/>
                      </a:lnTo>
                      <a:lnTo>
                        <a:pt x="468" y="1062"/>
                      </a:lnTo>
                      <a:lnTo>
                        <a:pt x="492" y="1062"/>
                      </a:lnTo>
                      <a:lnTo>
                        <a:pt x="498" y="1056"/>
                      </a:lnTo>
                      <a:lnTo>
                        <a:pt x="504" y="1038"/>
                      </a:lnTo>
                      <a:lnTo>
                        <a:pt x="510" y="1026"/>
                      </a:lnTo>
                      <a:lnTo>
                        <a:pt x="516" y="1020"/>
                      </a:lnTo>
                      <a:lnTo>
                        <a:pt x="528" y="1020"/>
                      </a:lnTo>
                      <a:lnTo>
                        <a:pt x="546" y="1026"/>
                      </a:lnTo>
                      <a:lnTo>
                        <a:pt x="546" y="1020"/>
                      </a:lnTo>
                      <a:lnTo>
                        <a:pt x="552" y="1014"/>
                      </a:lnTo>
                      <a:lnTo>
                        <a:pt x="570" y="1014"/>
                      </a:lnTo>
                      <a:lnTo>
                        <a:pt x="594" y="1026"/>
                      </a:lnTo>
                      <a:lnTo>
                        <a:pt x="606" y="1026"/>
                      </a:lnTo>
                      <a:lnTo>
                        <a:pt x="618" y="1038"/>
                      </a:lnTo>
                      <a:lnTo>
                        <a:pt x="630" y="1044"/>
                      </a:lnTo>
                      <a:lnTo>
                        <a:pt x="636" y="1056"/>
                      </a:lnTo>
                      <a:lnTo>
                        <a:pt x="642" y="1062"/>
                      </a:lnTo>
                      <a:lnTo>
                        <a:pt x="648" y="1074"/>
                      </a:lnTo>
                      <a:lnTo>
                        <a:pt x="672" y="1098"/>
                      </a:lnTo>
                      <a:lnTo>
                        <a:pt x="684" y="1104"/>
                      </a:lnTo>
                      <a:lnTo>
                        <a:pt x="690" y="1110"/>
                      </a:lnTo>
                      <a:lnTo>
                        <a:pt x="696" y="1104"/>
                      </a:lnTo>
                      <a:lnTo>
                        <a:pt x="696" y="1098"/>
                      </a:lnTo>
                      <a:lnTo>
                        <a:pt x="702" y="1092"/>
                      </a:lnTo>
                      <a:lnTo>
                        <a:pt x="654" y="810"/>
                      </a:lnTo>
                      <a:lnTo>
                        <a:pt x="798" y="768"/>
                      </a:lnTo>
                      <a:lnTo>
                        <a:pt x="804" y="774"/>
                      </a:lnTo>
                      <a:lnTo>
                        <a:pt x="804" y="762"/>
                      </a:lnTo>
                      <a:lnTo>
                        <a:pt x="810" y="756"/>
                      </a:lnTo>
                      <a:lnTo>
                        <a:pt x="810" y="750"/>
                      </a:lnTo>
                      <a:lnTo>
                        <a:pt x="816" y="738"/>
                      </a:lnTo>
                      <a:lnTo>
                        <a:pt x="816" y="732"/>
                      </a:lnTo>
                      <a:lnTo>
                        <a:pt x="822" y="726"/>
                      </a:lnTo>
                      <a:lnTo>
                        <a:pt x="846" y="726"/>
                      </a:lnTo>
                      <a:lnTo>
                        <a:pt x="852" y="750"/>
                      </a:lnTo>
                      <a:lnTo>
                        <a:pt x="864" y="744"/>
                      </a:lnTo>
                      <a:lnTo>
                        <a:pt x="870" y="744"/>
                      </a:lnTo>
                      <a:lnTo>
                        <a:pt x="876" y="738"/>
                      </a:lnTo>
                      <a:lnTo>
                        <a:pt x="876" y="732"/>
                      </a:lnTo>
                      <a:lnTo>
                        <a:pt x="852" y="708"/>
                      </a:lnTo>
                      <a:lnTo>
                        <a:pt x="870" y="708"/>
                      </a:lnTo>
                      <a:lnTo>
                        <a:pt x="882" y="720"/>
                      </a:lnTo>
                      <a:lnTo>
                        <a:pt x="936" y="720"/>
                      </a:lnTo>
                      <a:lnTo>
                        <a:pt x="924" y="708"/>
                      </a:lnTo>
                      <a:lnTo>
                        <a:pt x="918" y="708"/>
                      </a:lnTo>
                      <a:lnTo>
                        <a:pt x="906" y="696"/>
                      </a:lnTo>
                      <a:lnTo>
                        <a:pt x="882" y="696"/>
                      </a:lnTo>
                      <a:lnTo>
                        <a:pt x="876" y="690"/>
                      </a:lnTo>
                      <a:lnTo>
                        <a:pt x="876" y="684"/>
                      </a:lnTo>
                      <a:lnTo>
                        <a:pt x="882" y="678"/>
                      </a:lnTo>
                      <a:lnTo>
                        <a:pt x="906" y="678"/>
                      </a:lnTo>
                      <a:lnTo>
                        <a:pt x="924" y="666"/>
                      </a:lnTo>
                      <a:lnTo>
                        <a:pt x="930" y="672"/>
                      </a:lnTo>
                      <a:lnTo>
                        <a:pt x="936" y="684"/>
                      </a:lnTo>
                      <a:lnTo>
                        <a:pt x="942" y="690"/>
                      </a:lnTo>
                      <a:lnTo>
                        <a:pt x="948" y="690"/>
                      </a:lnTo>
                      <a:lnTo>
                        <a:pt x="954" y="684"/>
                      </a:lnTo>
                      <a:lnTo>
                        <a:pt x="960" y="690"/>
                      </a:lnTo>
                      <a:lnTo>
                        <a:pt x="966" y="702"/>
                      </a:lnTo>
                      <a:lnTo>
                        <a:pt x="966" y="708"/>
                      </a:lnTo>
                      <a:lnTo>
                        <a:pt x="960" y="714"/>
                      </a:lnTo>
                      <a:lnTo>
                        <a:pt x="954" y="714"/>
                      </a:lnTo>
                      <a:lnTo>
                        <a:pt x="942" y="720"/>
                      </a:lnTo>
                      <a:lnTo>
                        <a:pt x="924" y="738"/>
                      </a:lnTo>
                      <a:lnTo>
                        <a:pt x="888" y="738"/>
                      </a:lnTo>
                      <a:lnTo>
                        <a:pt x="882" y="744"/>
                      </a:lnTo>
                      <a:lnTo>
                        <a:pt x="882" y="756"/>
                      </a:lnTo>
                      <a:lnTo>
                        <a:pt x="888" y="762"/>
                      </a:lnTo>
                      <a:lnTo>
                        <a:pt x="900" y="762"/>
                      </a:lnTo>
                      <a:lnTo>
                        <a:pt x="906" y="768"/>
                      </a:lnTo>
                      <a:lnTo>
                        <a:pt x="918" y="768"/>
                      </a:lnTo>
                      <a:lnTo>
                        <a:pt x="918" y="786"/>
                      </a:lnTo>
                      <a:lnTo>
                        <a:pt x="912" y="798"/>
                      </a:lnTo>
                      <a:lnTo>
                        <a:pt x="912" y="816"/>
                      </a:lnTo>
                      <a:lnTo>
                        <a:pt x="918" y="822"/>
                      </a:lnTo>
                      <a:lnTo>
                        <a:pt x="984" y="858"/>
                      </a:lnTo>
                      <a:lnTo>
                        <a:pt x="1062" y="930"/>
                      </a:lnTo>
                      <a:lnTo>
                        <a:pt x="1068" y="930"/>
                      </a:lnTo>
                      <a:lnTo>
                        <a:pt x="1074" y="924"/>
                      </a:lnTo>
                      <a:lnTo>
                        <a:pt x="1110" y="924"/>
                      </a:lnTo>
                      <a:lnTo>
                        <a:pt x="1128" y="918"/>
                      </a:lnTo>
                      <a:lnTo>
                        <a:pt x="1188" y="918"/>
                      </a:lnTo>
                      <a:lnTo>
                        <a:pt x="1206" y="924"/>
                      </a:lnTo>
                      <a:lnTo>
                        <a:pt x="1224" y="924"/>
                      </a:lnTo>
                      <a:lnTo>
                        <a:pt x="1230" y="918"/>
                      </a:lnTo>
                      <a:lnTo>
                        <a:pt x="1254" y="906"/>
                      </a:lnTo>
                      <a:lnTo>
                        <a:pt x="1266" y="906"/>
                      </a:lnTo>
                      <a:lnTo>
                        <a:pt x="1272" y="918"/>
                      </a:lnTo>
                      <a:lnTo>
                        <a:pt x="1290" y="936"/>
                      </a:lnTo>
                      <a:lnTo>
                        <a:pt x="1296" y="954"/>
                      </a:lnTo>
                      <a:lnTo>
                        <a:pt x="1308" y="960"/>
                      </a:lnTo>
                      <a:lnTo>
                        <a:pt x="1314" y="972"/>
                      </a:lnTo>
                      <a:lnTo>
                        <a:pt x="1344" y="972"/>
                      </a:lnTo>
                      <a:lnTo>
                        <a:pt x="1344" y="984"/>
                      </a:lnTo>
                      <a:lnTo>
                        <a:pt x="1350" y="1002"/>
                      </a:lnTo>
                      <a:lnTo>
                        <a:pt x="1350" y="1044"/>
                      </a:lnTo>
                      <a:lnTo>
                        <a:pt x="1356" y="1050"/>
                      </a:lnTo>
                      <a:lnTo>
                        <a:pt x="1362" y="1050"/>
                      </a:lnTo>
                      <a:lnTo>
                        <a:pt x="1368" y="1044"/>
                      </a:lnTo>
                      <a:lnTo>
                        <a:pt x="1380" y="1044"/>
                      </a:lnTo>
                      <a:lnTo>
                        <a:pt x="1386" y="1050"/>
                      </a:lnTo>
                      <a:lnTo>
                        <a:pt x="1416" y="1110"/>
                      </a:lnTo>
                      <a:lnTo>
                        <a:pt x="1494" y="1110"/>
                      </a:lnTo>
                      <a:lnTo>
                        <a:pt x="1512" y="1116"/>
                      </a:lnTo>
                      <a:lnTo>
                        <a:pt x="1512" y="1134"/>
                      </a:lnTo>
                      <a:lnTo>
                        <a:pt x="1506" y="1140"/>
                      </a:lnTo>
                      <a:lnTo>
                        <a:pt x="1506" y="1152"/>
                      </a:lnTo>
                      <a:lnTo>
                        <a:pt x="1512" y="1152"/>
                      </a:lnTo>
                      <a:lnTo>
                        <a:pt x="1524" y="1158"/>
                      </a:lnTo>
                      <a:lnTo>
                        <a:pt x="1536" y="1158"/>
                      </a:lnTo>
                      <a:lnTo>
                        <a:pt x="1542" y="1164"/>
                      </a:lnTo>
                      <a:lnTo>
                        <a:pt x="1542" y="1152"/>
                      </a:lnTo>
                      <a:lnTo>
                        <a:pt x="1536" y="1146"/>
                      </a:lnTo>
                      <a:lnTo>
                        <a:pt x="1536" y="1134"/>
                      </a:lnTo>
                      <a:lnTo>
                        <a:pt x="1548" y="1122"/>
                      </a:lnTo>
                      <a:lnTo>
                        <a:pt x="1560" y="1116"/>
                      </a:lnTo>
                      <a:lnTo>
                        <a:pt x="1566" y="1110"/>
                      </a:lnTo>
                      <a:lnTo>
                        <a:pt x="1572" y="1110"/>
                      </a:lnTo>
                      <a:lnTo>
                        <a:pt x="1572" y="1092"/>
                      </a:lnTo>
                      <a:lnTo>
                        <a:pt x="1584" y="1080"/>
                      </a:lnTo>
                      <a:lnTo>
                        <a:pt x="1596" y="1074"/>
                      </a:lnTo>
                      <a:lnTo>
                        <a:pt x="1608" y="1074"/>
                      </a:lnTo>
                      <a:lnTo>
                        <a:pt x="1614" y="1068"/>
                      </a:lnTo>
                      <a:lnTo>
                        <a:pt x="1620" y="1068"/>
                      </a:lnTo>
                      <a:lnTo>
                        <a:pt x="1632" y="1044"/>
                      </a:lnTo>
                      <a:lnTo>
                        <a:pt x="1656" y="1044"/>
                      </a:lnTo>
                      <a:lnTo>
                        <a:pt x="1686" y="1026"/>
                      </a:lnTo>
                      <a:lnTo>
                        <a:pt x="1662" y="1026"/>
                      </a:lnTo>
                      <a:lnTo>
                        <a:pt x="1662" y="1008"/>
                      </a:lnTo>
                      <a:lnTo>
                        <a:pt x="1668" y="996"/>
                      </a:lnTo>
                      <a:lnTo>
                        <a:pt x="1686" y="978"/>
                      </a:lnTo>
                      <a:lnTo>
                        <a:pt x="1716" y="978"/>
                      </a:lnTo>
                      <a:lnTo>
                        <a:pt x="1728" y="984"/>
                      </a:lnTo>
                      <a:lnTo>
                        <a:pt x="1746" y="990"/>
                      </a:lnTo>
                      <a:lnTo>
                        <a:pt x="1782" y="1008"/>
                      </a:lnTo>
                      <a:lnTo>
                        <a:pt x="1812" y="1008"/>
                      </a:lnTo>
                      <a:lnTo>
                        <a:pt x="1830" y="1014"/>
                      </a:lnTo>
                      <a:lnTo>
                        <a:pt x="1830" y="1002"/>
                      </a:lnTo>
                      <a:lnTo>
                        <a:pt x="1824" y="990"/>
                      </a:lnTo>
                      <a:lnTo>
                        <a:pt x="1824" y="960"/>
                      </a:lnTo>
                      <a:lnTo>
                        <a:pt x="1830" y="954"/>
                      </a:lnTo>
                      <a:lnTo>
                        <a:pt x="1872" y="954"/>
                      </a:lnTo>
                      <a:lnTo>
                        <a:pt x="1884" y="960"/>
                      </a:lnTo>
                      <a:lnTo>
                        <a:pt x="1890" y="972"/>
                      </a:lnTo>
                      <a:lnTo>
                        <a:pt x="1914" y="972"/>
                      </a:lnTo>
                      <a:lnTo>
                        <a:pt x="1926" y="978"/>
                      </a:lnTo>
                      <a:lnTo>
                        <a:pt x="1944" y="978"/>
                      </a:lnTo>
                      <a:lnTo>
                        <a:pt x="1962" y="972"/>
                      </a:lnTo>
                      <a:lnTo>
                        <a:pt x="2082" y="972"/>
                      </a:lnTo>
                      <a:lnTo>
                        <a:pt x="2094" y="978"/>
                      </a:lnTo>
                      <a:lnTo>
                        <a:pt x="2106" y="978"/>
                      </a:lnTo>
                      <a:lnTo>
                        <a:pt x="2154" y="972"/>
                      </a:lnTo>
                      <a:lnTo>
                        <a:pt x="2166" y="984"/>
                      </a:lnTo>
                      <a:lnTo>
                        <a:pt x="2184" y="984"/>
                      </a:lnTo>
                      <a:lnTo>
                        <a:pt x="2208" y="1014"/>
                      </a:lnTo>
                      <a:lnTo>
                        <a:pt x="2250" y="1014"/>
                      </a:lnTo>
                      <a:lnTo>
                        <a:pt x="2268" y="1020"/>
                      </a:lnTo>
                      <a:lnTo>
                        <a:pt x="2262" y="1014"/>
                      </a:lnTo>
                      <a:lnTo>
                        <a:pt x="2262" y="1002"/>
                      </a:lnTo>
                      <a:lnTo>
                        <a:pt x="2256" y="996"/>
                      </a:lnTo>
                      <a:lnTo>
                        <a:pt x="2256" y="984"/>
                      </a:lnTo>
                      <a:lnTo>
                        <a:pt x="2280" y="984"/>
                      </a:lnTo>
                      <a:lnTo>
                        <a:pt x="2262" y="966"/>
                      </a:lnTo>
                      <a:lnTo>
                        <a:pt x="2262" y="960"/>
                      </a:lnTo>
                      <a:lnTo>
                        <a:pt x="2268" y="954"/>
                      </a:lnTo>
                      <a:lnTo>
                        <a:pt x="2286" y="954"/>
                      </a:lnTo>
                      <a:lnTo>
                        <a:pt x="2286" y="942"/>
                      </a:lnTo>
                      <a:lnTo>
                        <a:pt x="2274" y="936"/>
                      </a:lnTo>
                      <a:lnTo>
                        <a:pt x="2268" y="924"/>
                      </a:lnTo>
                      <a:lnTo>
                        <a:pt x="2226" y="882"/>
                      </a:lnTo>
                      <a:lnTo>
                        <a:pt x="2214" y="858"/>
                      </a:lnTo>
                      <a:lnTo>
                        <a:pt x="2214" y="828"/>
                      </a:lnTo>
                      <a:lnTo>
                        <a:pt x="2196" y="828"/>
                      </a:lnTo>
                      <a:lnTo>
                        <a:pt x="2184" y="822"/>
                      </a:lnTo>
                      <a:lnTo>
                        <a:pt x="2178" y="816"/>
                      </a:lnTo>
                      <a:lnTo>
                        <a:pt x="2178" y="810"/>
                      </a:lnTo>
                      <a:lnTo>
                        <a:pt x="2184" y="804"/>
                      </a:lnTo>
                      <a:lnTo>
                        <a:pt x="2196" y="798"/>
                      </a:lnTo>
                      <a:lnTo>
                        <a:pt x="2208" y="798"/>
                      </a:lnTo>
                      <a:lnTo>
                        <a:pt x="2220" y="792"/>
                      </a:lnTo>
                      <a:lnTo>
                        <a:pt x="2232" y="792"/>
                      </a:lnTo>
                      <a:lnTo>
                        <a:pt x="2268" y="774"/>
                      </a:lnTo>
                      <a:lnTo>
                        <a:pt x="2280" y="774"/>
                      </a:lnTo>
                      <a:lnTo>
                        <a:pt x="2286" y="780"/>
                      </a:lnTo>
                      <a:lnTo>
                        <a:pt x="2292" y="792"/>
                      </a:lnTo>
                      <a:lnTo>
                        <a:pt x="2298" y="798"/>
                      </a:lnTo>
                      <a:lnTo>
                        <a:pt x="2316" y="786"/>
                      </a:lnTo>
                      <a:lnTo>
                        <a:pt x="2328" y="798"/>
                      </a:lnTo>
                      <a:lnTo>
                        <a:pt x="2334" y="798"/>
                      </a:lnTo>
                      <a:lnTo>
                        <a:pt x="2340" y="792"/>
                      </a:lnTo>
                      <a:lnTo>
                        <a:pt x="2340" y="780"/>
                      </a:lnTo>
                      <a:lnTo>
                        <a:pt x="2334" y="774"/>
                      </a:lnTo>
                      <a:lnTo>
                        <a:pt x="2328" y="774"/>
                      </a:lnTo>
                      <a:lnTo>
                        <a:pt x="2322" y="768"/>
                      </a:lnTo>
                      <a:lnTo>
                        <a:pt x="2316" y="768"/>
                      </a:lnTo>
                      <a:lnTo>
                        <a:pt x="2316" y="630"/>
                      </a:lnTo>
                      <a:lnTo>
                        <a:pt x="2328" y="630"/>
                      </a:lnTo>
                      <a:lnTo>
                        <a:pt x="2340" y="636"/>
                      </a:lnTo>
                      <a:lnTo>
                        <a:pt x="2352" y="636"/>
                      </a:lnTo>
                      <a:lnTo>
                        <a:pt x="2376" y="648"/>
                      </a:lnTo>
                      <a:lnTo>
                        <a:pt x="2424" y="648"/>
                      </a:lnTo>
                      <a:lnTo>
                        <a:pt x="2436" y="660"/>
                      </a:lnTo>
                      <a:lnTo>
                        <a:pt x="2454" y="642"/>
                      </a:lnTo>
                      <a:lnTo>
                        <a:pt x="2472" y="642"/>
                      </a:lnTo>
                      <a:lnTo>
                        <a:pt x="2478" y="636"/>
                      </a:lnTo>
                      <a:lnTo>
                        <a:pt x="2478" y="618"/>
                      </a:lnTo>
                      <a:lnTo>
                        <a:pt x="2466" y="594"/>
                      </a:lnTo>
                      <a:lnTo>
                        <a:pt x="2454" y="582"/>
                      </a:lnTo>
                      <a:lnTo>
                        <a:pt x="2442" y="558"/>
                      </a:lnTo>
                      <a:lnTo>
                        <a:pt x="2442" y="540"/>
                      </a:lnTo>
                      <a:lnTo>
                        <a:pt x="2454" y="528"/>
                      </a:lnTo>
                      <a:lnTo>
                        <a:pt x="2496" y="528"/>
                      </a:lnTo>
                      <a:lnTo>
                        <a:pt x="2502" y="522"/>
                      </a:lnTo>
                      <a:lnTo>
                        <a:pt x="2502" y="510"/>
                      </a:lnTo>
                      <a:lnTo>
                        <a:pt x="2484" y="492"/>
                      </a:lnTo>
                      <a:close/>
                      <a:moveTo>
                        <a:pt x="2082" y="696"/>
                      </a:moveTo>
                      <a:lnTo>
                        <a:pt x="2046" y="696"/>
                      </a:lnTo>
                      <a:lnTo>
                        <a:pt x="2046" y="702"/>
                      </a:lnTo>
                      <a:lnTo>
                        <a:pt x="2040" y="708"/>
                      </a:lnTo>
                      <a:lnTo>
                        <a:pt x="2028" y="708"/>
                      </a:lnTo>
                      <a:lnTo>
                        <a:pt x="2022" y="702"/>
                      </a:lnTo>
                      <a:lnTo>
                        <a:pt x="2010" y="696"/>
                      </a:lnTo>
                      <a:lnTo>
                        <a:pt x="1980" y="702"/>
                      </a:lnTo>
                      <a:lnTo>
                        <a:pt x="1950" y="696"/>
                      </a:lnTo>
                      <a:lnTo>
                        <a:pt x="1932" y="696"/>
                      </a:lnTo>
                      <a:lnTo>
                        <a:pt x="1908" y="690"/>
                      </a:lnTo>
                      <a:lnTo>
                        <a:pt x="1860" y="690"/>
                      </a:lnTo>
                      <a:lnTo>
                        <a:pt x="1854" y="684"/>
                      </a:lnTo>
                      <a:lnTo>
                        <a:pt x="1854" y="678"/>
                      </a:lnTo>
                      <a:lnTo>
                        <a:pt x="1836" y="696"/>
                      </a:lnTo>
                      <a:lnTo>
                        <a:pt x="1830" y="696"/>
                      </a:lnTo>
                      <a:lnTo>
                        <a:pt x="1824" y="708"/>
                      </a:lnTo>
                      <a:lnTo>
                        <a:pt x="1824" y="714"/>
                      </a:lnTo>
                      <a:lnTo>
                        <a:pt x="1818" y="726"/>
                      </a:lnTo>
                      <a:lnTo>
                        <a:pt x="1812" y="732"/>
                      </a:lnTo>
                      <a:lnTo>
                        <a:pt x="1794" y="732"/>
                      </a:lnTo>
                      <a:lnTo>
                        <a:pt x="1800" y="762"/>
                      </a:lnTo>
                      <a:lnTo>
                        <a:pt x="1788" y="768"/>
                      </a:lnTo>
                      <a:lnTo>
                        <a:pt x="1806" y="786"/>
                      </a:lnTo>
                      <a:lnTo>
                        <a:pt x="1800" y="810"/>
                      </a:lnTo>
                      <a:lnTo>
                        <a:pt x="1794" y="810"/>
                      </a:lnTo>
                      <a:lnTo>
                        <a:pt x="1788" y="798"/>
                      </a:lnTo>
                      <a:lnTo>
                        <a:pt x="1776" y="792"/>
                      </a:lnTo>
                      <a:lnTo>
                        <a:pt x="1770" y="780"/>
                      </a:lnTo>
                      <a:lnTo>
                        <a:pt x="1758" y="774"/>
                      </a:lnTo>
                      <a:lnTo>
                        <a:pt x="1752" y="762"/>
                      </a:lnTo>
                      <a:lnTo>
                        <a:pt x="1752" y="750"/>
                      </a:lnTo>
                      <a:lnTo>
                        <a:pt x="1746" y="732"/>
                      </a:lnTo>
                      <a:lnTo>
                        <a:pt x="1746" y="720"/>
                      </a:lnTo>
                      <a:lnTo>
                        <a:pt x="1764" y="702"/>
                      </a:lnTo>
                      <a:lnTo>
                        <a:pt x="1776" y="702"/>
                      </a:lnTo>
                      <a:lnTo>
                        <a:pt x="1782" y="696"/>
                      </a:lnTo>
                      <a:lnTo>
                        <a:pt x="1788" y="684"/>
                      </a:lnTo>
                      <a:lnTo>
                        <a:pt x="1788" y="678"/>
                      </a:lnTo>
                      <a:lnTo>
                        <a:pt x="1800" y="666"/>
                      </a:lnTo>
                      <a:lnTo>
                        <a:pt x="1818" y="666"/>
                      </a:lnTo>
                      <a:lnTo>
                        <a:pt x="1830" y="672"/>
                      </a:lnTo>
                      <a:lnTo>
                        <a:pt x="1848" y="672"/>
                      </a:lnTo>
                      <a:lnTo>
                        <a:pt x="1854" y="666"/>
                      </a:lnTo>
                      <a:lnTo>
                        <a:pt x="1896" y="666"/>
                      </a:lnTo>
                      <a:lnTo>
                        <a:pt x="1908" y="672"/>
                      </a:lnTo>
                      <a:lnTo>
                        <a:pt x="1914" y="678"/>
                      </a:lnTo>
                      <a:lnTo>
                        <a:pt x="1932" y="678"/>
                      </a:lnTo>
                      <a:lnTo>
                        <a:pt x="1944" y="684"/>
                      </a:lnTo>
                      <a:lnTo>
                        <a:pt x="1974" y="684"/>
                      </a:lnTo>
                      <a:lnTo>
                        <a:pt x="1986" y="672"/>
                      </a:lnTo>
                      <a:lnTo>
                        <a:pt x="2028" y="672"/>
                      </a:lnTo>
                      <a:lnTo>
                        <a:pt x="2034" y="678"/>
                      </a:lnTo>
                      <a:lnTo>
                        <a:pt x="2046" y="678"/>
                      </a:lnTo>
                      <a:lnTo>
                        <a:pt x="2052" y="672"/>
                      </a:lnTo>
                      <a:lnTo>
                        <a:pt x="2064" y="666"/>
                      </a:lnTo>
                      <a:lnTo>
                        <a:pt x="2088" y="666"/>
                      </a:lnTo>
                      <a:lnTo>
                        <a:pt x="2088" y="684"/>
                      </a:lnTo>
                      <a:lnTo>
                        <a:pt x="2082" y="690"/>
                      </a:lnTo>
                      <a:lnTo>
                        <a:pt x="2082" y="696"/>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613" name="Jordan"/>
                <p:cNvSpPr>
                  <a:spLocks/>
                </p:cNvSpPr>
                <p:nvPr/>
              </p:nvSpPr>
              <p:spPr bwMode="gray">
                <a:xfrm>
                  <a:off x="3272" y="1624"/>
                  <a:ext cx="72" cy="86"/>
                </a:xfrm>
                <a:custGeom>
                  <a:avLst/>
                  <a:gdLst>
                    <a:gd name="T0" fmla="*/ 2147483647 w 282"/>
                    <a:gd name="T1" fmla="*/ 2147483647 h 336"/>
                    <a:gd name="T2" fmla="*/ 2147483647 w 282"/>
                    <a:gd name="T3" fmla="*/ 2147483647 h 336"/>
                    <a:gd name="T4" fmla="*/ 2147483647 w 282"/>
                    <a:gd name="T5" fmla="*/ 0 h 336"/>
                    <a:gd name="T6" fmla="*/ 2147483647 w 282"/>
                    <a:gd name="T7" fmla="*/ 2147483647 h 336"/>
                    <a:gd name="T8" fmla="*/ 2147483647 w 282"/>
                    <a:gd name="T9" fmla="*/ 2147483647 h 336"/>
                    <a:gd name="T10" fmla="*/ 2147483647 w 282"/>
                    <a:gd name="T11" fmla="*/ 2147483647 h 336"/>
                    <a:gd name="T12" fmla="*/ 2147483647 w 282"/>
                    <a:gd name="T13" fmla="*/ 2147483647 h 336"/>
                    <a:gd name="T14" fmla="*/ 2147483647 w 282"/>
                    <a:gd name="T15" fmla="*/ 2147483647 h 336"/>
                    <a:gd name="T16" fmla="*/ 2147483647 w 282"/>
                    <a:gd name="T17" fmla="*/ 2147483647 h 336"/>
                    <a:gd name="T18" fmla="*/ 2147483647 w 282"/>
                    <a:gd name="T19" fmla="*/ 2147483647 h 336"/>
                    <a:gd name="T20" fmla="*/ 2147483647 w 282"/>
                    <a:gd name="T21" fmla="*/ 2147483647 h 336"/>
                    <a:gd name="T22" fmla="*/ 2147483647 w 282"/>
                    <a:gd name="T23" fmla="*/ 2147483647 h 336"/>
                    <a:gd name="T24" fmla="*/ 2147483647 w 282"/>
                    <a:gd name="T25" fmla="*/ 2147483647 h 336"/>
                    <a:gd name="T26" fmla="*/ 2147483647 w 282"/>
                    <a:gd name="T27" fmla="*/ 2147483647 h 336"/>
                    <a:gd name="T28" fmla="*/ 2147483647 w 282"/>
                    <a:gd name="T29" fmla="*/ 2147483647 h 336"/>
                    <a:gd name="T30" fmla="*/ 2147483647 w 282"/>
                    <a:gd name="T31" fmla="*/ 2147483647 h 336"/>
                    <a:gd name="T32" fmla="*/ 2147483647 w 282"/>
                    <a:gd name="T33" fmla="*/ 2147483647 h 336"/>
                    <a:gd name="T34" fmla="*/ 2147483647 w 282"/>
                    <a:gd name="T35" fmla="*/ 2147483647 h 336"/>
                    <a:gd name="T36" fmla="*/ 2147483647 w 282"/>
                    <a:gd name="T37" fmla="*/ 2147483647 h 336"/>
                    <a:gd name="T38" fmla="*/ 2147483647 w 282"/>
                    <a:gd name="T39" fmla="*/ 2147483647 h 336"/>
                    <a:gd name="T40" fmla="*/ 2147483647 w 282"/>
                    <a:gd name="T41" fmla="*/ 2147483647 h 336"/>
                    <a:gd name="T42" fmla="*/ 2147483647 w 282"/>
                    <a:gd name="T43" fmla="*/ 2147483647 h 336"/>
                    <a:gd name="T44" fmla="*/ 2147483647 w 282"/>
                    <a:gd name="T45" fmla="*/ 2147483647 h 336"/>
                    <a:gd name="T46" fmla="*/ 0 w 282"/>
                    <a:gd name="T47" fmla="*/ 2147483647 h 336"/>
                    <a:gd name="T48" fmla="*/ 0 w 282"/>
                    <a:gd name="T49" fmla="*/ 2147483647 h 336"/>
                    <a:gd name="T50" fmla="*/ 2147483647 w 282"/>
                    <a:gd name="T51" fmla="*/ 2147483647 h 336"/>
                    <a:gd name="T52" fmla="*/ 2147483647 w 282"/>
                    <a:gd name="T53" fmla="*/ 2147483647 h 336"/>
                    <a:gd name="T54" fmla="*/ 2147483647 w 282"/>
                    <a:gd name="T55" fmla="*/ 2147483647 h 336"/>
                    <a:gd name="T56" fmla="*/ 2147483647 w 282"/>
                    <a:gd name="T57" fmla="*/ 2147483647 h 336"/>
                    <a:gd name="T58" fmla="*/ 2147483647 w 282"/>
                    <a:gd name="T59" fmla="*/ 2147483647 h 336"/>
                    <a:gd name="T60" fmla="*/ 2147483647 w 282"/>
                    <a:gd name="T61" fmla="*/ 2147483647 h 336"/>
                    <a:gd name="T62" fmla="*/ 2147483647 w 282"/>
                    <a:gd name="T63" fmla="*/ 2147483647 h 336"/>
                    <a:gd name="T64" fmla="*/ 2147483647 w 282"/>
                    <a:gd name="T65" fmla="*/ 2147483647 h 336"/>
                    <a:gd name="T66" fmla="*/ 2147483647 w 282"/>
                    <a:gd name="T67" fmla="*/ 2147483647 h 336"/>
                    <a:gd name="T68" fmla="*/ 2147483647 w 282"/>
                    <a:gd name="T69" fmla="*/ 2147483647 h 336"/>
                    <a:gd name="T70" fmla="*/ 2147483647 w 282"/>
                    <a:gd name="T71" fmla="*/ 2147483647 h 336"/>
                    <a:gd name="T72" fmla="*/ 2147483647 w 282"/>
                    <a:gd name="T73" fmla="*/ 2147483647 h 336"/>
                    <a:gd name="T74" fmla="*/ 2147483647 w 282"/>
                    <a:gd name="T75" fmla="*/ 2147483647 h 336"/>
                    <a:gd name="T76" fmla="*/ 2147483647 w 282"/>
                    <a:gd name="T77" fmla="*/ 2147483647 h 336"/>
                    <a:gd name="T78" fmla="*/ 2147483647 w 282"/>
                    <a:gd name="T79" fmla="*/ 2147483647 h 336"/>
                    <a:gd name="T80" fmla="*/ 2147483647 w 282"/>
                    <a:gd name="T81" fmla="*/ 2147483647 h 336"/>
                    <a:gd name="T82" fmla="*/ 2147483647 w 282"/>
                    <a:gd name="T83" fmla="*/ 2147483647 h 336"/>
                    <a:gd name="T84" fmla="*/ 2147483647 w 282"/>
                    <a:gd name="T85" fmla="*/ 2147483647 h 336"/>
                    <a:gd name="T86" fmla="*/ 2147483647 w 282"/>
                    <a:gd name="T87" fmla="*/ 2147483647 h 336"/>
                    <a:gd name="T88" fmla="*/ 2147483647 w 282"/>
                    <a:gd name="T89" fmla="*/ 2147483647 h 336"/>
                    <a:gd name="T90" fmla="*/ 2147483647 w 282"/>
                    <a:gd name="T91" fmla="*/ 2147483647 h 336"/>
                    <a:gd name="T92" fmla="*/ 2147483647 w 282"/>
                    <a:gd name="T93" fmla="*/ 2147483647 h 336"/>
                    <a:gd name="T94" fmla="*/ 2147483647 w 282"/>
                    <a:gd name="T95" fmla="*/ 2147483647 h 336"/>
                    <a:gd name="T96" fmla="*/ 2147483647 w 282"/>
                    <a:gd name="T97" fmla="*/ 2147483647 h 336"/>
                    <a:gd name="T98" fmla="*/ 2147483647 w 282"/>
                    <a:gd name="T99" fmla="*/ 2147483647 h 336"/>
                    <a:gd name="T100" fmla="*/ 2147483647 w 282"/>
                    <a:gd name="T101" fmla="*/ 2147483647 h 336"/>
                    <a:gd name="T102" fmla="*/ 2147483647 w 282"/>
                    <a:gd name="T103" fmla="*/ 2147483647 h 336"/>
                    <a:gd name="T104" fmla="*/ 2147483647 w 282"/>
                    <a:gd name="T105" fmla="*/ 2147483647 h 336"/>
                    <a:gd name="T106" fmla="*/ 2147483647 w 282"/>
                    <a:gd name="T107" fmla="*/ 2147483647 h 336"/>
                    <a:gd name="T108" fmla="*/ 2147483647 w 282"/>
                    <a:gd name="T109" fmla="*/ 2147483647 h 336"/>
                    <a:gd name="T110" fmla="*/ 2147483647 w 282"/>
                    <a:gd name="T111" fmla="*/ 2147483647 h 336"/>
                    <a:gd name="T112" fmla="*/ 2147483647 w 282"/>
                    <a:gd name="T113" fmla="*/ 2147483647 h 336"/>
                    <a:gd name="T114" fmla="*/ 2147483647 w 282"/>
                    <a:gd name="T115" fmla="*/ 2147483647 h 336"/>
                    <a:gd name="T116" fmla="*/ 2147483647 w 282"/>
                    <a:gd name="T117" fmla="*/ 2147483647 h 336"/>
                    <a:gd name="T118" fmla="*/ 2147483647 w 282"/>
                    <a:gd name="T119" fmla="*/ 2147483647 h 336"/>
                    <a:gd name="T120" fmla="*/ 2147483647 w 282"/>
                    <a:gd name="T121" fmla="*/ 2147483647 h 336"/>
                    <a:gd name="T122" fmla="*/ 2147483647 w 282"/>
                    <a:gd name="T123" fmla="*/ 2147483647 h 3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82"/>
                    <a:gd name="T187" fmla="*/ 0 h 336"/>
                    <a:gd name="T188" fmla="*/ 282 w 282"/>
                    <a:gd name="T189" fmla="*/ 336 h 3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82" h="336">
                      <a:moveTo>
                        <a:pt x="258" y="60"/>
                      </a:moveTo>
                      <a:lnTo>
                        <a:pt x="258" y="42"/>
                      </a:lnTo>
                      <a:lnTo>
                        <a:pt x="234" y="0"/>
                      </a:lnTo>
                      <a:lnTo>
                        <a:pt x="222" y="6"/>
                      </a:lnTo>
                      <a:lnTo>
                        <a:pt x="198" y="30"/>
                      </a:lnTo>
                      <a:lnTo>
                        <a:pt x="138" y="78"/>
                      </a:lnTo>
                      <a:lnTo>
                        <a:pt x="114" y="84"/>
                      </a:lnTo>
                      <a:lnTo>
                        <a:pt x="96" y="84"/>
                      </a:lnTo>
                      <a:lnTo>
                        <a:pt x="84" y="78"/>
                      </a:lnTo>
                      <a:lnTo>
                        <a:pt x="72" y="66"/>
                      </a:lnTo>
                      <a:lnTo>
                        <a:pt x="36" y="48"/>
                      </a:lnTo>
                      <a:lnTo>
                        <a:pt x="30" y="48"/>
                      </a:lnTo>
                      <a:lnTo>
                        <a:pt x="24" y="66"/>
                      </a:lnTo>
                      <a:lnTo>
                        <a:pt x="30" y="138"/>
                      </a:lnTo>
                      <a:lnTo>
                        <a:pt x="18" y="150"/>
                      </a:lnTo>
                      <a:lnTo>
                        <a:pt x="18" y="162"/>
                      </a:lnTo>
                      <a:lnTo>
                        <a:pt x="30" y="174"/>
                      </a:lnTo>
                      <a:lnTo>
                        <a:pt x="30" y="186"/>
                      </a:lnTo>
                      <a:lnTo>
                        <a:pt x="24" y="198"/>
                      </a:lnTo>
                      <a:lnTo>
                        <a:pt x="18" y="204"/>
                      </a:lnTo>
                      <a:lnTo>
                        <a:pt x="12" y="216"/>
                      </a:lnTo>
                      <a:lnTo>
                        <a:pt x="6" y="222"/>
                      </a:lnTo>
                      <a:lnTo>
                        <a:pt x="6" y="282"/>
                      </a:lnTo>
                      <a:lnTo>
                        <a:pt x="0" y="294"/>
                      </a:lnTo>
                      <a:lnTo>
                        <a:pt x="0" y="312"/>
                      </a:lnTo>
                      <a:lnTo>
                        <a:pt x="6" y="324"/>
                      </a:lnTo>
                      <a:lnTo>
                        <a:pt x="24" y="324"/>
                      </a:lnTo>
                      <a:lnTo>
                        <a:pt x="48" y="336"/>
                      </a:lnTo>
                      <a:lnTo>
                        <a:pt x="84" y="336"/>
                      </a:lnTo>
                      <a:lnTo>
                        <a:pt x="96" y="324"/>
                      </a:lnTo>
                      <a:lnTo>
                        <a:pt x="108" y="300"/>
                      </a:lnTo>
                      <a:lnTo>
                        <a:pt x="108" y="288"/>
                      </a:lnTo>
                      <a:lnTo>
                        <a:pt x="120" y="276"/>
                      </a:lnTo>
                      <a:lnTo>
                        <a:pt x="126" y="276"/>
                      </a:lnTo>
                      <a:lnTo>
                        <a:pt x="138" y="270"/>
                      </a:lnTo>
                      <a:lnTo>
                        <a:pt x="150" y="270"/>
                      </a:lnTo>
                      <a:lnTo>
                        <a:pt x="162" y="264"/>
                      </a:lnTo>
                      <a:lnTo>
                        <a:pt x="168" y="258"/>
                      </a:lnTo>
                      <a:lnTo>
                        <a:pt x="174" y="246"/>
                      </a:lnTo>
                      <a:lnTo>
                        <a:pt x="180" y="240"/>
                      </a:lnTo>
                      <a:lnTo>
                        <a:pt x="180" y="228"/>
                      </a:lnTo>
                      <a:lnTo>
                        <a:pt x="186" y="222"/>
                      </a:lnTo>
                      <a:lnTo>
                        <a:pt x="186" y="210"/>
                      </a:lnTo>
                      <a:lnTo>
                        <a:pt x="180" y="204"/>
                      </a:lnTo>
                      <a:lnTo>
                        <a:pt x="168" y="180"/>
                      </a:lnTo>
                      <a:lnTo>
                        <a:pt x="144" y="156"/>
                      </a:lnTo>
                      <a:lnTo>
                        <a:pt x="132" y="156"/>
                      </a:lnTo>
                      <a:lnTo>
                        <a:pt x="120" y="150"/>
                      </a:lnTo>
                      <a:lnTo>
                        <a:pt x="96" y="150"/>
                      </a:lnTo>
                      <a:lnTo>
                        <a:pt x="96" y="144"/>
                      </a:lnTo>
                      <a:lnTo>
                        <a:pt x="108" y="144"/>
                      </a:lnTo>
                      <a:lnTo>
                        <a:pt x="120" y="138"/>
                      </a:lnTo>
                      <a:lnTo>
                        <a:pt x="186" y="138"/>
                      </a:lnTo>
                      <a:lnTo>
                        <a:pt x="198" y="114"/>
                      </a:lnTo>
                      <a:lnTo>
                        <a:pt x="240" y="114"/>
                      </a:lnTo>
                      <a:lnTo>
                        <a:pt x="252" y="108"/>
                      </a:lnTo>
                      <a:lnTo>
                        <a:pt x="258" y="102"/>
                      </a:lnTo>
                      <a:lnTo>
                        <a:pt x="264" y="102"/>
                      </a:lnTo>
                      <a:lnTo>
                        <a:pt x="276" y="96"/>
                      </a:lnTo>
                      <a:lnTo>
                        <a:pt x="282" y="90"/>
                      </a:lnTo>
                      <a:lnTo>
                        <a:pt x="282" y="78"/>
                      </a:lnTo>
                      <a:lnTo>
                        <a:pt x="258" y="6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614" name="Jamaica"/>
                <p:cNvSpPr>
                  <a:spLocks/>
                </p:cNvSpPr>
                <p:nvPr/>
              </p:nvSpPr>
              <p:spPr bwMode="gray">
                <a:xfrm>
                  <a:off x="1246" y="1931"/>
                  <a:ext cx="40" cy="13"/>
                </a:xfrm>
                <a:custGeom>
                  <a:avLst/>
                  <a:gdLst>
                    <a:gd name="T0" fmla="*/ 2147483647 w 156"/>
                    <a:gd name="T1" fmla="*/ 2147483647 h 54"/>
                    <a:gd name="T2" fmla="*/ 2147483647 w 156"/>
                    <a:gd name="T3" fmla="*/ 2147483647 h 54"/>
                    <a:gd name="T4" fmla="*/ 2147483647 w 156"/>
                    <a:gd name="T5" fmla="*/ 2147483647 h 54"/>
                    <a:gd name="T6" fmla="*/ 2147483647 w 156"/>
                    <a:gd name="T7" fmla="*/ 2147483647 h 54"/>
                    <a:gd name="T8" fmla="*/ 2147483647 w 156"/>
                    <a:gd name="T9" fmla="*/ 2147483647 h 54"/>
                    <a:gd name="T10" fmla="*/ 2147483647 w 156"/>
                    <a:gd name="T11" fmla="*/ 2147483647 h 54"/>
                    <a:gd name="T12" fmla="*/ 2147483647 w 156"/>
                    <a:gd name="T13" fmla="*/ 2147483647 h 54"/>
                    <a:gd name="T14" fmla="*/ 2147483647 w 156"/>
                    <a:gd name="T15" fmla="*/ 2147483647 h 54"/>
                    <a:gd name="T16" fmla="*/ 2147483647 w 156"/>
                    <a:gd name="T17" fmla="*/ 0 h 54"/>
                    <a:gd name="T18" fmla="*/ 2147483647 w 156"/>
                    <a:gd name="T19" fmla="*/ 0 h 54"/>
                    <a:gd name="T20" fmla="*/ 2147483647 w 156"/>
                    <a:gd name="T21" fmla="*/ 2147483647 h 54"/>
                    <a:gd name="T22" fmla="val 9060000"/>
                    <a:gd name="T23" fmla="*/ 2147483647 h 54"/>
                    <a:gd name="T24" fmla="*/ 2147483647 w 156"/>
                    <a:gd name="T25" fmla="*/ 2147483647 h 54"/>
                    <a:gd name="T26" fmla="*/ 2147483647 w 156"/>
                    <a:gd name="T27" fmla="*/ 2147483647 h 54"/>
                    <a:gd name="T28" fmla="*/ 2147483647 w 156"/>
                    <a:gd name="T29" fmla="*/ 2147483647 h 54"/>
                    <a:gd name="T30" fmla="*/ 2147483647 w 156"/>
                    <a:gd name="T31" fmla="*/ 2147483647 h 54"/>
                    <a:gd name="T32" fmla="*/ 2147483647 w 156"/>
                    <a:gd name="T33" fmla="*/ 2147483647 h 54"/>
                    <a:gd name="T34" fmla="*/ 2147483647 w 156"/>
                    <a:gd name="T35" fmla="*/ 2147483647 h 54"/>
                    <a:gd name="T36" fmla="*/ 2147483647 w 156"/>
                    <a:gd name="T37" fmla="*/ 2147483647 h 5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56"/>
                    <a:gd name="T58" fmla="*/ 0 h 54"/>
                    <a:gd name="T59" fmla="*/ 156 w 156"/>
                    <a:gd name="T60" fmla="*/ 54 h 5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56" h="54">
                      <a:moveTo>
                        <a:pt x="108" y="54"/>
                      </a:moveTo>
                      <a:lnTo>
                        <a:pt x="114" y="36"/>
                      </a:lnTo>
                      <a:lnTo>
                        <a:pt x="156" y="48"/>
                      </a:lnTo>
                      <a:lnTo>
                        <a:pt x="156" y="42"/>
                      </a:lnTo>
                      <a:lnTo>
                        <a:pt x="150" y="36"/>
                      </a:lnTo>
                      <a:lnTo>
                        <a:pt x="144" y="24"/>
                      </a:lnTo>
                      <a:lnTo>
                        <a:pt x="126" y="6"/>
                      </a:lnTo>
                      <a:lnTo>
                        <a:pt x="84" y="6"/>
                      </a:lnTo>
                      <a:lnTo>
                        <a:pt x="66" y="0"/>
                      </a:lnTo>
                      <a:lnTo>
                        <a:pt x="24" y="0"/>
                      </a:lnTo>
                      <a:lnTo>
                        <a:pt x="12" y="6"/>
                      </a:lnTo>
                      <a:lnTo>
                        <a:pt x="0" y="6"/>
                      </a:lnTo>
                      <a:lnTo>
                        <a:pt x="6" y="18"/>
                      </a:lnTo>
                      <a:lnTo>
                        <a:pt x="18" y="24"/>
                      </a:lnTo>
                      <a:lnTo>
                        <a:pt x="24" y="36"/>
                      </a:lnTo>
                      <a:lnTo>
                        <a:pt x="36" y="42"/>
                      </a:lnTo>
                      <a:lnTo>
                        <a:pt x="60" y="42"/>
                      </a:lnTo>
                      <a:lnTo>
                        <a:pt x="78" y="48"/>
                      </a:lnTo>
                      <a:lnTo>
                        <a:pt x="108" y="54"/>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615" name="Japan"/>
                <p:cNvSpPr>
                  <a:spLocks noEditPoints="1"/>
                </p:cNvSpPr>
                <p:nvPr/>
              </p:nvSpPr>
              <p:spPr bwMode="gray">
                <a:xfrm>
                  <a:off x="4851" y="1374"/>
                  <a:ext cx="224" cy="437"/>
                </a:xfrm>
                <a:custGeom>
                  <a:avLst/>
                  <a:gdLst>
                    <a:gd name="T0" fmla="*/ 2147483647 w 876"/>
                    <a:gd name="T1" fmla="*/ 2147483647 h 1710"/>
                    <a:gd name="T2" fmla="*/ 2147483647 w 876"/>
                    <a:gd name="T3" fmla="*/ 2147483647 h 1710"/>
                    <a:gd name="T4" fmla="*/ 2147483647 w 876"/>
                    <a:gd name="T5" fmla="*/ 2147483647 h 1710"/>
                    <a:gd name="T6" fmla="*/ 2147483647 w 876"/>
                    <a:gd name="T7" fmla="*/ 2147483647 h 1710"/>
                    <a:gd name="T8" fmla="*/ 2147483647 w 876"/>
                    <a:gd name="T9" fmla="*/ 2147483647 h 1710"/>
                    <a:gd name="T10" fmla="*/ 2147483647 w 876"/>
                    <a:gd name="T11" fmla="*/ 2147483647 h 1710"/>
                    <a:gd name="T12" fmla="*/ 2147483647 w 876"/>
                    <a:gd name="T13" fmla="*/ 2147483647 h 1710"/>
                    <a:gd name="T14" fmla="*/ 2147483647 w 876"/>
                    <a:gd name="T15" fmla="*/ 2147483647 h 1710"/>
                    <a:gd name="T16" fmla="*/ 2147483647 w 876"/>
                    <a:gd name="T17" fmla="*/ 2147483647 h 1710"/>
                    <a:gd name="T18" fmla="*/ 2147483647 w 876"/>
                    <a:gd name="T19" fmla="*/ 2147483647 h 1710"/>
                    <a:gd name="T20" fmla="*/ 2147483647 w 876"/>
                    <a:gd name="T21" fmla="*/ 2147483647 h 1710"/>
                    <a:gd name="T22" fmla="*/ 2147483647 w 876"/>
                    <a:gd name="T23" fmla="*/ 2147483647 h 1710"/>
                    <a:gd name="T24" fmla="*/ 2147483647 w 876"/>
                    <a:gd name="T25" fmla="*/ 2147483647 h 1710"/>
                    <a:gd name="T26" fmla="*/ 2147483647 w 876"/>
                    <a:gd name="T27" fmla="*/ 2147483647 h 1710"/>
                    <a:gd name="T28" fmla="*/ 2147483647 w 876"/>
                    <a:gd name="T29" fmla="*/ 2147483647 h 1710"/>
                    <a:gd name="T30" fmla="*/ 2147483647 w 876"/>
                    <a:gd name="T31" fmla="*/ 2147483647 h 1710"/>
                    <a:gd name="T32" fmla="*/ 2147483647 w 876"/>
                    <a:gd name="T33" fmla="*/ 2147483647 h 1710"/>
                    <a:gd name="T34" fmla="*/ 2147483647 w 876"/>
                    <a:gd name="T35" fmla="*/ 2147483647 h 1710"/>
                    <a:gd name="T36" fmla="*/ 2147483647 w 876"/>
                    <a:gd name="T37" fmla="*/ 2147483647 h 1710"/>
                    <a:gd name="T38" fmla="*/ 2147483647 w 876"/>
                    <a:gd name="T39" fmla="*/ 2147483647 h 1710"/>
                    <a:gd name="T40" fmla="*/ 2147483647 w 876"/>
                    <a:gd name="T41" fmla="*/ 2147483647 h 1710"/>
                    <a:gd name="T42" fmla="*/ 2147483647 w 876"/>
                    <a:gd name="T43" fmla="*/ 2147483647 h 1710"/>
                    <a:gd name="T44" fmla="*/ 2147483647 w 876"/>
                    <a:gd name="T45" fmla="*/ 2147483647 h 1710"/>
                    <a:gd name="T46" fmla="*/ 2147483647 w 876"/>
                    <a:gd name="T47" fmla="*/ 2147483647 h 1710"/>
                    <a:gd name="T48" fmla="*/ 2147483647 w 876"/>
                    <a:gd name="T49" fmla="*/ 2147483647 h 1710"/>
                    <a:gd name="T50" fmla="*/ 2147483647 w 876"/>
                    <a:gd name="T51" fmla="*/ 2147483647 h 1710"/>
                    <a:gd name="T52" fmla="*/ 2147483647 w 876"/>
                    <a:gd name="T53" fmla="*/ 2147483647 h 1710"/>
                    <a:gd name="T54" fmla="*/ 2147483647 w 876"/>
                    <a:gd name="T55" fmla="*/ 2147483647 h 1710"/>
                    <a:gd name="T56" fmla="*/ 2147483647 w 876"/>
                    <a:gd name="T57" fmla="*/ 2147483647 h 1710"/>
                    <a:gd name="T58" fmla="*/ 2147483647 w 876"/>
                    <a:gd name="T59" fmla="*/ 2147483647 h 1710"/>
                    <a:gd name="T60" fmla="*/ 2147483647 w 876"/>
                    <a:gd name="T61" fmla="*/ 2147483647 h 1710"/>
                    <a:gd name="T62" fmla="*/ 2147483647 w 876"/>
                    <a:gd name="T63" fmla="*/ 2147483647 h 1710"/>
                    <a:gd name="T64" fmla="*/ 2147483647 w 876"/>
                    <a:gd name="T65" fmla="*/ 2147483647 h 1710"/>
                    <a:gd name="T66" fmla="*/ 2147483647 w 876"/>
                    <a:gd name="T67" fmla="*/ 2147483647 h 1710"/>
                    <a:gd name="T68" fmla="*/ 2147483647 w 876"/>
                    <a:gd name="T69" fmla="*/ 2147483647 h 1710"/>
                    <a:gd name="T70" fmla="*/ 2147483647 w 876"/>
                    <a:gd name="T71" fmla="*/ 2147483647 h 1710"/>
                    <a:gd name="T72" fmla="*/ 2147483647 w 876"/>
                    <a:gd name="T73" fmla="*/ 2147483647 h 1710"/>
                    <a:gd name="T74" fmla="*/ 2147483647 w 876"/>
                    <a:gd name="T75" fmla="*/ 2147483647 h 1710"/>
                    <a:gd name="T76" fmla="*/ 2147483647 w 876"/>
                    <a:gd name="T77" fmla="*/ 2147483647 h 1710"/>
                    <a:gd name="T78" fmla="*/ 2147483647 w 876"/>
                    <a:gd name="T79" fmla="*/ 2147483647 h 1710"/>
                    <a:gd name="T80" fmla="*/ 2147483647 w 876"/>
                    <a:gd name="T81" fmla="*/ 2147483647 h 1710"/>
                    <a:gd name="T82" fmla="*/ 2147483647 w 876"/>
                    <a:gd name="T83" fmla="*/ 2147483647 h 1710"/>
                    <a:gd name="T84" fmla="*/ 2147483647 w 876"/>
                    <a:gd name="T85" fmla="*/ 2147483647 h 1710"/>
                    <a:gd name="T86" fmla="*/ 2147483647 w 876"/>
                    <a:gd name="T87" fmla="*/ 2147483647 h 1710"/>
                    <a:gd name="T88" fmla="*/ 2147483647 w 876"/>
                    <a:gd name="T89" fmla="*/ 2147483647 h 1710"/>
                    <a:gd name="T90" fmla="*/ 2147483647 w 876"/>
                    <a:gd name="T91" fmla="*/ 2147483647 h 1710"/>
                    <a:gd name="T92" fmla="*/ 2147483647 w 876"/>
                    <a:gd name="T93" fmla="*/ 2147483647 h 1710"/>
                    <a:gd name="T94" fmla="*/ 2147483647 w 876"/>
                    <a:gd name="T95" fmla="*/ 2147483647 h 1710"/>
                    <a:gd name="T96" fmla="*/ 2147483647 w 876"/>
                    <a:gd name="T97" fmla="*/ 2147483647 h 1710"/>
                    <a:gd name="T98" fmla="*/ 2147483647 w 876"/>
                    <a:gd name="T99" fmla="*/ 2147483647 h 1710"/>
                    <a:gd name="T100" fmla="*/ 2147483647 w 876"/>
                    <a:gd name="T101" fmla="*/ 2147483647 h 1710"/>
                    <a:gd name="T102" fmla="*/ 2147483647 w 876"/>
                    <a:gd name="T103" fmla="*/ 2147483647 h 1710"/>
                    <a:gd name="T104" fmla="*/ 2147483647 w 876"/>
                    <a:gd name="T105" fmla="*/ 2147483647 h 1710"/>
                    <a:gd name="T106" fmla="*/ 2147483647 w 876"/>
                    <a:gd name="T107" fmla="*/ 2147483647 h 1710"/>
                    <a:gd name="T108" fmla="*/ 2147483647 w 876"/>
                    <a:gd name="T109" fmla="*/ 2147483647 h 1710"/>
                    <a:gd name="T110" fmla="*/ 2147483647 w 876"/>
                    <a:gd name="T111" fmla="*/ 2147483647 h 1710"/>
                    <a:gd name="T112" fmla="*/ 2147483647 w 876"/>
                    <a:gd name="T113" fmla="*/ 2147483647 h 1710"/>
                    <a:gd name="T114" fmla="*/ 2147483647 w 876"/>
                    <a:gd name="T115" fmla="*/ 2147483647 h 1710"/>
                    <a:gd name="T116" fmla="*/ 2147483647 w 876"/>
                    <a:gd name="T117" fmla="*/ 2147483647 h 1710"/>
                    <a:gd name="T118" fmla="*/ 2147483647 w 876"/>
                    <a:gd name="T119" fmla="*/ 2147483647 h 171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76"/>
                    <a:gd name="T181" fmla="*/ 0 h 1710"/>
                    <a:gd name="T182" fmla="*/ 876 w 876"/>
                    <a:gd name="T183" fmla="*/ 1710 h 171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76" h="1710">
                      <a:moveTo>
                        <a:pt x="876" y="780"/>
                      </a:moveTo>
                      <a:lnTo>
                        <a:pt x="864" y="774"/>
                      </a:lnTo>
                      <a:lnTo>
                        <a:pt x="858" y="768"/>
                      </a:lnTo>
                      <a:lnTo>
                        <a:pt x="846" y="762"/>
                      </a:lnTo>
                      <a:lnTo>
                        <a:pt x="840" y="750"/>
                      </a:lnTo>
                      <a:lnTo>
                        <a:pt x="828" y="744"/>
                      </a:lnTo>
                      <a:lnTo>
                        <a:pt x="828" y="720"/>
                      </a:lnTo>
                      <a:lnTo>
                        <a:pt x="834" y="702"/>
                      </a:lnTo>
                      <a:lnTo>
                        <a:pt x="834" y="684"/>
                      </a:lnTo>
                      <a:lnTo>
                        <a:pt x="828" y="666"/>
                      </a:lnTo>
                      <a:lnTo>
                        <a:pt x="816" y="642"/>
                      </a:lnTo>
                      <a:lnTo>
                        <a:pt x="792" y="618"/>
                      </a:lnTo>
                      <a:lnTo>
                        <a:pt x="786" y="600"/>
                      </a:lnTo>
                      <a:lnTo>
                        <a:pt x="786" y="576"/>
                      </a:lnTo>
                      <a:lnTo>
                        <a:pt x="792" y="570"/>
                      </a:lnTo>
                      <a:lnTo>
                        <a:pt x="810" y="570"/>
                      </a:lnTo>
                      <a:lnTo>
                        <a:pt x="810" y="528"/>
                      </a:lnTo>
                      <a:lnTo>
                        <a:pt x="798" y="516"/>
                      </a:lnTo>
                      <a:lnTo>
                        <a:pt x="810" y="510"/>
                      </a:lnTo>
                      <a:lnTo>
                        <a:pt x="810" y="498"/>
                      </a:lnTo>
                      <a:lnTo>
                        <a:pt x="804" y="486"/>
                      </a:lnTo>
                      <a:lnTo>
                        <a:pt x="804" y="474"/>
                      </a:lnTo>
                      <a:lnTo>
                        <a:pt x="798" y="468"/>
                      </a:lnTo>
                      <a:lnTo>
                        <a:pt x="792" y="456"/>
                      </a:lnTo>
                      <a:lnTo>
                        <a:pt x="786" y="450"/>
                      </a:lnTo>
                      <a:lnTo>
                        <a:pt x="774" y="444"/>
                      </a:lnTo>
                      <a:lnTo>
                        <a:pt x="768" y="438"/>
                      </a:lnTo>
                      <a:lnTo>
                        <a:pt x="762" y="420"/>
                      </a:lnTo>
                      <a:lnTo>
                        <a:pt x="756" y="420"/>
                      </a:lnTo>
                      <a:lnTo>
                        <a:pt x="738" y="402"/>
                      </a:lnTo>
                      <a:lnTo>
                        <a:pt x="714" y="390"/>
                      </a:lnTo>
                      <a:lnTo>
                        <a:pt x="702" y="378"/>
                      </a:lnTo>
                      <a:lnTo>
                        <a:pt x="696" y="360"/>
                      </a:lnTo>
                      <a:lnTo>
                        <a:pt x="690" y="348"/>
                      </a:lnTo>
                      <a:lnTo>
                        <a:pt x="690" y="330"/>
                      </a:lnTo>
                      <a:lnTo>
                        <a:pt x="684" y="324"/>
                      </a:lnTo>
                      <a:lnTo>
                        <a:pt x="678" y="324"/>
                      </a:lnTo>
                      <a:lnTo>
                        <a:pt x="666" y="318"/>
                      </a:lnTo>
                      <a:lnTo>
                        <a:pt x="654" y="318"/>
                      </a:lnTo>
                      <a:lnTo>
                        <a:pt x="648" y="324"/>
                      </a:lnTo>
                      <a:lnTo>
                        <a:pt x="648" y="342"/>
                      </a:lnTo>
                      <a:lnTo>
                        <a:pt x="654" y="342"/>
                      </a:lnTo>
                      <a:lnTo>
                        <a:pt x="660" y="348"/>
                      </a:lnTo>
                      <a:lnTo>
                        <a:pt x="672" y="342"/>
                      </a:lnTo>
                      <a:lnTo>
                        <a:pt x="678" y="348"/>
                      </a:lnTo>
                      <a:lnTo>
                        <a:pt x="678" y="366"/>
                      </a:lnTo>
                      <a:lnTo>
                        <a:pt x="672" y="366"/>
                      </a:lnTo>
                      <a:lnTo>
                        <a:pt x="666" y="360"/>
                      </a:lnTo>
                      <a:lnTo>
                        <a:pt x="654" y="372"/>
                      </a:lnTo>
                      <a:lnTo>
                        <a:pt x="630" y="342"/>
                      </a:lnTo>
                      <a:lnTo>
                        <a:pt x="612" y="342"/>
                      </a:lnTo>
                      <a:lnTo>
                        <a:pt x="636" y="378"/>
                      </a:lnTo>
                      <a:lnTo>
                        <a:pt x="618" y="378"/>
                      </a:lnTo>
                      <a:lnTo>
                        <a:pt x="648" y="426"/>
                      </a:lnTo>
                      <a:lnTo>
                        <a:pt x="636" y="438"/>
                      </a:lnTo>
                      <a:lnTo>
                        <a:pt x="648" y="444"/>
                      </a:lnTo>
                      <a:lnTo>
                        <a:pt x="666" y="462"/>
                      </a:lnTo>
                      <a:lnTo>
                        <a:pt x="678" y="468"/>
                      </a:lnTo>
                      <a:lnTo>
                        <a:pt x="684" y="480"/>
                      </a:lnTo>
                      <a:lnTo>
                        <a:pt x="684" y="504"/>
                      </a:lnTo>
                      <a:lnTo>
                        <a:pt x="678" y="516"/>
                      </a:lnTo>
                      <a:lnTo>
                        <a:pt x="678" y="534"/>
                      </a:lnTo>
                      <a:lnTo>
                        <a:pt x="672" y="540"/>
                      </a:lnTo>
                      <a:lnTo>
                        <a:pt x="672" y="570"/>
                      </a:lnTo>
                      <a:lnTo>
                        <a:pt x="678" y="570"/>
                      </a:lnTo>
                      <a:lnTo>
                        <a:pt x="690" y="582"/>
                      </a:lnTo>
                      <a:lnTo>
                        <a:pt x="690" y="600"/>
                      </a:lnTo>
                      <a:lnTo>
                        <a:pt x="678" y="606"/>
                      </a:lnTo>
                      <a:lnTo>
                        <a:pt x="660" y="606"/>
                      </a:lnTo>
                      <a:lnTo>
                        <a:pt x="660" y="618"/>
                      </a:lnTo>
                      <a:lnTo>
                        <a:pt x="666" y="630"/>
                      </a:lnTo>
                      <a:lnTo>
                        <a:pt x="666" y="642"/>
                      </a:lnTo>
                      <a:lnTo>
                        <a:pt x="660" y="654"/>
                      </a:lnTo>
                      <a:lnTo>
                        <a:pt x="654" y="660"/>
                      </a:lnTo>
                      <a:lnTo>
                        <a:pt x="642" y="666"/>
                      </a:lnTo>
                      <a:lnTo>
                        <a:pt x="630" y="666"/>
                      </a:lnTo>
                      <a:lnTo>
                        <a:pt x="618" y="672"/>
                      </a:lnTo>
                      <a:lnTo>
                        <a:pt x="612" y="678"/>
                      </a:lnTo>
                      <a:lnTo>
                        <a:pt x="606" y="678"/>
                      </a:lnTo>
                      <a:lnTo>
                        <a:pt x="606" y="696"/>
                      </a:lnTo>
                      <a:lnTo>
                        <a:pt x="588" y="696"/>
                      </a:lnTo>
                      <a:lnTo>
                        <a:pt x="564" y="672"/>
                      </a:lnTo>
                      <a:lnTo>
                        <a:pt x="564" y="654"/>
                      </a:lnTo>
                      <a:lnTo>
                        <a:pt x="570" y="636"/>
                      </a:lnTo>
                      <a:lnTo>
                        <a:pt x="558" y="636"/>
                      </a:lnTo>
                      <a:lnTo>
                        <a:pt x="552" y="642"/>
                      </a:lnTo>
                      <a:lnTo>
                        <a:pt x="540" y="648"/>
                      </a:lnTo>
                      <a:lnTo>
                        <a:pt x="534" y="654"/>
                      </a:lnTo>
                      <a:lnTo>
                        <a:pt x="534" y="660"/>
                      </a:lnTo>
                      <a:lnTo>
                        <a:pt x="540" y="666"/>
                      </a:lnTo>
                      <a:lnTo>
                        <a:pt x="558" y="702"/>
                      </a:lnTo>
                      <a:lnTo>
                        <a:pt x="558" y="714"/>
                      </a:lnTo>
                      <a:lnTo>
                        <a:pt x="552" y="720"/>
                      </a:lnTo>
                      <a:lnTo>
                        <a:pt x="540" y="744"/>
                      </a:lnTo>
                      <a:lnTo>
                        <a:pt x="540" y="756"/>
                      </a:lnTo>
                      <a:lnTo>
                        <a:pt x="546" y="762"/>
                      </a:lnTo>
                      <a:lnTo>
                        <a:pt x="546" y="768"/>
                      </a:lnTo>
                      <a:lnTo>
                        <a:pt x="552" y="780"/>
                      </a:lnTo>
                      <a:lnTo>
                        <a:pt x="558" y="786"/>
                      </a:lnTo>
                      <a:lnTo>
                        <a:pt x="558" y="792"/>
                      </a:lnTo>
                      <a:lnTo>
                        <a:pt x="522" y="792"/>
                      </a:lnTo>
                      <a:lnTo>
                        <a:pt x="498" y="780"/>
                      </a:lnTo>
                      <a:lnTo>
                        <a:pt x="474" y="780"/>
                      </a:lnTo>
                      <a:lnTo>
                        <a:pt x="450" y="792"/>
                      </a:lnTo>
                      <a:lnTo>
                        <a:pt x="438" y="792"/>
                      </a:lnTo>
                      <a:lnTo>
                        <a:pt x="420" y="798"/>
                      </a:lnTo>
                      <a:lnTo>
                        <a:pt x="414" y="804"/>
                      </a:lnTo>
                      <a:lnTo>
                        <a:pt x="378" y="804"/>
                      </a:lnTo>
                      <a:lnTo>
                        <a:pt x="366" y="792"/>
                      </a:lnTo>
                      <a:lnTo>
                        <a:pt x="336" y="816"/>
                      </a:lnTo>
                      <a:lnTo>
                        <a:pt x="330" y="828"/>
                      </a:lnTo>
                      <a:lnTo>
                        <a:pt x="312" y="846"/>
                      </a:lnTo>
                      <a:lnTo>
                        <a:pt x="306" y="864"/>
                      </a:lnTo>
                      <a:lnTo>
                        <a:pt x="300" y="870"/>
                      </a:lnTo>
                      <a:lnTo>
                        <a:pt x="294" y="882"/>
                      </a:lnTo>
                      <a:lnTo>
                        <a:pt x="270" y="882"/>
                      </a:lnTo>
                      <a:lnTo>
                        <a:pt x="264" y="888"/>
                      </a:lnTo>
                      <a:lnTo>
                        <a:pt x="258" y="888"/>
                      </a:lnTo>
                      <a:lnTo>
                        <a:pt x="258" y="900"/>
                      </a:lnTo>
                      <a:lnTo>
                        <a:pt x="264" y="912"/>
                      </a:lnTo>
                      <a:lnTo>
                        <a:pt x="276" y="924"/>
                      </a:lnTo>
                      <a:lnTo>
                        <a:pt x="288" y="924"/>
                      </a:lnTo>
                      <a:lnTo>
                        <a:pt x="294" y="918"/>
                      </a:lnTo>
                      <a:lnTo>
                        <a:pt x="312" y="918"/>
                      </a:lnTo>
                      <a:lnTo>
                        <a:pt x="318" y="924"/>
                      </a:lnTo>
                      <a:lnTo>
                        <a:pt x="324" y="924"/>
                      </a:lnTo>
                      <a:lnTo>
                        <a:pt x="336" y="930"/>
                      </a:lnTo>
                      <a:lnTo>
                        <a:pt x="342" y="930"/>
                      </a:lnTo>
                      <a:lnTo>
                        <a:pt x="348" y="924"/>
                      </a:lnTo>
                      <a:lnTo>
                        <a:pt x="348" y="912"/>
                      </a:lnTo>
                      <a:lnTo>
                        <a:pt x="354" y="906"/>
                      </a:lnTo>
                      <a:lnTo>
                        <a:pt x="354" y="894"/>
                      </a:lnTo>
                      <a:lnTo>
                        <a:pt x="372" y="906"/>
                      </a:lnTo>
                      <a:lnTo>
                        <a:pt x="378" y="906"/>
                      </a:lnTo>
                      <a:lnTo>
                        <a:pt x="384" y="900"/>
                      </a:lnTo>
                      <a:lnTo>
                        <a:pt x="420" y="882"/>
                      </a:lnTo>
                      <a:lnTo>
                        <a:pt x="426" y="882"/>
                      </a:lnTo>
                      <a:lnTo>
                        <a:pt x="432" y="876"/>
                      </a:lnTo>
                      <a:lnTo>
                        <a:pt x="444" y="876"/>
                      </a:lnTo>
                      <a:lnTo>
                        <a:pt x="456" y="882"/>
                      </a:lnTo>
                      <a:lnTo>
                        <a:pt x="480" y="882"/>
                      </a:lnTo>
                      <a:lnTo>
                        <a:pt x="480" y="876"/>
                      </a:lnTo>
                      <a:lnTo>
                        <a:pt x="474" y="870"/>
                      </a:lnTo>
                      <a:lnTo>
                        <a:pt x="474" y="864"/>
                      </a:lnTo>
                      <a:lnTo>
                        <a:pt x="480" y="858"/>
                      </a:lnTo>
                      <a:lnTo>
                        <a:pt x="498" y="858"/>
                      </a:lnTo>
                      <a:lnTo>
                        <a:pt x="516" y="876"/>
                      </a:lnTo>
                      <a:lnTo>
                        <a:pt x="522" y="870"/>
                      </a:lnTo>
                      <a:lnTo>
                        <a:pt x="534" y="864"/>
                      </a:lnTo>
                      <a:lnTo>
                        <a:pt x="540" y="864"/>
                      </a:lnTo>
                      <a:lnTo>
                        <a:pt x="546" y="858"/>
                      </a:lnTo>
                      <a:lnTo>
                        <a:pt x="552" y="864"/>
                      </a:lnTo>
                      <a:lnTo>
                        <a:pt x="552" y="882"/>
                      </a:lnTo>
                      <a:lnTo>
                        <a:pt x="546" y="894"/>
                      </a:lnTo>
                      <a:lnTo>
                        <a:pt x="540" y="900"/>
                      </a:lnTo>
                      <a:lnTo>
                        <a:pt x="540" y="912"/>
                      </a:lnTo>
                      <a:lnTo>
                        <a:pt x="546" y="918"/>
                      </a:lnTo>
                      <a:lnTo>
                        <a:pt x="552" y="930"/>
                      </a:lnTo>
                      <a:lnTo>
                        <a:pt x="576" y="954"/>
                      </a:lnTo>
                      <a:lnTo>
                        <a:pt x="600" y="966"/>
                      </a:lnTo>
                      <a:lnTo>
                        <a:pt x="612" y="960"/>
                      </a:lnTo>
                      <a:lnTo>
                        <a:pt x="618" y="954"/>
                      </a:lnTo>
                      <a:lnTo>
                        <a:pt x="630" y="930"/>
                      </a:lnTo>
                      <a:lnTo>
                        <a:pt x="630" y="906"/>
                      </a:lnTo>
                      <a:lnTo>
                        <a:pt x="660" y="900"/>
                      </a:lnTo>
                      <a:lnTo>
                        <a:pt x="654" y="894"/>
                      </a:lnTo>
                      <a:lnTo>
                        <a:pt x="648" y="882"/>
                      </a:lnTo>
                      <a:lnTo>
                        <a:pt x="636" y="870"/>
                      </a:lnTo>
                      <a:lnTo>
                        <a:pt x="624" y="870"/>
                      </a:lnTo>
                      <a:lnTo>
                        <a:pt x="612" y="858"/>
                      </a:lnTo>
                      <a:lnTo>
                        <a:pt x="630" y="834"/>
                      </a:lnTo>
                      <a:lnTo>
                        <a:pt x="636" y="834"/>
                      </a:lnTo>
                      <a:lnTo>
                        <a:pt x="636" y="840"/>
                      </a:lnTo>
                      <a:lnTo>
                        <a:pt x="642" y="852"/>
                      </a:lnTo>
                      <a:lnTo>
                        <a:pt x="642" y="858"/>
                      </a:lnTo>
                      <a:lnTo>
                        <a:pt x="654" y="858"/>
                      </a:lnTo>
                      <a:lnTo>
                        <a:pt x="666" y="870"/>
                      </a:lnTo>
                      <a:lnTo>
                        <a:pt x="666" y="876"/>
                      </a:lnTo>
                      <a:lnTo>
                        <a:pt x="684" y="864"/>
                      </a:lnTo>
                      <a:lnTo>
                        <a:pt x="696" y="870"/>
                      </a:lnTo>
                      <a:lnTo>
                        <a:pt x="732" y="870"/>
                      </a:lnTo>
                      <a:lnTo>
                        <a:pt x="744" y="858"/>
                      </a:lnTo>
                      <a:lnTo>
                        <a:pt x="744" y="852"/>
                      </a:lnTo>
                      <a:lnTo>
                        <a:pt x="738" y="846"/>
                      </a:lnTo>
                      <a:lnTo>
                        <a:pt x="738" y="840"/>
                      </a:lnTo>
                      <a:lnTo>
                        <a:pt x="744" y="834"/>
                      </a:lnTo>
                      <a:lnTo>
                        <a:pt x="762" y="834"/>
                      </a:lnTo>
                      <a:lnTo>
                        <a:pt x="768" y="840"/>
                      </a:lnTo>
                      <a:lnTo>
                        <a:pt x="768" y="858"/>
                      </a:lnTo>
                      <a:lnTo>
                        <a:pt x="774" y="864"/>
                      </a:lnTo>
                      <a:lnTo>
                        <a:pt x="774" y="870"/>
                      </a:lnTo>
                      <a:lnTo>
                        <a:pt x="780" y="870"/>
                      </a:lnTo>
                      <a:lnTo>
                        <a:pt x="786" y="864"/>
                      </a:lnTo>
                      <a:lnTo>
                        <a:pt x="786" y="852"/>
                      </a:lnTo>
                      <a:lnTo>
                        <a:pt x="780" y="840"/>
                      </a:lnTo>
                      <a:lnTo>
                        <a:pt x="780" y="816"/>
                      </a:lnTo>
                      <a:lnTo>
                        <a:pt x="804" y="816"/>
                      </a:lnTo>
                      <a:lnTo>
                        <a:pt x="804" y="798"/>
                      </a:lnTo>
                      <a:lnTo>
                        <a:pt x="810" y="792"/>
                      </a:lnTo>
                      <a:lnTo>
                        <a:pt x="810" y="786"/>
                      </a:lnTo>
                      <a:lnTo>
                        <a:pt x="816" y="780"/>
                      </a:lnTo>
                      <a:lnTo>
                        <a:pt x="828" y="792"/>
                      </a:lnTo>
                      <a:lnTo>
                        <a:pt x="828" y="840"/>
                      </a:lnTo>
                      <a:lnTo>
                        <a:pt x="852" y="840"/>
                      </a:lnTo>
                      <a:lnTo>
                        <a:pt x="858" y="828"/>
                      </a:lnTo>
                      <a:lnTo>
                        <a:pt x="858" y="792"/>
                      </a:lnTo>
                      <a:lnTo>
                        <a:pt x="876" y="780"/>
                      </a:lnTo>
                      <a:close/>
                      <a:moveTo>
                        <a:pt x="498" y="912"/>
                      </a:moveTo>
                      <a:lnTo>
                        <a:pt x="486" y="906"/>
                      </a:lnTo>
                      <a:lnTo>
                        <a:pt x="480" y="900"/>
                      </a:lnTo>
                      <a:lnTo>
                        <a:pt x="468" y="894"/>
                      </a:lnTo>
                      <a:lnTo>
                        <a:pt x="444" y="894"/>
                      </a:lnTo>
                      <a:lnTo>
                        <a:pt x="438" y="900"/>
                      </a:lnTo>
                      <a:lnTo>
                        <a:pt x="438" y="924"/>
                      </a:lnTo>
                      <a:lnTo>
                        <a:pt x="432" y="924"/>
                      </a:lnTo>
                      <a:lnTo>
                        <a:pt x="426" y="918"/>
                      </a:lnTo>
                      <a:lnTo>
                        <a:pt x="396" y="918"/>
                      </a:lnTo>
                      <a:lnTo>
                        <a:pt x="390" y="924"/>
                      </a:lnTo>
                      <a:lnTo>
                        <a:pt x="390" y="942"/>
                      </a:lnTo>
                      <a:lnTo>
                        <a:pt x="396" y="948"/>
                      </a:lnTo>
                      <a:lnTo>
                        <a:pt x="396" y="954"/>
                      </a:lnTo>
                      <a:lnTo>
                        <a:pt x="378" y="972"/>
                      </a:lnTo>
                      <a:lnTo>
                        <a:pt x="390" y="978"/>
                      </a:lnTo>
                      <a:lnTo>
                        <a:pt x="396" y="990"/>
                      </a:lnTo>
                      <a:lnTo>
                        <a:pt x="408" y="1002"/>
                      </a:lnTo>
                      <a:lnTo>
                        <a:pt x="432" y="1014"/>
                      </a:lnTo>
                      <a:lnTo>
                        <a:pt x="438" y="1020"/>
                      </a:lnTo>
                      <a:lnTo>
                        <a:pt x="450" y="1026"/>
                      </a:lnTo>
                      <a:lnTo>
                        <a:pt x="450" y="984"/>
                      </a:lnTo>
                      <a:lnTo>
                        <a:pt x="456" y="972"/>
                      </a:lnTo>
                      <a:lnTo>
                        <a:pt x="462" y="966"/>
                      </a:lnTo>
                      <a:lnTo>
                        <a:pt x="474" y="960"/>
                      </a:lnTo>
                      <a:lnTo>
                        <a:pt x="486" y="960"/>
                      </a:lnTo>
                      <a:lnTo>
                        <a:pt x="492" y="966"/>
                      </a:lnTo>
                      <a:lnTo>
                        <a:pt x="504" y="972"/>
                      </a:lnTo>
                      <a:lnTo>
                        <a:pt x="510" y="984"/>
                      </a:lnTo>
                      <a:lnTo>
                        <a:pt x="516" y="990"/>
                      </a:lnTo>
                      <a:lnTo>
                        <a:pt x="516" y="978"/>
                      </a:lnTo>
                      <a:lnTo>
                        <a:pt x="522" y="966"/>
                      </a:lnTo>
                      <a:lnTo>
                        <a:pt x="522" y="954"/>
                      </a:lnTo>
                      <a:lnTo>
                        <a:pt x="528" y="942"/>
                      </a:lnTo>
                      <a:lnTo>
                        <a:pt x="528" y="930"/>
                      </a:lnTo>
                      <a:lnTo>
                        <a:pt x="522" y="918"/>
                      </a:lnTo>
                      <a:lnTo>
                        <a:pt x="516" y="912"/>
                      </a:lnTo>
                      <a:lnTo>
                        <a:pt x="516" y="906"/>
                      </a:lnTo>
                      <a:lnTo>
                        <a:pt x="498" y="912"/>
                      </a:lnTo>
                      <a:close/>
                      <a:moveTo>
                        <a:pt x="354" y="1050"/>
                      </a:moveTo>
                      <a:lnTo>
                        <a:pt x="354" y="1038"/>
                      </a:lnTo>
                      <a:lnTo>
                        <a:pt x="372" y="1020"/>
                      </a:lnTo>
                      <a:lnTo>
                        <a:pt x="372" y="1008"/>
                      </a:lnTo>
                      <a:lnTo>
                        <a:pt x="360" y="1002"/>
                      </a:lnTo>
                      <a:lnTo>
                        <a:pt x="354" y="990"/>
                      </a:lnTo>
                      <a:lnTo>
                        <a:pt x="348" y="984"/>
                      </a:lnTo>
                      <a:lnTo>
                        <a:pt x="336" y="978"/>
                      </a:lnTo>
                      <a:lnTo>
                        <a:pt x="336" y="966"/>
                      </a:lnTo>
                      <a:lnTo>
                        <a:pt x="330" y="960"/>
                      </a:lnTo>
                      <a:lnTo>
                        <a:pt x="324" y="960"/>
                      </a:lnTo>
                      <a:lnTo>
                        <a:pt x="318" y="954"/>
                      </a:lnTo>
                      <a:lnTo>
                        <a:pt x="300" y="954"/>
                      </a:lnTo>
                      <a:lnTo>
                        <a:pt x="294" y="948"/>
                      </a:lnTo>
                      <a:lnTo>
                        <a:pt x="270" y="936"/>
                      </a:lnTo>
                      <a:lnTo>
                        <a:pt x="258" y="936"/>
                      </a:lnTo>
                      <a:lnTo>
                        <a:pt x="240" y="954"/>
                      </a:lnTo>
                      <a:lnTo>
                        <a:pt x="204" y="972"/>
                      </a:lnTo>
                      <a:lnTo>
                        <a:pt x="234" y="1026"/>
                      </a:lnTo>
                      <a:lnTo>
                        <a:pt x="252" y="1014"/>
                      </a:lnTo>
                      <a:lnTo>
                        <a:pt x="252" y="1008"/>
                      </a:lnTo>
                      <a:lnTo>
                        <a:pt x="246" y="1002"/>
                      </a:lnTo>
                      <a:lnTo>
                        <a:pt x="246" y="990"/>
                      </a:lnTo>
                      <a:lnTo>
                        <a:pt x="252" y="990"/>
                      </a:lnTo>
                      <a:lnTo>
                        <a:pt x="264" y="1002"/>
                      </a:lnTo>
                      <a:lnTo>
                        <a:pt x="270" y="1014"/>
                      </a:lnTo>
                      <a:lnTo>
                        <a:pt x="276" y="1020"/>
                      </a:lnTo>
                      <a:lnTo>
                        <a:pt x="282" y="1032"/>
                      </a:lnTo>
                      <a:lnTo>
                        <a:pt x="282" y="1068"/>
                      </a:lnTo>
                      <a:lnTo>
                        <a:pt x="264" y="1074"/>
                      </a:lnTo>
                      <a:lnTo>
                        <a:pt x="264" y="1080"/>
                      </a:lnTo>
                      <a:lnTo>
                        <a:pt x="270" y="1086"/>
                      </a:lnTo>
                      <a:lnTo>
                        <a:pt x="270" y="1104"/>
                      </a:lnTo>
                      <a:lnTo>
                        <a:pt x="276" y="1116"/>
                      </a:lnTo>
                      <a:lnTo>
                        <a:pt x="282" y="1134"/>
                      </a:lnTo>
                      <a:lnTo>
                        <a:pt x="294" y="1146"/>
                      </a:lnTo>
                      <a:lnTo>
                        <a:pt x="300" y="1146"/>
                      </a:lnTo>
                      <a:lnTo>
                        <a:pt x="306" y="1140"/>
                      </a:lnTo>
                      <a:lnTo>
                        <a:pt x="306" y="1104"/>
                      </a:lnTo>
                      <a:lnTo>
                        <a:pt x="336" y="1116"/>
                      </a:lnTo>
                      <a:lnTo>
                        <a:pt x="336" y="1140"/>
                      </a:lnTo>
                      <a:lnTo>
                        <a:pt x="342" y="1146"/>
                      </a:lnTo>
                      <a:lnTo>
                        <a:pt x="342" y="1152"/>
                      </a:lnTo>
                      <a:lnTo>
                        <a:pt x="348" y="1152"/>
                      </a:lnTo>
                      <a:lnTo>
                        <a:pt x="348" y="1140"/>
                      </a:lnTo>
                      <a:lnTo>
                        <a:pt x="360" y="1128"/>
                      </a:lnTo>
                      <a:lnTo>
                        <a:pt x="366" y="1116"/>
                      </a:lnTo>
                      <a:lnTo>
                        <a:pt x="366" y="1110"/>
                      </a:lnTo>
                      <a:lnTo>
                        <a:pt x="360" y="1104"/>
                      </a:lnTo>
                      <a:lnTo>
                        <a:pt x="360" y="1074"/>
                      </a:lnTo>
                      <a:lnTo>
                        <a:pt x="354" y="1062"/>
                      </a:lnTo>
                      <a:lnTo>
                        <a:pt x="354" y="1050"/>
                      </a:lnTo>
                      <a:close/>
                      <a:moveTo>
                        <a:pt x="264" y="1026"/>
                      </a:moveTo>
                      <a:lnTo>
                        <a:pt x="246" y="1062"/>
                      </a:lnTo>
                      <a:lnTo>
                        <a:pt x="264" y="1056"/>
                      </a:lnTo>
                      <a:lnTo>
                        <a:pt x="264" y="1026"/>
                      </a:lnTo>
                      <a:close/>
                      <a:moveTo>
                        <a:pt x="624" y="618"/>
                      </a:moveTo>
                      <a:lnTo>
                        <a:pt x="636" y="618"/>
                      </a:lnTo>
                      <a:lnTo>
                        <a:pt x="636" y="594"/>
                      </a:lnTo>
                      <a:lnTo>
                        <a:pt x="630" y="594"/>
                      </a:lnTo>
                      <a:lnTo>
                        <a:pt x="612" y="570"/>
                      </a:lnTo>
                      <a:lnTo>
                        <a:pt x="606" y="582"/>
                      </a:lnTo>
                      <a:lnTo>
                        <a:pt x="618" y="600"/>
                      </a:lnTo>
                      <a:lnTo>
                        <a:pt x="624" y="618"/>
                      </a:lnTo>
                      <a:close/>
                      <a:moveTo>
                        <a:pt x="546" y="72"/>
                      </a:moveTo>
                      <a:lnTo>
                        <a:pt x="552" y="96"/>
                      </a:lnTo>
                      <a:lnTo>
                        <a:pt x="558" y="102"/>
                      </a:lnTo>
                      <a:lnTo>
                        <a:pt x="570" y="108"/>
                      </a:lnTo>
                      <a:lnTo>
                        <a:pt x="576" y="114"/>
                      </a:lnTo>
                      <a:lnTo>
                        <a:pt x="576" y="132"/>
                      </a:lnTo>
                      <a:lnTo>
                        <a:pt x="564" y="144"/>
                      </a:lnTo>
                      <a:lnTo>
                        <a:pt x="564" y="150"/>
                      </a:lnTo>
                      <a:lnTo>
                        <a:pt x="570" y="156"/>
                      </a:lnTo>
                      <a:lnTo>
                        <a:pt x="576" y="168"/>
                      </a:lnTo>
                      <a:lnTo>
                        <a:pt x="582" y="174"/>
                      </a:lnTo>
                      <a:lnTo>
                        <a:pt x="582" y="186"/>
                      </a:lnTo>
                      <a:lnTo>
                        <a:pt x="576" y="186"/>
                      </a:lnTo>
                      <a:lnTo>
                        <a:pt x="564" y="180"/>
                      </a:lnTo>
                      <a:lnTo>
                        <a:pt x="552" y="180"/>
                      </a:lnTo>
                      <a:lnTo>
                        <a:pt x="540" y="174"/>
                      </a:lnTo>
                      <a:lnTo>
                        <a:pt x="528" y="174"/>
                      </a:lnTo>
                      <a:lnTo>
                        <a:pt x="522" y="168"/>
                      </a:lnTo>
                      <a:lnTo>
                        <a:pt x="522" y="180"/>
                      </a:lnTo>
                      <a:lnTo>
                        <a:pt x="540" y="198"/>
                      </a:lnTo>
                      <a:lnTo>
                        <a:pt x="516" y="228"/>
                      </a:lnTo>
                      <a:lnTo>
                        <a:pt x="522" y="240"/>
                      </a:lnTo>
                      <a:lnTo>
                        <a:pt x="528" y="246"/>
                      </a:lnTo>
                      <a:lnTo>
                        <a:pt x="528" y="252"/>
                      </a:lnTo>
                      <a:lnTo>
                        <a:pt x="534" y="258"/>
                      </a:lnTo>
                      <a:lnTo>
                        <a:pt x="546" y="264"/>
                      </a:lnTo>
                      <a:lnTo>
                        <a:pt x="552" y="270"/>
                      </a:lnTo>
                      <a:lnTo>
                        <a:pt x="564" y="276"/>
                      </a:lnTo>
                      <a:lnTo>
                        <a:pt x="570" y="282"/>
                      </a:lnTo>
                      <a:lnTo>
                        <a:pt x="576" y="282"/>
                      </a:lnTo>
                      <a:lnTo>
                        <a:pt x="576" y="318"/>
                      </a:lnTo>
                      <a:lnTo>
                        <a:pt x="582" y="330"/>
                      </a:lnTo>
                      <a:lnTo>
                        <a:pt x="600" y="330"/>
                      </a:lnTo>
                      <a:lnTo>
                        <a:pt x="600" y="300"/>
                      </a:lnTo>
                      <a:lnTo>
                        <a:pt x="636" y="300"/>
                      </a:lnTo>
                      <a:lnTo>
                        <a:pt x="642" y="294"/>
                      </a:lnTo>
                      <a:lnTo>
                        <a:pt x="606" y="270"/>
                      </a:lnTo>
                      <a:lnTo>
                        <a:pt x="588" y="270"/>
                      </a:lnTo>
                      <a:lnTo>
                        <a:pt x="576" y="264"/>
                      </a:lnTo>
                      <a:lnTo>
                        <a:pt x="570" y="264"/>
                      </a:lnTo>
                      <a:lnTo>
                        <a:pt x="558" y="258"/>
                      </a:lnTo>
                      <a:lnTo>
                        <a:pt x="558" y="246"/>
                      </a:lnTo>
                      <a:lnTo>
                        <a:pt x="564" y="240"/>
                      </a:lnTo>
                      <a:lnTo>
                        <a:pt x="576" y="234"/>
                      </a:lnTo>
                      <a:lnTo>
                        <a:pt x="600" y="246"/>
                      </a:lnTo>
                      <a:lnTo>
                        <a:pt x="606" y="252"/>
                      </a:lnTo>
                      <a:lnTo>
                        <a:pt x="618" y="240"/>
                      </a:lnTo>
                      <a:lnTo>
                        <a:pt x="630" y="234"/>
                      </a:lnTo>
                      <a:lnTo>
                        <a:pt x="636" y="234"/>
                      </a:lnTo>
                      <a:lnTo>
                        <a:pt x="690" y="252"/>
                      </a:lnTo>
                      <a:lnTo>
                        <a:pt x="726" y="270"/>
                      </a:lnTo>
                      <a:lnTo>
                        <a:pt x="756" y="282"/>
                      </a:lnTo>
                      <a:lnTo>
                        <a:pt x="768" y="282"/>
                      </a:lnTo>
                      <a:lnTo>
                        <a:pt x="768" y="270"/>
                      </a:lnTo>
                      <a:lnTo>
                        <a:pt x="762" y="258"/>
                      </a:lnTo>
                      <a:lnTo>
                        <a:pt x="762" y="222"/>
                      </a:lnTo>
                      <a:lnTo>
                        <a:pt x="780" y="204"/>
                      </a:lnTo>
                      <a:lnTo>
                        <a:pt x="792" y="204"/>
                      </a:lnTo>
                      <a:lnTo>
                        <a:pt x="798" y="210"/>
                      </a:lnTo>
                      <a:lnTo>
                        <a:pt x="816" y="210"/>
                      </a:lnTo>
                      <a:lnTo>
                        <a:pt x="840" y="198"/>
                      </a:lnTo>
                      <a:lnTo>
                        <a:pt x="858" y="180"/>
                      </a:lnTo>
                      <a:lnTo>
                        <a:pt x="804" y="144"/>
                      </a:lnTo>
                      <a:lnTo>
                        <a:pt x="804" y="120"/>
                      </a:lnTo>
                      <a:lnTo>
                        <a:pt x="798" y="108"/>
                      </a:lnTo>
                      <a:lnTo>
                        <a:pt x="792" y="102"/>
                      </a:lnTo>
                      <a:lnTo>
                        <a:pt x="786" y="102"/>
                      </a:lnTo>
                      <a:lnTo>
                        <a:pt x="774" y="114"/>
                      </a:lnTo>
                      <a:lnTo>
                        <a:pt x="774" y="126"/>
                      </a:lnTo>
                      <a:lnTo>
                        <a:pt x="756" y="120"/>
                      </a:lnTo>
                      <a:lnTo>
                        <a:pt x="720" y="114"/>
                      </a:lnTo>
                      <a:lnTo>
                        <a:pt x="678" y="102"/>
                      </a:lnTo>
                      <a:lnTo>
                        <a:pt x="648" y="90"/>
                      </a:lnTo>
                      <a:lnTo>
                        <a:pt x="624" y="72"/>
                      </a:lnTo>
                      <a:lnTo>
                        <a:pt x="552" y="24"/>
                      </a:lnTo>
                      <a:lnTo>
                        <a:pt x="516" y="6"/>
                      </a:lnTo>
                      <a:lnTo>
                        <a:pt x="498" y="0"/>
                      </a:lnTo>
                      <a:lnTo>
                        <a:pt x="498" y="18"/>
                      </a:lnTo>
                      <a:lnTo>
                        <a:pt x="510" y="30"/>
                      </a:lnTo>
                      <a:lnTo>
                        <a:pt x="516" y="42"/>
                      </a:lnTo>
                      <a:lnTo>
                        <a:pt x="528" y="54"/>
                      </a:lnTo>
                      <a:lnTo>
                        <a:pt x="534" y="66"/>
                      </a:lnTo>
                      <a:lnTo>
                        <a:pt x="546" y="72"/>
                      </a:lnTo>
                      <a:close/>
                      <a:moveTo>
                        <a:pt x="282" y="1458"/>
                      </a:moveTo>
                      <a:lnTo>
                        <a:pt x="306" y="1458"/>
                      </a:lnTo>
                      <a:lnTo>
                        <a:pt x="276" y="1440"/>
                      </a:lnTo>
                      <a:lnTo>
                        <a:pt x="282" y="1458"/>
                      </a:lnTo>
                      <a:close/>
                      <a:moveTo>
                        <a:pt x="300" y="1386"/>
                      </a:moveTo>
                      <a:lnTo>
                        <a:pt x="312" y="1398"/>
                      </a:lnTo>
                      <a:lnTo>
                        <a:pt x="318" y="1398"/>
                      </a:lnTo>
                      <a:lnTo>
                        <a:pt x="330" y="1386"/>
                      </a:lnTo>
                      <a:lnTo>
                        <a:pt x="336" y="1386"/>
                      </a:lnTo>
                      <a:lnTo>
                        <a:pt x="342" y="1380"/>
                      </a:lnTo>
                      <a:lnTo>
                        <a:pt x="342" y="1368"/>
                      </a:lnTo>
                      <a:lnTo>
                        <a:pt x="336" y="1362"/>
                      </a:lnTo>
                      <a:lnTo>
                        <a:pt x="318" y="1362"/>
                      </a:lnTo>
                      <a:lnTo>
                        <a:pt x="306" y="1368"/>
                      </a:lnTo>
                      <a:lnTo>
                        <a:pt x="300" y="1380"/>
                      </a:lnTo>
                      <a:lnTo>
                        <a:pt x="300" y="1386"/>
                      </a:lnTo>
                      <a:close/>
                      <a:moveTo>
                        <a:pt x="312" y="1416"/>
                      </a:moveTo>
                      <a:lnTo>
                        <a:pt x="300" y="1416"/>
                      </a:lnTo>
                      <a:lnTo>
                        <a:pt x="300" y="1428"/>
                      </a:lnTo>
                      <a:lnTo>
                        <a:pt x="318" y="1428"/>
                      </a:lnTo>
                      <a:lnTo>
                        <a:pt x="318" y="1422"/>
                      </a:lnTo>
                      <a:lnTo>
                        <a:pt x="312" y="1416"/>
                      </a:lnTo>
                      <a:close/>
                      <a:moveTo>
                        <a:pt x="336" y="1200"/>
                      </a:moveTo>
                      <a:lnTo>
                        <a:pt x="336" y="1206"/>
                      </a:lnTo>
                      <a:lnTo>
                        <a:pt x="330" y="1206"/>
                      </a:lnTo>
                      <a:lnTo>
                        <a:pt x="318" y="1212"/>
                      </a:lnTo>
                      <a:lnTo>
                        <a:pt x="342" y="1230"/>
                      </a:lnTo>
                      <a:lnTo>
                        <a:pt x="342" y="1218"/>
                      </a:lnTo>
                      <a:lnTo>
                        <a:pt x="336" y="1206"/>
                      </a:lnTo>
                      <a:lnTo>
                        <a:pt x="336" y="1200"/>
                      </a:lnTo>
                      <a:close/>
                      <a:moveTo>
                        <a:pt x="366" y="1170"/>
                      </a:moveTo>
                      <a:lnTo>
                        <a:pt x="366" y="1182"/>
                      </a:lnTo>
                      <a:lnTo>
                        <a:pt x="360" y="1194"/>
                      </a:lnTo>
                      <a:lnTo>
                        <a:pt x="378" y="1224"/>
                      </a:lnTo>
                      <a:lnTo>
                        <a:pt x="378" y="1200"/>
                      </a:lnTo>
                      <a:lnTo>
                        <a:pt x="372" y="1194"/>
                      </a:lnTo>
                      <a:lnTo>
                        <a:pt x="372" y="1176"/>
                      </a:lnTo>
                      <a:lnTo>
                        <a:pt x="366" y="1170"/>
                      </a:lnTo>
                      <a:close/>
                      <a:moveTo>
                        <a:pt x="36" y="1698"/>
                      </a:moveTo>
                      <a:lnTo>
                        <a:pt x="54" y="1698"/>
                      </a:lnTo>
                      <a:lnTo>
                        <a:pt x="60" y="1692"/>
                      </a:lnTo>
                      <a:lnTo>
                        <a:pt x="72" y="1692"/>
                      </a:lnTo>
                      <a:lnTo>
                        <a:pt x="42" y="1680"/>
                      </a:lnTo>
                      <a:lnTo>
                        <a:pt x="36" y="1686"/>
                      </a:lnTo>
                      <a:lnTo>
                        <a:pt x="36" y="1698"/>
                      </a:lnTo>
                      <a:close/>
                      <a:moveTo>
                        <a:pt x="114" y="1662"/>
                      </a:moveTo>
                      <a:lnTo>
                        <a:pt x="96" y="1632"/>
                      </a:lnTo>
                      <a:lnTo>
                        <a:pt x="96" y="1662"/>
                      </a:lnTo>
                      <a:lnTo>
                        <a:pt x="102" y="1674"/>
                      </a:lnTo>
                      <a:lnTo>
                        <a:pt x="114" y="1680"/>
                      </a:lnTo>
                      <a:lnTo>
                        <a:pt x="120" y="1680"/>
                      </a:lnTo>
                      <a:lnTo>
                        <a:pt x="126" y="1674"/>
                      </a:lnTo>
                      <a:lnTo>
                        <a:pt x="126" y="1662"/>
                      </a:lnTo>
                      <a:lnTo>
                        <a:pt x="114" y="1662"/>
                      </a:lnTo>
                      <a:close/>
                      <a:moveTo>
                        <a:pt x="12" y="1686"/>
                      </a:moveTo>
                      <a:lnTo>
                        <a:pt x="6" y="1686"/>
                      </a:lnTo>
                      <a:lnTo>
                        <a:pt x="0" y="1692"/>
                      </a:lnTo>
                      <a:lnTo>
                        <a:pt x="0" y="1704"/>
                      </a:lnTo>
                      <a:lnTo>
                        <a:pt x="6" y="1710"/>
                      </a:lnTo>
                      <a:lnTo>
                        <a:pt x="12" y="1710"/>
                      </a:lnTo>
                      <a:lnTo>
                        <a:pt x="24" y="1698"/>
                      </a:lnTo>
                      <a:lnTo>
                        <a:pt x="24" y="1686"/>
                      </a:lnTo>
                      <a:lnTo>
                        <a:pt x="12" y="1686"/>
                      </a:lnTo>
                      <a:close/>
                      <a:moveTo>
                        <a:pt x="168" y="1536"/>
                      </a:moveTo>
                      <a:lnTo>
                        <a:pt x="168" y="1542"/>
                      </a:lnTo>
                      <a:lnTo>
                        <a:pt x="180" y="1548"/>
                      </a:lnTo>
                      <a:lnTo>
                        <a:pt x="186" y="1548"/>
                      </a:lnTo>
                      <a:lnTo>
                        <a:pt x="186" y="1536"/>
                      </a:lnTo>
                      <a:lnTo>
                        <a:pt x="180" y="1530"/>
                      </a:lnTo>
                      <a:lnTo>
                        <a:pt x="168" y="1530"/>
                      </a:lnTo>
                      <a:lnTo>
                        <a:pt x="168" y="1536"/>
                      </a:lnTo>
                      <a:close/>
                      <a:moveTo>
                        <a:pt x="264" y="1494"/>
                      </a:moveTo>
                      <a:lnTo>
                        <a:pt x="252" y="1518"/>
                      </a:lnTo>
                      <a:lnTo>
                        <a:pt x="246" y="1536"/>
                      </a:lnTo>
                      <a:lnTo>
                        <a:pt x="246" y="1548"/>
                      </a:lnTo>
                      <a:lnTo>
                        <a:pt x="240" y="1554"/>
                      </a:lnTo>
                      <a:lnTo>
                        <a:pt x="240" y="1560"/>
                      </a:lnTo>
                      <a:lnTo>
                        <a:pt x="258" y="1566"/>
                      </a:lnTo>
                      <a:lnTo>
                        <a:pt x="264" y="1554"/>
                      </a:lnTo>
                      <a:lnTo>
                        <a:pt x="264" y="1548"/>
                      </a:lnTo>
                      <a:lnTo>
                        <a:pt x="270" y="1542"/>
                      </a:lnTo>
                      <a:lnTo>
                        <a:pt x="270" y="1524"/>
                      </a:lnTo>
                      <a:lnTo>
                        <a:pt x="288" y="1506"/>
                      </a:lnTo>
                      <a:lnTo>
                        <a:pt x="282" y="1500"/>
                      </a:lnTo>
                      <a:lnTo>
                        <a:pt x="282" y="1494"/>
                      </a:lnTo>
                      <a:lnTo>
                        <a:pt x="276" y="1488"/>
                      </a:lnTo>
                      <a:lnTo>
                        <a:pt x="264" y="1494"/>
                      </a:lnTo>
                      <a:close/>
                    </a:path>
                  </a:pathLst>
                </a:custGeom>
                <a:solidFill>
                  <a:schemeClr val="accent1"/>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616" name="Italy"/>
                <p:cNvSpPr>
                  <a:spLocks noEditPoints="1"/>
                </p:cNvSpPr>
                <p:nvPr/>
              </p:nvSpPr>
              <p:spPr bwMode="gray">
                <a:xfrm>
                  <a:off x="2778" y="1341"/>
                  <a:ext cx="199" cy="212"/>
                </a:xfrm>
                <a:custGeom>
                  <a:avLst/>
                  <a:gdLst>
                    <a:gd name="T0" fmla="*/ 2147483647 w 780"/>
                    <a:gd name="T1" fmla="*/ 2147483647 h 828"/>
                    <a:gd name="T2" fmla="*/ 2147483647 w 780"/>
                    <a:gd name="T3" fmla="*/ 2147483647 h 828"/>
                    <a:gd name="T4" fmla="*/ 2147483647 w 780"/>
                    <a:gd name="T5" fmla="*/ 2147483647 h 828"/>
                    <a:gd name="T6" fmla="*/ 2147483647 w 780"/>
                    <a:gd name="T7" fmla="*/ 2147483647 h 828"/>
                    <a:gd name="T8" fmla="*/ 2147483647 w 780"/>
                    <a:gd name="T9" fmla="*/ 2147483647 h 828"/>
                    <a:gd name="T10" fmla="*/ 2147483647 w 780"/>
                    <a:gd name="T11" fmla="*/ 2147483647 h 828"/>
                    <a:gd name="T12" fmla="*/ 2147483647 w 780"/>
                    <a:gd name="T13" fmla="*/ 2147483647 h 828"/>
                    <a:gd name="T14" fmla="*/ 2147483647 w 780"/>
                    <a:gd name="T15" fmla="*/ 2147483647 h 828"/>
                    <a:gd name="T16" fmla="*/ 2147483647 w 780"/>
                    <a:gd name="T17" fmla="*/ 2147483647 h 828"/>
                    <a:gd name="T18" fmla="*/ 2147483647 w 780"/>
                    <a:gd name="T19" fmla="*/ 2147483647 h 828"/>
                    <a:gd name="T20" fmla="*/ 2147483647 w 780"/>
                    <a:gd name="T21" fmla="*/ 2147483647 h 828"/>
                    <a:gd name="T22" fmla="*/ 2147483647 w 780"/>
                    <a:gd name="T23" fmla="*/ 2147483647 h 828"/>
                    <a:gd name="T24" fmla="*/ 2147483647 w 780"/>
                    <a:gd name="T25" fmla="*/ 2147483647 h 828"/>
                    <a:gd name="T26" fmla="*/ 2147483647 w 780"/>
                    <a:gd name="T27" fmla="*/ 2147483647 h 828"/>
                    <a:gd name="T28" fmla="*/ 2147483647 w 780"/>
                    <a:gd name="T29" fmla="*/ 2147483647 h 828"/>
                    <a:gd name="T30" fmla="*/ 2147483647 w 780"/>
                    <a:gd name="T31" fmla="*/ 2147483647 h 828"/>
                    <a:gd name="T32" fmla="*/ 2147483647 w 780"/>
                    <a:gd name="T33" fmla="*/ 2147483647 h 828"/>
                    <a:gd name="T34" fmla="*/ 2147483647 w 780"/>
                    <a:gd name="T35" fmla="*/ 2147483647 h 828"/>
                    <a:gd name="T36" fmla="*/ 2147483647 w 780"/>
                    <a:gd name="T37" fmla="*/ 2147483647 h 828"/>
                    <a:gd name="T38" fmla="*/ 2147483647 w 780"/>
                    <a:gd name="T39" fmla="*/ 2147483647 h 828"/>
                    <a:gd name="T40" fmla="*/ 2147483647 w 780"/>
                    <a:gd name="T41" fmla="*/ 2147483647 h 828"/>
                    <a:gd name="T42" fmla="*/ 2147483647 w 780"/>
                    <a:gd name="T43" fmla="*/ 2147483647 h 828"/>
                    <a:gd name="T44" fmla="*/ 2147483647 w 780"/>
                    <a:gd name="T45" fmla="*/ 2147483647 h 828"/>
                    <a:gd name="T46" fmla="*/ 2147483647 w 780"/>
                    <a:gd name="T47" fmla="*/ 2147483647 h 828"/>
                    <a:gd name="T48" fmla="*/ 2147483647 w 780"/>
                    <a:gd name="T49" fmla="*/ 2147483647 h 828"/>
                    <a:gd name="T50" fmla="*/ 2147483647 w 780"/>
                    <a:gd name="T51" fmla="*/ 2147483647 h 828"/>
                    <a:gd name="T52" fmla="*/ 2147483647 w 780"/>
                    <a:gd name="T53" fmla="*/ 2147483647 h 828"/>
                    <a:gd name="T54" fmla="*/ 2147483647 w 780"/>
                    <a:gd name="T55" fmla="*/ 2147483647 h 828"/>
                    <a:gd name="T56" fmla="*/ 2147483647 w 780"/>
                    <a:gd name="T57" fmla="*/ 2147483647 h 828"/>
                    <a:gd name="T58" fmla="*/ 2147483647 w 780"/>
                    <a:gd name="T59" fmla="*/ 2147483647 h 828"/>
                    <a:gd name="T60" fmla="*/ 2147483647 w 780"/>
                    <a:gd name="T61" fmla="*/ 2147483647 h 828"/>
                    <a:gd name="T62" fmla="*/ 2147483647 w 780"/>
                    <a:gd name="T63" fmla="*/ 2147483647 h 828"/>
                    <a:gd name="T64" fmla="*/ 2147483647 w 780"/>
                    <a:gd name="T65" fmla="*/ 2147483647 h 828"/>
                    <a:gd name="T66" fmla="*/ 2147483647 w 780"/>
                    <a:gd name="T67" fmla="*/ 2147483647 h 828"/>
                    <a:gd name="T68" fmla="*/ 2147483647 w 780"/>
                    <a:gd name="T69" fmla="*/ 2147483647 h 828"/>
                    <a:gd name="T70" fmla="*/ 2147483647 w 780"/>
                    <a:gd name="T71" fmla="*/ 2147483647 h 828"/>
                    <a:gd name="T72" fmla="*/ 2147483647 w 780"/>
                    <a:gd name="T73" fmla="*/ 2147483647 h 828"/>
                    <a:gd name="T74" fmla="*/ 2147483647 w 780"/>
                    <a:gd name="T75" fmla="*/ 2147483647 h 828"/>
                    <a:gd name="T76" fmla="*/ 2147483647 w 780"/>
                    <a:gd name="T77" fmla="*/ 2147483647 h 828"/>
                    <a:gd name="T78" fmla="*/ 2147483647 w 780"/>
                    <a:gd name="T79" fmla="*/ 2147483647 h 828"/>
                    <a:gd name="T80" fmla="*/ 2147483647 w 780"/>
                    <a:gd name="T81" fmla="*/ 2147483647 h 828"/>
                    <a:gd name="T82" fmla="*/ 2147483647 w 780"/>
                    <a:gd name="T83" fmla="*/ 2147483647 h 828"/>
                    <a:gd name="T84" fmla="*/ 2147483647 w 780"/>
                    <a:gd name="T85" fmla="*/ 2147483647 h 828"/>
                    <a:gd name="T86" fmla="*/ 2147483647 w 780"/>
                    <a:gd name="T87" fmla="*/ 2147483647 h 828"/>
                    <a:gd name="T88" fmla="*/ 2147483647 w 780"/>
                    <a:gd name="T89" fmla="*/ 2147483647 h 828"/>
                    <a:gd name="T90" fmla="*/ 2147483647 w 780"/>
                    <a:gd name="T91" fmla="*/ 2147483647 h 828"/>
                    <a:gd name="T92" fmla="*/ 2147483647 w 780"/>
                    <a:gd name="T93" fmla="*/ 2147483647 h 828"/>
                    <a:gd name="T94" fmla="*/ 2147483647 w 780"/>
                    <a:gd name="T95" fmla="*/ 2147483647 h 828"/>
                    <a:gd name="T96" fmla="*/ 2147483647 w 780"/>
                    <a:gd name="T97" fmla="*/ 2147483647 h 828"/>
                    <a:gd name="T98" fmla="*/ 2147483647 w 780"/>
                    <a:gd name="T99" fmla="*/ 2147483647 h 828"/>
                    <a:gd name="T100" fmla="*/ 2147483647 w 780"/>
                    <a:gd name="T101" fmla="*/ 2147483647 h 828"/>
                    <a:gd name="T102" fmla="*/ 2147483647 w 780"/>
                    <a:gd name="T103" fmla="*/ 2147483647 h 828"/>
                    <a:gd name="T104" fmla="*/ 2147483647 w 780"/>
                    <a:gd name="T105" fmla="*/ 2147483647 h 828"/>
                    <a:gd name="T106" fmla="*/ 2147483647 w 780"/>
                    <a:gd name="T107" fmla="*/ 2147483647 h 828"/>
                    <a:gd name="T108" fmla="*/ 2147483647 w 780"/>
                    <a:gd name="T109" fmla="*/ 2147483647 h 828"/>
                    <a:gd name="T110" fmla="*/ 2147483647 w 780"/>
                    <a:gd name="T111" fmla="*/ 2147483647 h 828"/>
                    <a:gd name="T112" fmla="*/ 2147483647 w 780"/>
                    <a:gd name="T113" fmla="*/ 2147483647 h 82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780"/>
                    <a:gd name="T172" fmla="*/ 0 h 828"/>
                    <a:gd name="T173" fmla="*/ 780 w 780"/>
                    <a:gd name="T174" fmla="*/ 828 h 82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780" h="828">
                      <a:moveTo>
                        <a:pt x="570" y="720"/>
                      </a:moveTo>
                      <a:lnTo>
                        <a:pt x="558" y="714"/>
                      </a:lnTo>
                      <a:lnTo>
                        <a:pt x="552" y="708"/>
                      </a:lnTo>
                      <a:lnTo>
                        <a:pt x="540" y="708"/>
                      </a:lnTo>
                      <a:lnTo>
                        <a:pt x="534" y="714"/>
                      </a:lnTo>
                      <a:lnTo>
                        <a:pt x="522" y="720"/>
                      </a:lnTo>
                      <a:lnTo>
                        <a:pt x="516" y="726"/>
                      </a:lnTo>
                      <a:lnTo>
                        <a:pt x="468" y="726"/>
                      </a:lnTo>
                      <a:lnTo>
                        <a:pt x="456" y="720"/>
                      </a:lnTo>
                      <a:lnTo>
                        <a:pt x="444" y="708"/>
                      </a:lnTo>
                      <a:lnTo>
                        <a:pt x="438" y="708"/>
                      </a:lnTo>
                      <a:lnTo>
                        <a:pt x="420" y="726"/>
                      </a:lnTo>
                      <a:lnTo>
                        <a:pt x="402" y="714"/>
                      </a:lnTo>
                      <a:lnTo>
                        <a:pt x="396" y="714"/>
                      </a:lnTo>
                      <a:lnTo>
                        <a:pt x="384" y="726"/>
                      </a:lnTo>
                      <a:lnTo>
                        <a:pt x="384" y="738"/>
                      </a:lnTo>
                      <a:lnTo>
                        <a:pt x="396" y="750"/>
                      </a:lnTo>
                      <a:lnTo>
                        <a:pt x="420" y="762"/>
                      </a:lnTo>
                      <a:lnTo>
                        <a:pt x="426" y="762"/>
                      </a:lnTo>
                      <a:lnTo>
                        <a:pt x="444" y="780"/>
                      </a:lnTo>
                      <a:lnTo>
                        <a:pt x="444" y="786"/>
                      </a:lnTo>
                      <a:lnTo>
                        <a:pt x="456" y="786"/>
                      </a:lnTo>
                      <a:lnTo>
                        <a:pt x="468" y="798"/>
                      </a:lnTo>
                      <a:lnTo>
                        <a:pt x="480" y="804"/>
                      </a:lnTo>
                      <a:lnTo>
                        <a:pt x="498" y="798"/>
                      </a:lnTo>
                      <a:lnTo>
                        <a:pt x="504" y="804"/>
                      </a:lnTo>
                      <a:lnTo>
                        <a:pt x="516" y="810"/>
                      </a:lnTo>
                      <a:lnTo>
                        <a:pt x="522" y="822"/>
                      </a:lnTo>
                      <a:lnTo>
                        <a:pt x="534" y="828"/>
                      </a:lnTo>
                      <a:lnTo>
                        <a:pt x="558" y="828"/>
                      </a:lnTo>
                      <a:lnTo>
                        <a:pt x="570" y="816"/>
                      </a:lnTo>
                      <a:lnTo>
                        <a:pt x="570" y="792"/>
                      </a:lnTo>
                      <a:lnTo>
                        <a:pt x="564" y="780"/>
                      </a:lnTo>
                      <a:lnTo>
                        <a:pt x="564" y="768"/>
                      </a:lnTo>
                      <a:lnTo>
                        <a:pt x="570" y="750"/>
                      </a:lnTo>
                      <a:lnTo>
                        <a:pt x="576" y="738"/>
                      </a:lnTo>
                      <a:lnTo>
                        <a:pt x="582" y="732"/>
                      </a:lnTo>
                      <a:lnTo>
                        <a:pt x="582" y="714"/>
                      </a:lnTo>
                      <a:lnTo>
                        <a:pt x="576" y="702"/>
                      </a:lnTo>
                      <a:lnTo>
                        <a:pt x="570" y="720"/>
                      </a:lnTo>
                      <a:close/>
                      <a:moveTo>
                        <a:pt x="180" y="468"/>
                      </a:moveTo>
                      <a:lnTo>
                        <a:pt x="156" y="480"/>
                      </a:lnTo>
                      <a:lnTo>
                        <a:pt x="150" y="486"/>
                      </a:lnTo>
                      <a:lnTo>
                        <a:pt x="138" y="492"/>
                      </a:lnTo>
                      <a:lnTo>
                        <a:pt x="132" y="498"/>
                      </a:lnTo>
                      <a:lnTo>
                        <a:pt x="126" y="498"/>
                      </a:lnTo>
                      <a:lnTo>
                        <a:pt x="114" y="492"/>
                      </a:lnTo>
                      <a:lnTo>
                        <a:pt x="102" y="480"/>
                      </a:lnTo>
                      <a:lnTo>
                        <a:pt x="96" y="498"/>
                      </a:lnTo>
                      <a:lnTo>
                        <a:pt x="102" y="504"/>
                      </a:lnTo>
                      <a:lnTo>
                        <a:pt x="114" y="510"/>
                      </a:lnTo>
                      <a:lnTo>
                        <a:pt x="120" y="522"/>
                      </a:lnTo>
                      <a:lnTo>
                        <a:pt x="120" y="540"/>
                      </a:lnTo>
                      <a:lnTo>
                        <a:pt x="114" y="558"/>
                      </a:lnTo>
                      <a:lnTo>
                        <a:pt x="114" y="570"/>
                      </a:lnTo>
                      <a:lnTo>
                        <a:pt x="126" y="582"/>
                      </a:lnTo>
                      <a:lnTo>
                        <a:pt x="114" y="588"/>
                      </a:lnTo>
                      <a:lnTo>
                        <a:pt x="120" y="636"/>
                      </a:lnTo>
                      <a:lnTo>
                        <a:pt x="108" y="636"/>
                      </a:lnTo>
                      <a:lnTo>
                        <a:pt x="126" y="654"/>
                      </a:lnTo>
                      <a:lnTo>
                        <a:pt x="138" y="654"/>
                      </a:lnTo>
                      <a:lnTo>
                        <a:pt x="144" y="642"/>
                      </a:lnTo>
                      <a:lnTo>
                        <a:pt x="156" y="630"/>
                      </a:lnTo>
                      <a:lnTo>
                        <a:pt x="156" y="618"/>
                      </a:lnTo>
                      <a:lnTo>
                        <a:pt x="168" y="630"/>
                      </a:lnTo>
                      <a:lnTo>
                        <a:pt x="180" y="636"/>
                      </a:lnTo>
                      <a:lnTo>
                        <a:pt x="186" y="636"/>
                      </a:lnTo>
                      <a:lnTo>
                        <a:pt x="192" y="630"/>
                      </a:lnTo>
                      <a:lnTo>
                        <a:pt x="198" y="618"/>
                      </a:lnTo>
                      <a:lnTo>
                        <a:pt x="198" y="594"/>
                      </a:lnTo>
                      <a:lnTo>
                        <a:pt x="204" y="582"/>
                      </a:lnTo>
                      <a:lnTo>
                        <a:pt x="204" y="558"/>
                      </a:lnTo>
                      <a:lnTo>
                        <a:pt x="198" y="552"/>
                      </a:lnTo>
                      <a:lnTo>
                        <a:pt x="192" y="552"/>
                      </a:lnTo>
                      <a:lnTo>
                        <a:pt x="192" y="546"/>
                      </a:lnTo>
                      <a:lnTo>
                        <a:pt x="198" y="540"/>
                      </a:lnTo>
                      <a:lnTo>
                        <a:pt x="204" y="540"/>
                      </a:lnTo>
                      <a:lnTo>
                        <a:pt x="210" y="534"/>
                      </a:lnTo>
                      <a:lnTo>
                        <a:pt x="210" y="522"/>
                      </a:lnTo>
                      <a:lnTo>
                        <a:pt x="204" y="510"/>
                      </a:lnTo>
                      <a:lnTo>
                        <a:pt x="204" y="492"/>
                      </a:lnTo>
                      <a:lnTo>
                        <a:pt x="198" y="480"/>
                      </a:lnTo>
                      <a:lnTo>
                        <a:pt x="186" y="474"/>
                      </a:lnTo>
                      <a:lnTo>
                        <a:pt x="180" y="468"/>
                      </a:lnTo>
                      <a:close/>
                      <a:moveTo>
                        <a:pt x="774" y="546"/>
                      </a:moveTo>
                      <a:lnTo>
                        <a:pt x="768" y="534"/>
                      </a:lnTo>
                      <a:lnTo>
                        <a:pt x="756" y="528"/>
                      </a:lnTo>
                      <a:lnTo>
                        <a:pt x="738" y="510"/>
                      </a:lnTo>
                      <a:lnTo>
                        <a:pt x="678" y="480"/>
                      </a:lnTo>
                      <a:lnTo>
                        <a:pt x="672" y="480"/>
                      </a:lnTo>
                      <a:lnTo>
                        <a:pt x="660" y="474"/>
                      </a:lnTo>
                      <a:lnTo>
                        <a:pt x="648" y="474"/>
                      </a:lnTo>
                      <a:lnTo>
                        <a:pt x="630" y="468"/>
                      </a:lnTo>
                      <a:lnTo>
                        <a:pt x="606" y="456"/>
                      </a:lnTo>
                      <a:lnTo>
                        <a:pt x="606" y="450"/>
                      </a:lnTo>
                      <a:lnTo>
                        <a:pt x="612" y="438"/>
                      </a:lnTo>
                      <a:lnTo>
                        <a:pt x="624" y="426"/>
                      </a:lnTo>
                      <a:lnTo>
                        <a:pt x="624" y="420"/>
                      </a:lnTo>
                      <a:lnTo>
                        <a:pt x="618" y="414"/>
                      </a:lnTo>
                      <a:lnTo>
                        <a:pt x="612" y="414"/>
                      </a:lnTo>
                      <a:lnTo>
                        <a:pt x="594" y="408"/>
                      </a:lnTo>
                      <a:lnTo>
                        <a:pt x="552" y="408"/>
                      </a:lnTo>
                      <a:lnTo>
                        <a:pt x="540" y="402"/>
                      </a:lnTo>
                      <a:lnTo>
                        <a:pt x="534" y="396"/>
                      </a:lnTo>
                      <a:lnTo>
                        <a:pt x="516" y="384"/>
                      </a:lnTo>
                      <a:lnTo>
                        <a:pt x="492" y="360"/>
                      </a:lnTo>
                      <a:lnTo>
                        <a:pt x="480" y="342"/>
                      </a:lnTo>
                      <a:lnTo>
                        <a:pt x="474" y="336"/>
                      </a:lnTo>
                      <a:lnTo>
                        <a:pt x="468" y="324"/>
                      </a:lnTo>
                      <a:lnTo>
                        <a:pt x="468" y="312"/>
                      </a:lnTo>
                      <a:lnTo>
                        <a:pt x="450" y="276"/>
                      </a:lnTo>
                      <a:lnTo>
                        <a:pt x="438" y="270"/>
                      </a:lnTo>
                      <a:lnTo>
                        <a:pt x="432" y="264"/>
                      </a:lnTo>
                      <a:lnTo>
                        <a:pt x="420" y="258"/>
                      </a:lnTo>
                      <a:lnTo>
                        <a:pt x="414" y="252"/>
                      </a:lnTo>
                      <a:lnTo>
                        <a:pt x="378" y="222"/>
                      </a:lnTo>
                      <a:lnTo>
                        <a:pt x="372" y="210"/>
                      </a:lnTo>
                      <a:lnTo>
                        <a:pt x="360" y="198"/>
                      </a:lnTo>
                      <a:lnTo>
                        <a:pt x="360" y="186"/>
                      </a:lnTo>
                      <a:lnTo>
                        <a:pt x="366" y="180"/>
                      </a:lnTo>
                      <a:lnTo>
                        <a:pt x="384" y="180"/>
                      </a:lnTo>
                      <a:lnTo>
                        <a:pt x="384" y="174"/>
                      </a:lnTo>
                      <a:lnTo>
                        <a:pt x="372" y="162"/>
                      </a:lnTo>
                      <a:lnTo>
                        <a:pt x="366" y="150"/>
                      </a:lnTo>
                      <a:lnTo>
                        <a:pt x="366" y="138"/>
                      </a:lnTo>
                      <a:lnTo>
                        <a:pt x="402" y="120"/>
                      </a:lnTo>
                      <a:lnTo>
                        <a:pt x="408" y="114"/>
                      </a:lnTo>
                      <a:lnTo>
                        <a:pt x="414" y="114"/>
                      </a:lnTo>
                      <a:lnTo>
                        <a:pt x="438" y="108"/>
                      </a:lnTo>
                      <a:lnTo>
                        <a:pt x="444" y="72"/>
                      </a:lnTo>
                      <a:lnTo>
                        <a:pt x="432" y="66"/>
                      </a:lnTo>
                      <a:lnTo>
                        <a:pt x="438" y="60"/>
                      </a:lnTo>
                      <a:lnTo>
                        <a:pt x="438" y="42"/>
                      </a:lnTo>
                      <a:lnTo>
                        <a:pt x="384" y="42"/>
                      </a:lnTo>
                      <a:lnTo>
                        <a:pt x="378" y="24"/>
                      </a:lnTo>
                      <a:lnTo>
                        <a:pt x="366" y="24"/>
                      </a:lnTo>
                      <a:lnTo>
                        <a:pt x="366" y="6"/>
                      </a:lnTo>
                      <a:lnTo>
                        <a:pt x="360" y="0"/>
                      </a:lnTo>
                      <a:lnTo>
                        <a:pt x="342" y="0"/>
                      </a:lnTo>
                      <a:lnTo>
                        <a:pt x="336" y="6"/>
                      </a:lnTo>
                      <a:lnTo>
                        <a:pt x="336" y="12"/>
                      </a:lnTo>
                      <a:lnTo>
                        <a:pt x="294" y="12"/>
                      </a:lnTo>
                      <a:lnTo>
                        <a:pt x="282" y="30"/>
                      </a:lnTo>
                      <a:lnTo>
                        <a:pt x="270" y="24"/>
                      </a:lnTo>
                      <a:lnTo>
                        <a:pt x="252" y="24"/>
                      </a:lnTo>
                      <a:lnTo>
                        <a:pt x="246" y="42"/>
                      </a:lnTo>
                      <a:lnTo>
                        <a:pt x="222" y="42"/>
                      </a:lnTo>
                      <a:lnTo>
                        <a:pt x="222" y="48"/>
                      </a:lnTo>
                      <a:lnTo>
                        <a:pt x="234" y="60"/>
                      </a:lnTo>
                      <a:lnTo>
                        <a:pt x="228" y="72"/>
                      </a:lnTo>
                      <a:lnTo>
                        <a:pt x="210" y="60"/>
                      </a:lnTo>
                      <a:lnTo>
                        <a:pt x="192" y="66"/>
                      </a:lnTo>
                      <a:lnTo>
                        <a:pt x="180" y="48"/>
                      </a:lnTo>
                      <a:lnTo>
                        <a:pt x="174" y="72"/>
                      </a:lnTo>
                      <a:lnTo>
                        <a:pt x="162" y="84"/>
                      </a:lnTo>
                      <a:lnTo>
                        <a:pt x="162" y="102"/>
                      </a:lnTo>
                      <a:lnTo>
                        <a:pt x="138" y="78"/>
                      </a:lnTo>
                      <a:lnTo>
                        <a:pt x="132" y="78"/>
                      </a:lnTo>
                      <a:lnTo>
                        <a:pt x="132" y="72"/>
                      </a:lnTo>
                      <a:lnTo>
                        <a:pt x="126" y="66"/>
                      </a:lnTo>
                      <a:lnTo>
                        <a:pt x="126" y="60"/>
                      </a:lnTo>
                      <a:lnTo>
                        <a:pt x="120" y="54"/>
                      </a:lnTo>
                      <a:lnTo>
                        <a:pt x="108" y="54"/>
                      </a:lnTo>
                      <a:lnTo>
                        <a:pt x="102" y="60"/>
                      </a:lnTo>
                      <a:lnTo>
                        <a:pt x="102" y="78"/>
                      </a:lnTo>
                      <a:lnTo>
                        <a:pt x="84" y="96"/>
                      </a:lnTo>
                      <a:lnTo>
                        <a:pt x="78" y="96"/>
                      </a:lnTo>
                      <a:lnTo>
                        <a:pt x="66" y="84"/>
                      </a:lnTo>
                      <a:lnTo>
                        <a:pt x="54" y="84"/>
                      </a:lnTo>
                      <a:lnTo>
                        <a:pt x="42" y="96"/>
                      </a:lnTo>
                      <a:lnTo>
                        <a:pt x="30" y="96"/>
                      </a:lnTo>
                      <a:lnTo>
                        <a:pt x="30" y="102"/>
                      </a:lnTo>
                      <a:lnTo>
                        <a:pt x="24" y="102"/>
                      </a:lnTo>
                      <a:lnTo>
                        <a:pt x="18" y="108"/>
                      </a:lnTo>
                      <a:lnTo>
                        <a:pt x="42" y="132"/>
                      </a:lnTo>
                      <a:lnTo>
                        <a:pt x="42" y="138"/>
                      </a:lnTo>
                      <a:lnTo>
                        <a:pt x="24" y="156"/>
                      </a:lnTo>
                      <a:lnTo>
                        <a:pt x="0" y="156"/>
                      </a:lnTo>
                      <a:lnTo>
                        <a:pt x="12" y="174"/>
                      </a:lnTo>
                      <a:lnTo>
                        <a:pt x="24" y="174"/>
                      </a:lnTo>
                      <a:lnTo>
                        <a:pt x="30" y="180"/>
                      </a:lnTo>
                      <a:lnTo>
                        <a:pt x="30" y="192"/>
                      </a:lnTo>
                      <a:lnTo>
                        <a:pt x="24" y="198"/>
                      </a:lnTo>
                      <a:lnTo>
                        <a:pt x="24" y="204"/>
                      </a:lnTo>
                      <a:lnTo>
                        <a:pt x="18" y="210"/>
                      </a:lnTo>
                      <a:lnTo>
                        <a:pt x="18" y="216"/>
                      </a:lnTo>
                      <a:lnTo>
                        <a:pt x="24" y="222"/>
                      </a:lnTo>
                      <a:lnTo>
                        <a:pt x="36" y="228"/>
                      </a:lnTo>
                      <a:lnTo>
                        <a:pt x="42" y="228"/>
                      </a:lnTo>
                      <a:lnTo>
                        <a:pt x="42" y="234"/>
                      </a:lnTo>
                      <a:lnTo>
                        <a:pt x="66" y="234"/>
                      </a:lnTo>
                      <a:lnTo>
                        <a:pt x="72" y="240"/>
                      </a:lnTo>
                      <a:lnTo>
                        <a:pt x="72" y="246"/>
                      </a:lnTo>
                      <a:lnTo>
                        <a:pt x="54" y="264"/>
                      </a:lnTo>
                      <a:lnTo>
                        <a:pt x="54" y="270"/>
                      </a:lnTo>
                      <a:lnTo>
                        <a:pt x="66" y="270"/>
                      </a:lnTo>
                      <a:lnTo>
                        <a:pt x="90" y="258"/>
                      </a:lnTo>
                      <a:lnTo>
                        <a:pt x="120" y="228"/>
                      </a:lnTo>
                      <a:lnTo>
                        <a:pt x="144" y="216"/>
                      </a:lnTo>
                      <a:lnTo>
                        <a:pt x="156" y="216"/>
                      </a:lnTo>
                      <a:lnTo>
                        <a:pt x="168" y="222"/>
                      </a:lnTo>
                      <a:lnTo>
                        <a:pt x="204" y="234"/>
                      </a:lnTo>
                      <a:lnTo>
                        <a:pt x="216" y="240"/>
                      </a:lnTo>
                      <a:lnTo>
                        <a:pt x="228" y="252"/>
                      </a:lnTo>
                      <a:lnTo>
                        <a:pt x="234" y="264"/>
                      </a:lnTo>
                      <a:lnTo>
                        <a:pt x="234" y="276"/>
                      </a:lnTo>
                      <a:lnTo>
                        <a:pt x="240" y="282"/>
                      </a:lnTo>
                      <a:lnTo>
                        <a:pt x="240" y="288"/>
                      </a:lnTo>
                      <a:lnTo>
                        <a:pt x="252" y="300"/>
                      </a:lnTo>
                      <a:lnTo>
                        <a:pt x="252" y="306"/>
                      </a:lnTo>
                      <a:lnTo>
                        <a:pt x="246" y="318"/>
                      </a:lnTo>
                      <a:lnTo>
                        <a:pt x="246" y="324"/>
                      </a:lnTo>
                      <a:lnTo>
                        <a:pt x="258" y="336"/>
                      </a:lnTo>
                      <a:lnTo>
                        <a:pt x="282" y="348"/>
                      </a:lnTo>
                      <a:lnTo>
                        <a:pt x="288" y="354"/>
                      </a:lnTo>
                      <a:lnTo>
                        <a:pt x="294" y="354"/>
                      </a:lnTo>
                      <a:lnTo>
                        <a:pt x="300" y="372"/>
                      </a:lnTo>
                      <a:lnTo>
                        <a:pt x="330" y="372"/>
                      </a:lnTo>
                      <a:lnTo>
                        <a:pt x="348" y="390"/>
                      </a:lnTo>
                      <a:lnTo>
                        <a:pt x="354" y="402"/>
                      </a:lnTo>
                      <a:lnTo>
                        <a:pt x="366" y="414"/>
                      </a:lnTo>
                      <a:lnTo>
                        <a:pt x="378" y="420"/>
                      </a:lnTo>
                      <a:lnTo>
                        <a:pt x="384" y="432"/>
                      </a:lnTo>
                      <a:lnTo>
                        <a:pt x="420" y="468"/>
                      </a:lnTo>
                      <a:lnTo>
                        <a:pt x="456" y="468"/>
                      </a:lnTo>
                      <a:lnTo>
                        <a:pt x="462" y="474"/>
                      </a:lnTo>
                      <a:lnTo>
                        <a:pt x="468" y="486"/>
                      </a:lnTo>
                      <a:lnTo>
                        <a:pt x="492" y="498"/>
                      </a:lnTo>
                      <a:lnTo>
                        <a:pt x="510" y="504"/>
                      </a:lnTo>
                      <a:lnTo>
                        <a:pt x="528" y="504"/>
                      </a:lnTo>
                      <a:lnTo>
                        <a:pt x="540" y="510"/>
                      </a:lnTo>
                      <a:lnTo>
                        <a:pt x="546" y="510"/>
                      </a:lnTo>
                      <a:lnTo>
                        <a:pt x="552" y="522"/>
                      </a:lnTo>
                      <a:lnTo>
                        <a:pt x="552" y="534"/>
                      </a:lnTo>
                      <a:lnTo>
                        <a:pt x="564" y="558"/>
                      </a:lnTo>
                      <a:lnTo>
                        <a:pt x="570" y="564"/>
                      </a:lnTo>
                      <a:lnTo>
                        <a:pt x="582" y="564"/>
                      </a:lnTo>
                      <a:lnTo>
                        <a:pt x="594" y="558"/>
                      </a:lnTo>
                      <a:lnTo>
                        <a:pt x="600" y="558"/>
                      </a:lnTo>
                      <a:lnTo>
                        <a:pt x="600" y="570"/>
                      </a:lnTo>
                      <a:lnTo>
                        <a:pt x="606" y="582"/>
                      </a:lnTo>
                      <a:lnTo>
                        <a:pt x="606" y="606"/>
                      </a:lnTo>
                      <a:lnTo>
                        <a:pt x="612" y="618"/>
                      </a:lnTo>
                      <a:lnTo>
                        <a:pt x="630" y="636"/>
                      </a:lnTo>
                      <a:lnTo>
                        <a:pt x="630" y="666"/>
                      </a:lnTo>
                      <a:lnTo>
                        <a:pt x="612" y="666"/>
                      </a:lnTo>
                      <a:lnTo>
                        <a:pt x="612" y="690"/>
                      </a:lnTo>
                      <a:lnTo>
                        <a:pt x="606" y="696"/>
                      </a:lnTo>
                      <a:lnTo>
                        <a:pt x="600" y="708"/>
                      </a:lnTo>
                      <a:lnTo>
                        <a:pt x="594" y="714"/>
                      </a:lnTo>
                      <a:lnTo>
                        <a:pt x="594" y="732"/>
                      </a:lnTo>
                      <a:lnTo>
                        <a:pt x="606" y="732"/>
                      </a:lnTo>
                      <a:lnTo>
                        <a:pt x="618" y="726"/>
                      </a:lnTo>
                      <a:lnTo>
                        <a:pt x="624" y="726"/>
                      </a:lnTo>
                      <a:lnTo>
                        <a:pt x="636" y="702"/>
                      </a:lnTo>
                      <a:lnTo>
                        <a:pt x="654" y="696"/>
                      </a:lnTo>
                      <a:lnTo>
                        <a:pt x="654" y="666"/>
                      </a:lnTo>
                      <a:lnTo>
                        <a:pt x="666" y="654"/>
                      </a:lnTo>
                      <a:lnTo>
                        <a:pt x="678" y="654"/>
                      </a:lnTo>
                      <a:lnTo>
                        <a:pt x="684" y="648"/>
                      </a:lnTo>
                      <a:lnTo>
                        <a:pt x="696" y="648"/>
                      </a:lnTo>
                      <a:lnTo>
                        <a:pt x="696" y="636"/>
                      </a:lnTo>
                      <a:lnTo>
                        <a:pt x="690" y="630"/>
                      </a:lnTo>
                      <a:lnTo>
                        <a:pt x="690" y="618"/>
                      </a:lnTo>
                      <a:lnTo>
                        <a:pt x="678" y="606"/>
                      </a:lnTo>
                      <a:lnTo>
                        <a:pt x="666" y="606"/>
                      </a:lnTo>
                      <a:lnTo>
                        <a:pt x="648" y="588"/>
                      </a:lnTo>
                      <a:lnTo>
                        <a:pt x="654" y="582"/>
                      </a:lnTo>
                      <a:lnTo>
                        <a:pt x="660" y="570"/>
                      </a:lnTo>
                      <a:lnTo>
                        <a:pt x="666" y="552"/>
                      </a:lnTo>
                      <a:lnTo>
                        <a:pt x="672" y="540"/>
                      </a:lnTo>
                      <a:lnTo>
                        <a:pt x="684" y="528"/>
                      </a:lnTo>
                      <a:lnTo>
                        <a:pt x="690" y="534"/>
                      </a:lnTo>
                      <a:lnTo>
                        <a:pt x="702" y="534"/>
                      </a:lnTo>
                      <a:lnTo>
                        <a:pt x="708" y="540"/>
                      </a:lnTo>
                      <a:lnTo>
                        <a:pt x="738" y="540"/>
                      </a:lnTo>
                      <a:lnTo>
                        <a:pt x="738" y="552"/>
                      </a:lnTo>
                      <a:lnTo>
                        <a:pt x="744" y="558"/>
                      </a:lnTo>
                      <a:lnTo>
                        <a:pt x="744" y="564"/>
                      </a:lnTo>
                      <a:lnTo>
                        <a:pt x="750" y="576"/>
                      </a:lnTo>
                      <a:lnTo>
                        <a:pt x="762" y="576"/>
                      </a:lnTo>
                      <a:lnTo>
                        <a:pt x="774" y="570"/>
                      </a:lnTo>
                      <a:lnTo>
                        <a:pt x="780" y="564"/>
                      </a:lnTo>
                      <a:lnTo>
                        <a:pt x="780" y="558"/>
                      </a:lnTo>
                      <a:lnTo>
                        <a:pt x="774" y="546"/>
                      </a:lnTo>
                      <a:close/>
                    </a:path>
                  </a:pathLst>
                </a:custGeom>
                <a:solidFill>
                  <a:schemeClr val="accent1"/>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617" name="Israel"/>
                <p:cNvSpPr>
                  <a:spLocks/>
                </p:cNvSpPr>
                <p:nvPr/>
              </p:nvSpPr>
              <p:spPr bwMode="gray">
                <a:xfrm>
                  <a:off x="3257" y="1621"/>
                  <a:ext cx="26" cy="82"/>
                </a:xfrm>
                <a:custGeom>
                  <a:avLst/>
                  <a:gdLst>
                    <a:gd name="T0" fmla="*/ 0 w 102"/>
                    <a:gd name="T1" fmla="*/ 2147483647 h 324"/>
                    <a:gd name="T2" fmla="*/ 2147483647 w 102"/>
                    <a:gd name="T3" fmla="*/ 2147483647 h 324"/>
                    <a:gd name="T4" fmla="*/ 2147483647 w 102"/>
                    <a:gd name="T5" fmla="*/ 2147483647 h 324"/>
                    <a:gd name="T6" fmla="*/ 2147483647 w 102"/>
                    <a:gd name="T7" fmla="*/ 2147483647 h 324"/>
                    <a:gd name="T8" fmla="*/ 2147483647 w 102"/>
                    <a:gd name="T9" fmla="*/ 2147483647 h 324"/>
                    <a:gd name="T10" fmla="*/ 2147483647 w 102"/>
                    <a:gd name="T11" fmla="*/ 2147483647 h 324"/>
                    <a:gd name="T12" fmla="*/ 2147483647 w 102"/>
                    <a:gd name="T13" fmla="*/ 2147483647 h 324"/>
                    <a:gd name="T14" fmla="*/ 2147483647 w 102"/>
                    <a:gd name="T15" fmla="*/ 2147483647 h 324"/>
                    <a:gd name="T16" fmla="*/ 2147483647 w 102"/>
                    <a:gd name="T17" fmla="*/ 2147483647 h 324"/>
                    <a:gd name="T18" fmla="*/ 2147483647 w 102"/>
                    <a:gd name="T19" fmla="*/ 2147483647 h 324"/>
                    <a:gd name="T20" fmla="*/ 2147483647 w 102"/>
                    <a:gd name="T21" fmla="*/ 2147483647 h 324"/>
                    <a:gd name="T22" fmla="*/ 2147483647 w 102"/>
                    <a:gd name="T23" fmla="*/ 2147483647 h 324"/>
                    <a:gd name="T24" fmla="*/ 2147483647 w 102"/>
                    <a:gd name="T25" fmla="*/ 2147483647 h 324"/>
                    <a:gd name="T26" fmla="*/ 2147483647 w 102"/>
                    <a:gd name="T27" fmla="*/ 2147483647 h 324"/>
                    <a:gd name="T28" fmla="*/ 2147483647 w 102"/>
                    <a:gd name="T29" fmla="*/ 2147483647 h 324"/>
                    <a:gd name="T30" fmla="*/ 2147483647 w 102"/>
                    <a:gd name="T31" fmla="*/ 2147483647 h 324"/>
                    <a:gd name="T32" fmla="*/ 2147483647 w 102"/>
                    <a:gd name="T33" fmla="*/ 2147483647 h 324"/>
                    <a:gd name="T34" fmla="*/ 2147483647 w 102"/>
                    <a:gd name="T35" fmla="*/ 2147483647 h 324"/>
                    <a:gd name="T36" fmla="*/ 2147483647 w 102"/>
                    <a:gd name="T37" fmla="*/ 2147483647 h 324"/>
                    <a:gd name="T38" fmla="*/ 2147483647 w 102"/>
                    <a:gd name="T39" fmla="*/ 2147483647 h 324"/>
                    <a:gd name="T40" fmla="*/ 2147483647 w 102"/>
                    <a:gd name="T41" fmla="*/ 2147483647 h 324"/>
                    <a:gd name="T42" fmla="*/ 2147483647 w 102"/>
                    <a:gd name="T43" fmla="*/ 2147483647 h 324"/>
                    <a:gd name="T44" fmla="*/ 2147483647 w 102"/>
                    <a:gd name="T45" fmla="*/ 2147483647 h 324"/>
                    <a:gd name="T46" fmla="*/ 2147483647 w 102"/>
                    <a:gd name="T47" fmla="*/ 2147483647 h 324"/>
                    <a:gd name="T48" fmla="*/ 2147483647 w 102"/>
                    <a:gd name="T49" fmla="*/ 0 h 324"/>
                    <a:gd name="T50" fmla="*/ 2147483647 w 102"/>
                    <a:gd name="T51" fmla="*/ 2147483647 h 324"/>
                    <a:gd name="T52" fmla="*/ 2147483647 w 102"/>
                    <a:gd name="T53" fmla="*/ 2147483647 h 324"/>
                    <a:gd name="T54" fmla="*/ 2147483647 w 102"/>
                    <a:gd name="T55" fmla="*/ 2147483647 h 324"/>
                    <a:gd name="T56" fmla="*/ 2147483647 w 102"/>
                    <a:gd name="T57" fmla="*/ 2147483647 h 324"/>
                    <a:gd name="T58" fmla="*/ 2147483647 w 102"/>
                    <a:gd name="T59" fmla="*/ 2147483647 h 324"/>
                    <a:gd name="T60" fmla="*/ 2147483647 w 102"/>
                    <a:gd name="T61" fmla="*/ 2147483647 h 324"/>
                    <a:gd name="T62" fmla="*/ 2147483647 w 102"/>
                    <a:gd name="T63" fmla="*/ 2147483647 h 324"/>
                    <a:gd name="T64" fmla="*/ 2147483647 w 102"/>
                    <a:gd name="T65" fmla="*/ 2147483647 h 324"/>
                    <a:gd name="T66" fmla="*/ 2147483647 w 102"/>
                    <a:gd name="T67" fmla="*/ 2147483647 h 324"/>
                    <a:gd name="T68" fmla="*/ 2147483647 w 102"/>
                    <a:gd name="T69" fmla="*/ 2147483647 h 324"/>
                    <a:gd name="T70" fmla="*/ 2147483647 w 102"/>
                    <a:gd name="T71" fmla="*/ 2147483647 h 324"/>
                    <a:gd name="T72" fmla="*/ 2147483647 w 102"/>
                    <a:gd name="T73" fmla="*/ 2147483647 h 324"/>
                    <a:gd name="T74" fmla="*/ 2147483647 w 102"/>
                    <a:gd name="T75" fmla="*/ 2147483647 h 324"/>
                    <a:gd name="T76" fmla="*/ 2147483647 w 102"/>
                    <a:gd name="T77" fmla="*/ 2147483647 h 324"/>
                    <a:gd name="T78" fmla="*/ 0 w 102"/>
                    <a:gd name="T79" fmla="*/ 2147483647 h 32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02"/>
                    <a:gd name="T121" fmla="*/ 0 h 324"/>
                    <a:gd name="T122" fmla="*/ 102 w 102"/>
                    <a:gd name="T123" fmla="*/ 324 h 324"/>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02" h="324">
                      <a:moveTo>
                        <a:pt x="0" y="168"/>
                      </a:moveTo>
                      <a:lnTo>
                        <a:pt x="54" y="312"/>
                      </a:lnTo>
                      <a:lnTo>
                        <a:pt x="60" y="324"/>
                      </a:lnTo>
                      <a:lnTo>
                        <a:pt x="60" y="306"/>
                      </a:lnTo>
                      <a:lnTo>
                        <a:pt x="66" y="294"/>
                      </a:lnTo>
                      <a:lnTo>
                        <a:pt x="66" y="234"/>
                      </a:lnTo>
                      <a:lnTo>
                        <a:pt x="72" y="228"/>
                      </a:lnTo>
                      <a:lnTo>
                        <a:pt x="78" y="216"/>
                      </a:lnTo>
                      <a:lnTo>
                        <a:pt x="84" y="210"/>
                      </a:lnTo>
                      <a:lnTo>
                        <a:pt x="90" y="198"/>
                      </a:lnTo>
                      <a:lnTo>
                        <a:pt x="90" y="186"/>
                      </a:lnTo>
                      <a:lnTo>
                        <a:pt x="78" y="174"/>
                      </a:lnTo>
                      <a:lnTo>
                        <a:pt x="78" y="162"/>
                      </a:lnTo>
                      <a:lnTo>
                        <a:pt x="72" y="156"/>
                      </a:lnTo>
                      <a:lnTo>
                        <a:pt x="66" y="162"/>
                      </a:lnTo>
                      <a:lnTo>
                        <a:pt x="66" y="168"/>
                      </a:lnTo>
                      <a:lnTo>
                        <a:pt x="60" y="168"/>
                      </a:lnTo>
                      <a:lnTo>
                        <a:pt x="54" y="174"/>
                      </a:lnTo>
                      <a:lnTo>
                        <a:pt x="48" y="168"/>
                      </a:lnTo>
                      <a:lnTo>
                        <a:pt x="48" y="96"/>
                      </a:lnTo>
                      <a:lnTo>
                        <a:pt x="66" y="78"/>
                      </a:lnTo>
                      <a:lnTo>
                        <a:pt x="84" y="78"/>
                      </a:lnTo>
                      <a:lnTo>
                        <a:pt x="90" y="60"/>
                      </a:lnTo>
                      <a:lnTo>
                        <a:pt x="84" y="18"/>
                      </a:lnTo>
                      <a:lnTo>
                        <a:pt x="102" y="0"/>
                      </a:lnTo>
                      <a:lnTo>
                        <a:pt x="78" y="6"/>
                      </a:lnTo>
                      <a:lnTo>
                        <a:pt x="78" y="18"/>
                      </a:lnTo>
                      <a:lnTo>
                        <a:pt x="72" y="30"/>
                      </a:lnTo>
                      <a:lnTo>
                        <a:pt x="66" y="36"/>
                      </a:lnTo>
                      <a:lnTo>
                        <a:pt x="60" y="36"/>
                      </a:lnTo>
                      <a:lnTo>
                        <a:pt x="54" y="30"/>
                      </a:lnTo>
                      <a:lnTo>
                        <a:pt x="42" y="54"/>
                      </a:lnTo>
                      <a:lnTo>
                        <a:pt x="30" y="60"/>
                      </a:lnTo>
                      <a:lnTo>
                        <a:pt x="36" y="72"/>
                      </a:lnTo>
                      <a:lnTo>
                        <a:pt x="36" y="84"/>
                      </a:lnTo>
                      <a:lnTo>
                        <a:pt x="42" y="90"/>
                      </a:lnTo>
                      <a:lnTo>
                        <a:pt x="42" y="96"/>
                      </a:lnTo>
                      <a:lnTo>
                        <a:pt x="18" y="138"/>
                      </a:lnTo>
                      <a:lnTo>
                        <a:pt x="18" y="156"/>
                      </a:lnTo>
                      <a:lnTo>
                        <a:pt x="0" y="168"/>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618" name="Ireland"/>
                <p:cNvSpPr>
                  <a:spLocks/>
                </p:cNvSpPr>
                <p:nvPr/>
              </p:nvSpPr>
              <p:spPr bwMode="gray">
                <a:xfrm>
                  <a:off x="2517" y="1179"/>
                  <a:ext cx="72" cy="76"/>
                </a:xfrm>
                <a:custGeom>
                  <a:avLst/>
                  <a:gdLst>
                    <a:gd name="T0" fmla="*/ 2147483647 w 282"/>
                    <a:gd name="T1" fmla="*/ 2147483647 h 300"/>
                    <a:gd name="T2" fmla="*/ 2147483647 w 282"/>
                    <a:gd name="T3" fmla="*/ 2147483647 h 300"/>
                    <a:gd name="T4" fmla="*/ 2147483647 w 282"/>
                    <a:gd name="T5" fmla="*/ 2147483647 h 300"/>
                    <a:gd name="T6" fmla="*/ 2147483647 w 282"/>
                    <a:gd name="T7" fmla="*/ 2147483647 h 300"/>
                    <a:gd name="T8" fmla="*/ 2147483647 w 282"/>
                    <a:gd name="T9" fmla="*/ 2147483647 h 300"/>
                    <a:gd name="T10" fmla="*/ 2147483647 w 282"/>
                    <a:gd name="T11" fmla="*/ 2147483647 h 300"/>
                    <a:gd name="T12" fmla="*/ 2147483647 w 282"/>
                    <a:gd name="T13" fmla="*/ 2147483647 h 300"/>
                    <a:gd name="T14" fmla="*/ 2147483647 w 282"/>
                    <a:gd name="T15" fmla="*/ 2147483647 h 300"/>
                    <a:gd name="T16" fmla="*/ 2147483647 w 282"/>
                    <a:gd name="T17" fmla="*/ 2147483647 h 300"/>
                    <a:gd name="T18" fmla="*/ 2147483647 w 282"/>
                    <a:gd name="T19" fmla="*/ 2147483647 h 300"/>
                    <a:gd name="T20" fmla="*/ 2147483647 w 282"/>
                    <a:gd name="T21" fmla="*/ 2147483647 h 300"/>
                    <a:gd name="T22" fmla="*/ 2147483647 w 282"/>
                    <a:gd name="T23" fmla="*/ 2147483647 h 300"/>
                    <a:gd name="T24" fmla="*/ 2147483647 w 282"/>
                    <a:gd name="T25" fmla="*/ 0 h 300"/>
                    <a:gd name="T26" fmla="*/ 2147483647 w 282"/>
                    <a:gd name="T27" fmla="*/ 2147483647 h 300"/>
                    <a:gd name="T28" fmla="*/ 2147483647 w 282"/>
                    <a:gd name="T29" fmla="*/ 2147483647 h 300"/>
                    <a:gd name="T30" fmla="*/ 2147483647 w 282"/>
                    <a:gd name="T31" fmla="*/ 2147483647 h 300"/>
                    <a:gd name="T32" fmla="*/ 2147483647 w 282"/>
                    <a:gd name="T33" fmla="*/ 2147483647 h 300"/>
                    <a:gd name="T34" fmla="*/ 2147483647 w 282"/>
                    <a:gd name="T35" fmla="*/ 2147483647 h 300"/>
                    <a:gd name="T36" fmla="*/ 2147483647 w 282"/>
                    <a:gd name="T37" fmla="*/ 2147483647 h 300"/>
                    <a:gd name="T38" fmla="*/ 2147483647 w 282"/>
                    <a:gd name="T39" fmla="*/ 2147483647 h 300"/>
                    <a:gd name="T40" fmla="*/ 2147483647 w 282"/>
                    <a:gd name="T41" fmla="*/ 2147483647 h 300"/>
                    <a:gd name="T42" fmla="*/ 2147483647 w 282"/>
                    <a:gd name="T43" fmla="*/ 2147483647 h 300"/>
                    <a:gd name="T44" fmla="*/ 2147483647 w 282"/>
                    <a:gd name="T45" fmla="*/ 2147483647 h 300"/>
                    <a:gd name="T46" fmla="*/ 2147483647 w 282"/>
                    <a:gd name="T47" fmla="*/ 2147483647 h 300"/>
                    <a:gd name="T48" fmla="*/ 2147483647 w 282"/>
                    <a:gd name="T49" fmla="*/ 2147483647 h 300"/>
                    <a:gd name="T50" fmla="*/ 2147483647 w 282"/>
                    <a:gd name="T51" fmla="*/ 2147483647 h 300"/>
                    <a:gd name="T52" fmla="*/ 2147483647 w 282"/>
                    <a:gd name="T53" fmla="*/ 2147483647 h 300"/>
                    <a:gd name="T54" fmla="*/ 2147483647 w 282"/>
                    <a:gd name="T55" fmla="*/ 2147483647 h 300"/>
                    <a:gd name="T56" fmla="*/ 2147483647 w 282"/>
                    <a:gd name="T57" fmla="*/ 2147483647 h 300"/>
                    <a:gd name="T58" fmla="*/ 2147483647 w 282"/>
                    <a:gd name="T59" fmla="*/ 2147483647 h 300"/>
                    <a:gd name="T60" fmla="*/ 2147483647 w 282"/>
                    <a:gd name="T61" fmla="*/ 2147483647 h 300"/>
                    <a:gd name="T62" fmla="*/ 2147483647 w 282"/>
                    <a:gd name="T63" fmla="*/ 2147483647 h 300"/>
                    <a:gd name="T64" fmla="*/ 2147483647 w 282"/>
                    <a:gd name="T65" fmla="*/ 2147483647 h 300"/>
                    <a:gd name="T66" fmla="*/ 2147483647 w 282"/>
                    <a:gd name="T67" fmla="*/ 2147483647 h 300"/>
                    <a:gd name="T68" fmla="*/ 2147483647 w 282"/>
                    <a:gd name="T69" fmla="*/ 2147483647 h 300"/>
                    <a:gd name="T70" fmla="*/ 2147483647 w 282"/>
                    <a:gd name="T71" fmla="*/ 2147483647 h 300"/>
                    <a:gd name="T72" fmla="*/ 2147483647 w 282"/>
                    <a:gd name="T73" fmla="*/ 2147483647 h 300"/>
                    <a:gd name="T74" fmla="*/ 2147483647 w 282"/>
                    <a:gd name="T75" fmla="*/ 2147483647 h 300"/>
                    <a:gd name="T76" fmla="*/ 2147483647 w 282"/>
                    <a:gd name="T77" fmla="*/ 2147483647 h 300"/>
                    <a:gd name="T78" fmla="*/ 2147483647 w 282"/>
                    <a:gd name="T79" fmla="*/ 2147483647 h 300"/>
                    <a:gd name="T80" fmla="*/ 0 w 282"/>
                    <a:gd name="T81" fmla="*/ 2147483647 h 300"/>
                    <a:gd name="T82" fmla="*/ 2147483647 w 282"/>
                    <a:gd name="T83" fmla="*/ 2147483647 h 300"/>
                    <a:gd name="T84" fmla="*/ 2147483647 w 282"/>
                    <a:gd name="T85" fmla="*/ 2147483647 h 300"/>
                    <a:gd name="T86" fmla="*/ 2147483647 w 282"/>
                    <a:gd name="T87" fmla="*/ 2147483647 h 300"/>
                    <a:gd name="T88" fmla="*/ 2147483647 w 282"/>
                    <a:gd name="T89" fmla="*/ 2147483647 h 300"/>
                    <a:gd name="T90" fmla="*/ 2147483647 w 282"/>
                    <a:gd name="T91" fmla="*/ 2147483647 h 300"/>
                    <a:gd name="T92" fmla="*/ 2147483647 w 282"/>
                    <a:gd name="T93" fmla="*/ 2147483647 h 300"/>
                    <a:gd name="T94" fmla="*/ 2147483647 w 282"/>
                    <a:gd name="T95" fmla="*/ 2147483647 h 300"/>
                    <a:gd name="T96" fmla="*/ 2147483647 w 282"/>
                    <a:gd name="T97" fmla="*/ 2147483647 h 300"/>
                    <a:gd name="T98" fmla="*/ 2147483647 w 282"/>
                    <a:gd name="T99" fmla="*/ 2147483647 h 300"/>
                    <a:gd name="T100" fmla="*/ 2147483647 w 282"/>
                    <a:gd name="T101" fmla="*/ 2147483647 h 300"/>
                    <a:gd name="T102" fmla="*/ 2147483647 w 282"/>
                    <a:gd name="T103" fmla="*/ 2147483647 h 300"/>
                    <a:gd name="T104" fmla="*/ 2147483647 w 282"/>
                    <a:gd name="T105" fmla="*/ 2147483647 h 300"/>
                    <a:gd name="T106" fmla="*/ 2147483647 w 282"/>
                    <a:gd name="T107" fmla="*/ 2147483647 h 300"/>
                    <a:gd name="T108" fmla="*/ 2147483647 w 282"/>
                    <a:gd name="T109" fmla="*/ 2147483647 h 300"/>
                    <a:gd name="T110" fmla="*/ 2147483647 w 282"/>
                    <a:gd name="T111" fmla="*/ 2147483647 h 30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82"/>
                    <a:gd name="T169" fmla="*/ 0 h 300"/>
                    <a:gd name="T170" fmla="*/ 282 w 282"/>
                    <a:gd name="T171" fmla="*/ 300 h 300"/>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82" h="300">
                      <a:moveTo>
                        <a:pt x="276" y="156"/>
                      </a:moveTo>
                      <a:lnTo>
                        <a:pt x="276" y="144"/>
                      </a:lnTo>
                      <a:lnTo>
                        <a:pt x="270" y="132"/>
                      </a:lnTo>
                      <a:lnTo>
                        <a:pt x="264" y="126"/>
                      </a:lnTo>
                      <a:lnTo>
                        <a:pt x="264" y="114"/>
                      </a:lnTo>
                      <a:lnTo>
                        <a:pt x="258" y="108"/>
                      </a:lnTo>
                      <a:lnTo>
                        <a:pt x="258" y="102"/>
                      </a:lnTo>
                      <a:lnTo>
                        <a:pt x="276" y="102"/>
                      </a:lnTo>
                      <a:lnTo>
                        <a:pt x="282" y="96"/>
                      </a:lnTo>
                      <a:lnTo>
                        <a:pt x="246" y="90"/>
                      </a:lnTo>
                      <a:lnTo>
                        <a:pt x="228" y="66"/>
                      </a:lnTo>
                      <a:lnTo>
                        <a:pt x="204" y="90"/>
                      </a:lnTo>
                      <a:lnTo>
                        <a:pt x="192" y="90"/>
                      </a:lnTo>
                      <a:lnTo>
                        <a:pt x="168" y="78"/>
                      </a:lnTo>
                      <a:lnTo>
                        <a:pt x="162" y="72"/>
                      </a:lnTo>
                      <a:lnTo>
                        <a:pt x="174" y="60"/>
                      </a:lnTo>
                      <a:lnTo>
                        <a:pt x="180" y="60"/>
                      </a:lnTo>
                      <a:lnTo>
                        <a:pt x="186" y="54"/>
                      </a:lnTo>
                      <a:lnTo>
                        <a:pt x="192" y="54"/>
                      </a:lnTo>
                      <a:lnTo>
                        <a:pt x="192" y="42"/>
                      </a:lnTo>
                      <a:lnTo>
                        <a:pt x="234" y="18"/>
                      </a:lnTo>
                      <a:lnTo>
                        <a:pt x="240" y="12"/>
                      </a:lnTo>
                      <a:lnTo>
                        <a:pt x="240" y="6"/>
                      </a:lnTo>
                      <a:lnTo>
                        <a:pt x="234" y="6"/>
                      </a:lnTo>
                      <a:lnTo>
                        <a:pt x="228" y="0"/>
                      </a:lnTo>
                      <a:lnTo>
                        <a:pt x="222" y="0"/>
                      </a:lnTo>
                      <a:lnTo>
                        <a:pt x="210" y="6"/>
                      </a:lnTo>
                      <a:lnTo>
                        <a:pt x="204" y="18"/>
                      </a:lnTo>
                      <a:lnTo>
                        <a:pt x="198" y="6"/>
                      </a:lnTo>
                      <a:lnTo>
                        <a:pt x="174" y="6"/>
                      </a:lnTo>
                      <a:lnTo>
                        <a:pt x="162" y="12"/>
                      </a:lnTo>
                      <a:lnTo>
                        <a:pt x="156" y="12"/>
                      </a:lnTo>
                      <a:lnTo>
                        <a:pt x="150" y="18"/>
                      </a:lnTo>
                      <a:lnTo>
                        <a:pt x="150" y="30"/>
                      </a:lnTo>
                      <a:lnTo>
                        <a:pt x="144" y="36"/>
                      </a:lnTo>
                      <a:lnTo>
                        <a:pt x="144" y="42"/>
                      </a:lnTo>
                      <a:lnTo>
                        <a:pt x="126" y="42"/>
                      </a:lnTo>
                      <a:lnTo>
                        <a:pt x="120" y="48"/>
                      </a:lnTo>
                      <a:lnTo>
                        <a:pt x="120" y="54"/>
                      </a:lnTo>
                      <a:lnTo>
                        <a:pt x="138" y="54"/>
                      </a:lnTo>
                      <a:lnTo>
                        <a:pt x="144" y="60"/>
                      </a:lnTo>
                      <a:lnTo>
                        <a:pt x="150" y="60"/>
                      </a:lnTo>
                      <a:lnTo>
                        <a:pt x="150" y="66"/>
                      </a:lnTo>
                      <a:lnTo>
                        <a:pt x="144" y="72"/>
                      </a:lnTo>
                      <a:lnTo>
                        <a:pt x="132" y="72"/>
                      </a:lnTo>
                      <a:lnTo>
                        <a:pt x="132" y="78"/>
                      </a:lnTo>
                      <a:lnTo>
                        <a:pt x="126" y="84"/>
                      </a:lnTo>
                      <a:lnTo>
                        <a:pt x="102" y="84"/>
                      </a:lnTo>
                      <a:lnTo>
                        <a:pt x="102" y="90"/>
                      </a:lnTo>
                      <a:lnTo>
                        <a:pt x="90" y="78"/>
                      </a:lnTo>
                      <a:lnTo>
                        <a:pt x="42" y="78"/>
                      </a:lnTo>
                      <a:lnTo>
                        <a:pt x="42" y="102"/>
                      </a:lnTo>
                      <a:lnTo>
                        <a:pt x="54" y="102"/>
                      </a:lnTo>
                      <a:lnTo>
                        <a:pt x="54" y="108"/>
                      </a:lnTo>
                      <a:lnTo>
                        <a:pt x="60" y="114"/>
                      </a:lnTo>
                      <a:lnTo>
                        <a:pt x="42" y="126"/>
                      </a:lnTo>
                      <a:lnTo>
                        <a:pt x="36" y="126"/>
                      </a:lnTo>
                      <a:lnTo>
                        <a:pt x="30" y="132"/>
                      </a:lnTo>
                      <a:lnTo>
                        <a:pt x="30" y="138"/>
                      </a:lnTo>
                      <a:lnTo>
                        <a:pt x="42" y="150"/>
                      </a:lnTo>
                      <a:lnTo>
                        <a:pt x="54" y="156"/>
                      </a:lnTo>
                      <a:lnTo>
                        <a:pt x="60" y="162"/>
                      </a:lnTo>
                      <a:lnTo>
                        <a:pt x="72" y="162"/>
                      </a:lnTo>
                      <a:lnTo>
                        <a:pt x="78" y="156"/>
                      </a:lnTo>
                      <a:lnTo>
                        <a:pt x="96" y="156"/>
                      </a:lnTo>
                      <a:lnTo>
                        <a:pt x="96" y="168"/>
                      </a:lnTo>
                      <a:lnTo>
                        <a:pt x="90" y="174"/>
                      </a:lnTo>
                      <a:lnTo>
                        <a:pt x="72" y="174"/>
                      </a:lnTo>
                      <a:lnTo>
                        <a:pt x="72" y="192"/>
                      </a:lnTo>
                      <a:lnTo>
                        <a:pt x="54" y="192"/>
                      </a:lnTo>
                      <a:lnTo>
                        <a:pt x="48" y="198"/>
                      </a:lnTo>
                      <a:lnTo>
                        <a:pt x="48" y="210"/>
                      </a:lnTo>
                      <a:lnTo>
                        <a:pt x="42" y="222"/>
                      </a:lnTo>
                      <a:lnTo>
                        <a:pt x="42" y="234"/>
                      </a:lnTo>
                      <a:lnTo>
                        <a:pt x="18" y="234"/>
                      </a:lnTo>
                      <a:lnTo>
                        <a:pt x="12" y="240"/>
                      </a:lnTo>
                      <a:lnTo>
                        <a:pt x="6" y="240"/>
                      </a:lnTo>
                      <a:lnTo>
                        <a:pt x="6" y="246"/>
                      </a:lnTo>
                      <a:lnTo>
                        <a:pt x="12" y="246"/>
                      </a:lnTo>
                      <a:lnTo>
                        <a:pt x="18" y="252"/>
                      </a:lnTo>
                      <a:lnTo>
                        <a:pt x="6" y="252"/>
                      </a:lnTo>
                      <a:lnTo>
                        <a:pt x="0" y="258"/>
                      </a:lnTo>
                      <a:lnTo>
                        <a:pt x="0" y="270"/>
                      </a:lnTo>
                      <a:lnTo>
                        <a:pt x="42" y="270"/>
                      </a:lnTo>
                      <a:lnTo>
                        <a:pt x="24" y="288"/>
                      </a:lnTo>
                      <a:lnTo>
                        <a:pt x="30" y="282"/>
                      </a:lnTo>
                      <a:lnTo>
                        <a:pt x="48" y="282"/>
                      </a:lnTo>
                      <a:lnTo>
                        <a:pt x="48" y="288"/>
                      </a:lnTo>
                      <a:lnTo>
                        <a:pt x="42" y="288"/>
                      </a:lnTo>
                      <a:lnTo>
                        <a:pt x="36" y="294"/>
                      </a:lnTo>
                      <a:lnTo>
                        <a:pt x="30" y="294"/>
                      </a:lnTo>
                      <a:lnTo>
                        <a:pt x="36" y="300"/>
                      </a:lnTo>
                      <a:lnTo>
                        <a:pt x="60" y="300"/>
                      </a:lnTo>
                      <a:lnTo>
                        <a:pt x="96" y="288"/>
                      </a:lnTo>
                      <a:lnTo>
                        <a:pt x="108" y="282"/>
                      </a:lnTo>
                      <a:lnTo>
                        <a:pt x="120" y="270"/>
                      </a:lnTo>
                      <a:lnTo>
                        <a:pt x="120" y="264"/>
                      </a:lnTo>
                      <a:lnTo>
                        <a:pt x="132" y="270"/>
                      </a:lnTo>
                      <a:lnTo>
                        <a:pt x="138" y="270"/>
                      </a:lnTo>
                      <a:lnTo>
                        <a:pt x="150" y="264"/>
                      </a:lnTo>
                      <a:lnTo>
                        <a:pt x="162" y="252"/>
                      </a:lnTo>
                      <a:lnTo>
                        <a:pt x="180" y="246"/>
                      </a:lnTo>
                      <a:lnTo>
                        <a:pt x="204" y="246"/>
                      </a:lnTo>
                      <a:lnTo>
                        <a:pt x="210" y="240"/>
                      </a:lnTo>
                      <a:lnTo>
                        <a:pt x="252" y="240"/>
                      </a:lnTo>
                      <a:lnTo>
                        <a:pt x="246" y="222"/>
                      </a:lnTo>
                      <a:lnTo>
                        <a:pt x="264" y="222"/>
                      </a:lnTo>
                      <a:lnTo>
                        <a:pt x="264" y="198"/>
                      </a:lnTo>
                      <a:lnTo>
                        <a:pt x="270" y="192"/>
                      </a:lnTo>
                      <a:lnTo>
                        <a:pt x="270" y="180"/>
                      </a:lnTo>
                      <a:lnTo>
                        <a:pt x="276" y="168"/>
                      </a:lnTo>
                      <a:lnTo>
                        <a:pt x="276" y="156"/>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619" name="Iraq"/>
                <p:cNvSpPr>
                  <a:spLocks/>
                </p:cNvSpPr>
                <p:nvPr/>
              </p:nvSpPr>
              <p:spPr bwMode="gray">
                <a:xfrm>
                  <a:off x="3332" y="1541"/>
                  <a:ext cx="175" cy="169"/>
                </a:xfrm>
                <a:custGeom>
                  <a:avLst/>
                  <a:gdLst>
                    <a:gd name="T0" fmla="*/ 2147483647 w 684"/>
                    <a:gd name="T1" fmla="*/ 2147483647 h 660"/>
                    <a:gd name="T2" fmla="*/ 2147483647 w 684"/>
                    <a:gd name="T3" fmla="*/ 2147483647 h 660"/>
                    <a:gd name="T4" fmla="*/ 2147483647 w 684"/>
                    <a:gd name="T5" fmla="*/ 2147483647 h 660"/>
                    <a:gd name="T6" fmla="*/ 2147483647 w 684"/>
                    <a:gd name="T7" fmla="*/ 2147483647 h 660"/>
                    <a:gd name="T8" fmla="*/ 2147483647 w 684"/>
                    <a:gd name="T9" fmla="*/ 2147483647 h 660"/>
                    <a:gd name="T10" fmla="*/ 2147483647 w 684"/>
                    <a:gd name="T11" fmla="*/ 2147483647 h 660"/>
                    <a:gd name="T12" fmla="*/ 2147483647 w 684"/>
                    <a:gd name="T13" fmla="*/ 2147483647 h 660"/>
                    <a:gd name="T14" fmla="*/ 2147483647 w 684"/>
                    <a:gd name="T15" fmla="*/ 2147483647 h 660"/>
                    <a:gd name="T16" fmla="*/ 2147483647 w 684"/>
                    <a:gd name="T17" fmla="*/ 2147483647 h 660"/>
                    <a:gd name="T18" fmla="*/ 2147483647 w 684"/>
                    <a:gd name="T19" fmla="*/ 2147483647 h 660"/>
                    <a:gd name="T20" fmla="*/ 2147483647 w 684"/>
                    <a:gd name="T21" fmla="*/ 2147483647 h 660"/>
                    <a:gd name="T22" fmla="*/ 2147483647 w 684"/>
                    <a:gd name="T23" fmla="*/ 2147483647 h 660"/>
                    <a:gd name="T24" fmla="*/ 2147483647 w 684"/>
                    <a:gd name="T25" fmla="*/ 2147483647 h 660"/>
                    <a:gd name="T26" fmla="*/ 2147483647 w 684"/>
                    <a:gd name="T27" fmla="*/ 2147483647 h 660"/>
                    <a:gd name="T28" fmla="*/ 2147483647 w 684"/>
                    <a:gd name="T29" fmla="*/ 2147483647 h 660"/>
                    <a:gd name="T30" fmla="*/ 2147483647 w 684"/>
                    <a:gd name="T31" fmla="*/ 2147483647 h 660"/>
                    <a:gd name="T32" fmla="*/ 2147483647 w 684"/>
                    <a:gd name="T33" fmla="*/ 2147483647 h 660"/>
                    <a:gd name="T34" fmla="*/ 2147483647 w 684"/>
                    <a:gd name="T35" fmla="*/ 2147483647 h 660"/>
                    <a:gd name="T36" fmla="*/ 2147483647 w 684"/>
                    <a:gd name="T37" fmla="*/ 2147483647 h 660"/>
                    <a:gd name="T38" fmla="*/ 2147483647 w 684"/>
                    <a:gd name="T39" fmla="*/ 2147483647 h 660"/>
                    <a:gd name="T40" fmla="*/ 2147483647 w 684"/>
                    <a:gd name="T41" fmla="*/ 2147483647 h 660"/>
                    <a:gd name="T42" fmla="*/ 2147483647 w 684"/>
                    <a:gd name="T43" fmla="*/ 2147483647 h 660"/>
                    <a:gd name="T44" fmla="*/ 2147483647 w 684"/>
                    <a:gd name="T45" fmla="*/ 2147483647 h 660"/>
                    <a:gd name="T46" fmla="*/ 2147483647 w 684"/>
                    <a:gd name="T47" fmla="*/ 2147483647 h 660"/>
                    <a:gd name="T48" fmla="*/ 2147483647 w 684"/>
                    <a:gd name="T49" fmla="*/ 2147483647 h 660"/>
                    <a:gd name="T50" fmla="*/ 2147483647 w 684"/>
                    <a:gd name="T51" fmla="*/ 2147483647 h 660"/>
                    <a:gd name="T52" fmla="*/ 2147483647 w 684"/>
                    <a:gd name="T53" fmla="*/ 0 h 660"/>
                    <a:gd name="T54" fmla="*/ 2147483647 w 684"/>
                    <a:gd name="T55" fmla="*/ 2147483647 h 660"/>
                    <a:gd name="T56" fmla="*/ 2147483647 w 684"/>
                    <a:gd name="T57" fmla="*/ 2147483647 h 660"/>
                    <a:gd name="T58" fmla="*/ 2147483647 w 684"/>
                    <a:gd name="T59" fmla="*/ 0 h 660"/>
                    <a:gd name="T60" fmla="*/ 2147483647 w 684"/>
                    <a:gd name="T61" fmla="*/ 2147483647 h 660"/>
                    <a:gd name="T62" fmla="*/ 2147483647 w 684"/>
                    <a:gd name="T63" fmla="*/ 2147483647 h 660"/>
                    <a:gd name="T64" fmla="*/ 2147483647 w 684"/>
                    <a:gd name="T65" fmla="*/ 2147483647 h 660"/>
                    <a:gd name="T66" fmla="*/ 2147483647 w 684"/>
                    <a:gd name="T67" fmla="*/ 2147483647 h 660"/>
                    <a:gd name="T68" fmla="*/ 2147483647 w 684"/>
                    <a:gd name="T69" fmla="*/ 2147483647 h 660"/>
                    <a:gd name="T70" fmla="*/ 2147483647 w 684"/>
                    <a:gd name="T71" fmla="*/ 2147483647 h 660"/>
                    <a:gd name="T72" fmla="*/ 2147483647 w 684"/>
                    <a:gd name="T73" fmla="*/ 2147483647 h 660"/>
                    <a:gd name="T74" fmla="*/ 2147483647 w 684"/>
                    <a:gd name="T75" fmla="*/ 2147483647 h 660"/>
                    <a:gd name="T76" fmla="*/ 2147483647 w 684"/>
                    <a:gd name="T77" fmla="*/ 2147483647 h 660"/>
                    <a:gd name="T78" fmla="*/ 2147483647 w 684"/>
                    <a:gd name="T79" fmla="*/ 2147483647 h 660"/>
                    <a:gd name="T80" fmla="*/ 2147483647 w 684"/>
                    <a:gd name="T81" fmla="*/ 2147483647 h 660"/>
                    <a:gd name="T82" fmla="*/ 2147483647 w 684"/>
                    <a:gd name="T83" fmla="*/ 2147483647 h 660"/>
                    <a:gd name="T84" fmla="*/ 2147483647 w 684"/>
                    <a:gd name="T85" fmla="*/ 2147483647 h 660"/>
                    <a:gd name="T86" fmla="*/ 0 w 684"/>
                    <a:gd name="T87" fmla="*/ 2147483647 h 660"/>
                    <a:gd name="T88" fmla="*/ 2147483647 w 684"/>
                    <a:gd name="T89" fmla="*/ 2147483647 h 660"/>
                    <a:gd name="T90" fmla="*/ 2147483647 w 684"/>
                    <a:gd name="T91" fmla="*/ 2147483647 h 660"/>
                    <a:gd name="T92" fmla="*/ 2147483647 w 684"/>
                    <a:gd name="T93" fmla="*/ 2147483647 h 660"/>
                    <a:gd name="T94" fmla="*/ 2147483647 w 684"/>
                    <a:gd name="T95" fmla="*/ 2147483647 h 660"/>
                    <a:gd name="T96" fmla="*/ 2147483647 w 684"/>
                    <a:gd name="T97" fmla="*/ 2147483647 h 660"/>
                    <a:gd name="T98" fmla="*/ 2147483647 w 684"/>
                    <a:gd name="T99" fmla="*/ 2147483647 h 660"/>
                    <a:gd name="T100" fmla="*/ 2147483647 w 684"/>
                    <a:gd name="T101" fmla="*/ 2147483647 h 660"/>
                    <a:gd name="T102" fmla="*/ 2147483647 w 684"/>
                    <a:gd name="T103" fmla="*/ 2147483647 h 660"/>
                    <a:gd name="T104" fmla="*/ 2147483647 w 684"/>
                    <a:gd name="T105" fmla="*/ 2147483647 h 660"/>
                    <a:gd name="T106" fmla="*/ 2147483647 w 684"/>
                    <a:gd name="T107" fmla="*/ 2147483647 h 660"/>
                    <a:gd name="T108" fmla="*/ 2147483647 w 684"/>
                    <a:gd name="T109" fmla="*/ 2147483647 h 660"/>
                    <a:gd name="T110" fmla="*/ 2147483647 w 684"/>
                    <a:gd name="T111" fmla="*/ 2147483647 h 660"/>
                    <a:gd name="T112" fmla="*/ 2147483647 w 684"/>
                    <a:gd name="T113" fmla="*/ 2147483647 h 660"/>
                    <a:gd name="T114" fmla="*/ 2147483647 w 684"/>
                    <a:gd name="T115" fmla="*/ 2147483647 h 66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84"/>
                    <a:gd name="T175" fmla="*/ 0 h 660"/>
                    <a:gd name="T176" fmla="*/ 684 w 684"/>
                    <a:gd name="T177" fmla="*/ 660 h 66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84" h="660">
                      <a:moveTo>
                        <a:pt x="678" y="564"/>
                      </a:moveTo>
                      <a:lnTo>
                        <a:pt x="666" y="552"/>
                      </a:lnTo>
                      <a:lnTo>
                        <a:pt x="654" y="546"/>
                      </a:lnTo>
                      <a:lnTo>
                        <a:pt x="648" y="516"/>
                      </a:lnTo>
                      <a:lnTo>
                        <a:pt x="642" y="516"/>
                      </a:lnTo>
                      <a:lnTo>
                        <a:pt x="636" y="510"/>
                      </a:lnTo>
                      <a:lnTo>
                        <a:pt x="624" y="504"/>
                      </a:lnTo>
                      <a:lnTo>
                        <a:pt x="618" y="498"/>
                      </a:lnTo>
                      <a:lnTo>
                        <a:pt x="618" y="462"/>
                      </a:lnTo>
                      <a:lnTo>
                        <a:pt x="624" y="450"/>
                      </a:lnTo>
                      <a:lnTo>
                        <a:pt x="624" y="438"/>
                      </a:lnTo>
                      <a:lnTo>
                        <a:pt x="594" y="402"/>
                      </a:lnTo>
                      <a:lnTo>
                        <a:pt x="588" y="390"/>
                      </a:lnTo>
                      <a:lnTo>
                        <a:pt x="582" y="384"/>
                      </a:lnTo>
                      <a:lnTo>
                        <a:pt x="564" y="384"/>
                      </a:lnTo>
                      <a:lnTo>
                        <a:pt x="546" y="366"/>
                      </a:lnTo>
                      <a:lnTo>
                        <a:pt x="534" y="360"/>
                      </a:lnTo>
                      <a:lnTo>
                        <a:pt x="528" y="354"/>
                      </a:lnTo>
                      <a:lnTo>
                        <a:pt x="504" y="354"/>
                      </a:lnTo>
                      <a:lnTo>
                        <a:pt x="504" y="312"/>
                      </a:lnTo>
                      <a:lnTo>
                        <a:pt x="498" y="312"/>
                      </a:lnTo>
                      <a:lnTo>
                        <a:pt x="492" y="306"/>
                      </a:lnTo>
                      <a:lnTo>
                        <a:pt x="468" y="294"/>
                      </a:lnTo>
                      <a:lnTo>
                        <a:pt x="456" y="282"/>
                      </a:lnTo>
                      <a:lnTo>
                        <a:pt x="444" y="276"/>
                      </a:lnTo>
                      <a:lnTo>
                        <a:pt x="438" y="270"/>
                      </a:lnTo>
                      <a:lnTo>
                        <a:pt x="438" y="264"/>
                      </a:lnTo>
                      <a:lnTo>
                        <a:pt x="444" y="252"/>
                      </a:lnTo>
                      <a:lnTo>
                        <a:pt x="450" y="246"/>
                      </a:lnTo>
                      <a:lnTo>
                        <a:pt x="438" y="234"/>
                      </a:lnTo>
                      <a:lnTo>
                        <a:pt x="438" y="228"/>
                      </a:lnTo>
                      <a:lnTo>
                        <a:pt x="450" y="216"/>
                      </a:lnTo>
                      <a:lnTo>
                        <a:pt x="462" y="216"/>
                      </a:lnTo>
                      <a:lnTo>
                        <a:pt x="462" y="186"/>
                      </a:lnTo>
                      <a:lnTo>
                        <a:pt x="468" y="186"/>
                      </a:lnTo>
                      <a:lnTo>
                        <a:pt x="480" y="174"/>
                      </a:lnTo>
                      <a:lnTo>
                        <a:pt x="480" y="168"/>
                      </a:lnTo>
                      <a:lnTo>
                        <a:pt x="474" y="156"/>
                      </a:lnTo>
                      <a:lnTo>
                        <a:pt x="462" y="144"/>
                      </a:lnTo>
                      <a:lnTo>
                        <a:pt x="462" y="138"/>
                      </a:lnTo>
                      <a:lnTo>
                        <a:pt x="480" y="120"/>
                      </a:lnTo>
                      <a:lnTo>
                        <a:pt x="480" y="114"/>
                      </a:lnTo>
                      <a:lnTo>
                        <a:pt x="468" y="114"/>
                      </a:lnTo>
                      <a:lnTo>
                        <a:pt x="456" y="120"/>
                      </a:lnTo>
                      <a:lnTo>
                        <a:pt x="450" y="126"/>
                      </a:lnTo>
                      <a:lnTo>
                        <a:pt x="438" y="108"/>
                      </a:lnTo>
                      <a:lnTo>
                        <a:pt x="414" y="102"/>
                      </a:lnTo>
                      <a:lnTo>
                        <a:pt x="414" y="84"/>
                      </a:lnTo>
                      <a:lnTo>
                        <a:pt x="402" y="72"/>
                      </a:lnTo>
                      <a:lnTo>
                        <a:pt x="378" y="24"/>
                      </a:lnTo>
                      <a:lnTo>
                        <a:pt x="378" y="12"/>
                      </a:lnTo>
                      <a:lnTo>
                        <a:pt x="336" y="24"/>
                      </a:lnTo>
                      <a:lnTo>
                        <a:pt x="336" y="6"/>
                      </a:lnTo>
                      <a:lnTo>
                        <a:pt x="330" y="0"/>
                      </a:lnTo>
                      <a:lnTo>
                        <a:pt x="306" y="0"/>
                      </a:lnTo>
                      <a:lnTo>
                        <a:pt x="306" y="6"/>
                      </a:lnTo>
                      <a:lnTo>
                        <a:pt x="300" y="12"/>
                      </a:lnTo>
                      <a:lnTo>
                        <a:pt x="288" y="12"/>
                      </a:lnTo>
                      <a:lnTo>
                        <a:pt x="276" y="0"/>
                      </a:lnTo>
                      <a:lnTo>
                        <a:pt x="234" y="0"/>
                      </a:lnTo>
                      <a:lnTo>
                        <a:pt x="234" y="12"/>
                      </a:lnTo>
                      <a:lnTo>
                        <a:pt x="228" y="18"/>
                      </a:lnTo>
                      <a:lnTo>
                        <a:pt x="216" y="24"/>
                      </a:lnTo>
                      <a:lnTo>
                        <a:pt x="204" y="36"/>
                      </a:lnTo>
                      <a:lnTo>
                        <a:pt x="198" y="48"/>
                      </a:lnTo>
                      <a:lnTo>
                        <a:pt x="192" y="54"/>
                      </a:lnTo>
                      <a:lnTo>
                        <a:pt x="180" y="54"/>
                      </a:lnTo>
                      <a:lnTo>
                        <a:pt x="168" y="60"/>
                      </a:lnTo>
                      <a:lnTo>
                        <a:pt x="156" y="60"/>
                      </a:lnTo>
                      <a:lnTo>
                        <a:pt x="150" y="66"/>
                      </a:lnTo>
                      <a:lnTo>
                        <a:pt x="144" y="78"/>
                      </a:lnTo>
                      <a:lnTo>
                        <a:pt x="144" y="90"/>
                      </a:lnTo>
                      <a:lnTo>
                        <a:pt x="150" y="102"/>
                      </a:lnTo>
                      <a:lnTo>
                        <a:pt x="156" y="108"/>
                      </a:lnTo>
                      <a:lnTo>
                        <a:pt x="156" y="120"/>
                      </a:lnTo>
                      <a:lnTo>
                        <a:pt x="162" y="132"/>
                      </a:lnTo>
                      <a:lnTo>
                        <a:pt x="162" y="162"/>
                      </a:lnTo>
                      <a:lnTo>
                        <a:pt x="156" y="174"/>
                      </a:lnTo>
                      <a:lnTo>
                        <a:pt x="150" y="192"/>
                      </a:lnTo>
                      <a:lnTo>
                        <a:pt x="150" y="198"/>
                      </a:lnTo>
                      <a:lnTo>
                        <a:pt x="168" y="216"/>
                      </a:lnTo>
                      <a:lnTo>
                        <a:pt x="168" y="222"/>
                      </a:lnTo>
                      <a:lnTo>
                        <a:pt x="162" y="228"/>
                      </a:lnTo>
                      <a:lnTo>
                        <a:pt x="138" y="240"/>
                      </a:lnTo>
                      <a:lnTo>
                        <a:pt x="78" y="264"/>
                      </a:lnTo>
                      <a:lnTo>
                        <a:pt x="66" y="270"/>
                      </a:lnTo>
                      <a:lnTo>
                        <a:pt x="6" y="318"/>
                      </a:lnTo>
                      <a:lnTo>
                        <a:pt x="0" y="318"/>
                      </a:lnTo>
                      <a:lnTo>
                        <a:pt x="0" y="324"/>
                      </a:lnTo>
                      <a:lnTo>
                        <a:pt x="24" y="366"/>
                      </a:lnTo>
                      <a:lnTo>
                        <a:pt x="24" y="384"/>
                      </a:lnTo>
                      <a:lnTo>
                        <a:pt x="48" y="402"/>
                      </a:lnTo>
                      <a:lnTo>
                        <a:pt x="48" y="414"/>
                      </a:lnTo>
                      <a:lnTo>
                        <a:pt x="60" y="426"/>
                      </a:lnTo>
                      <a:lnTo>
                        <a:pt x="126" y="426"/>
                      </a:lnTo>
                      <a:lnTo>
                        <a:pt x="156" y="456"/>
                      </a:lnTo>
                      <a:lnTo>
                        <a:pt x="168" y="462"/>
                      </a:lnTo>
                      <a:lnTo>
                        <a:pt x="180" y="474"/>
                      </a:lnTo>
                      <a:lnTo>
                        <a:pt x="228" y="498"/>
                      </a:lnTo>
                      <a:lnTo>
                        <a:pt x="234" y="504"/>
                      </a:lnTo>
                      <a:lnTo>
                        <a:pt x="246" y="510"/>
                      </a:lnTo>
                      <a:lnTo>
                        <a:pt x="438" y="654"/>
                      </a:lnTo>
                      <a:lnTo>
                        <a:pt x="522" y="654"/>
                      </a:lnTo>
                      <a:lnTo>
                        <a:pt x="570" y="660"/>
                      </a:lnTo>
                      <a:lnTo>
                        <a:pt x="564" y="660"/>
                      </a:lnTo>
                      <a:lnTo>
                        <a:pt x="570" y="654"/>
                      </a:lnTo>
                      <a:lnTo>
                        <a:pt x="588" y="618"/>
                      </a:lnTo>
                      <a:lnTo>
                        <a:pt x="588" y="606"/>
                      </a:lnTo>
                      <a:lnTo>
                        <a:pt x="594" y="600"/>
                      </a:lnTo>
                      <a:lnTo>
                        <a:pt x="600" y="588"/>
                      </a:lnTo>
                      <a:lnTo>
                        <a:pt x="648" y="588"/>
                      </a:lnTo>
                      <a:lnTo>
                        <a:pt x="654" y="594"/>
                      </a:lnTo>
                      <a:lnTo>
                        <a:pt x="678" y="582"/>
                      </a:lnTo>
                      <a:lnTo>
                        <a:pt x="684" y="576"/>
                      </a:lnTo>
                      <a:lnTo>
                        <a:pt x="678" y="570"/>
                      </a:lnTo>
                      <a:lnTo>
                        <a:pt x="678" y="564"/>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620" name="Iran"/>
                <p:cNvSpPr>
                  <a:spLocks/>
                </p:cNvSpPr>
                <p:nvPr/>
              </p:nvSpPr>
              <p:spPr bwMode="gray">
                <a:xfrm>
                  <a:off x="3407" y="1490"/>
                  <a:ext cx="368" cy="302"/>
                </a:xfrm>
                <a:custGeom>
                  <a:avLst/>
                  <a:gdLst>
                    <a:gd name="T0" fmla="*/ 2147483647 w 1440"/>
                    <a:gd name="T1" fmla="*/ 2147483647 h 1182"/>
                    <a:gd name="T2" fmla="*/ 2147483647 w 1440"/>
                    <a:gd name="T3" fmla="*/ 2147483647 h 1182"/>
                    <a:gd name="T4" fmla="*/ 2147483647 w 1440"/>
                    <a:gd name="T5" fmla="*/ 2147483647 h 1182"/>
                    <a:gd name="T6" fmla="*/ 2147483647 w 1440"/>
                    <a:gd name="T7" fmla="*/ 2147483647 h 1182"/>
                    <a:gd name="T8" fmla="*/ 2147483647 w 1440"/>
                    <a:gd name="T9" fmla="*/ 2147483647 h 1182"/>
                    <a:gd name="T10" fmla="*/ 2147483647 w 1440"/>
                    <a:gd name="T11" fmla="*/ 2147483647 h 1182"/>
                    <a:gd name="T12" fmla="*/ 2147483647 w 1440"/>
                    <a:gd name="T13" fmla="*/ 2147483647 h 1182"/>
                    <a:gd name="T14" fmla="*/ 2147483647 w 1440"/>
                    <a:gd name="T15" fmla="*/ 2147483647 h 1182"/>
                    <a:gd name="T16" fmla="*/ 2147483647 w 1440"/>
                    <a:gd name="T17" fmla="*/ 2147483647 h 1182"/>
                    <a:gd name="T18" fmla="*/ 2147483647 w 1440"/>
                    <a:gd name="T19" fmla="*/ 2147483647 h 1182"/>
                    <a:gd name="T20" fmla="*/ 2147483647 w 1440"/>
                    <a:gd name="T21" fmla="*/ 2147483647 h 1182"/>
                    <a:gd name="T22" fmla="*/ 2147483647 w 1440"/>
                    <a:gd name="T23" fmla="*/ 2147483647 h 1182"/>
                    <a:gd name="T24" fmla="*/ 2147483647 w 1440"/>
                    <a:gd name="T25" fmla="*/ 2147483647 h 1182"/>
                    <a:gd name="T26" fmla="*/ 2147483647 w 1440"/>
                    <a:gd name="T27" fmla="*/ 2147483647 h 1182"/>
                    <a:gd name="T28" fmla="*/ 2147483647 w 1440"/>
                    <a:gd name="T29" fmla="*/ 2147483647 h 1182"/>
                    <a:gd name="T30" fmla="*/ 2147483647 w 1440"/>
                    <a:gd name="T31" fmla="*/ 2147483647 h 1182"/>
                    <a:gd name="T32" fmla="*/ 2147483647 w 1440"/>
                    <a:gd name="T33" fmla="*/ 2147483647 h 1182"/>
                    <a:gd name="T34" fmla="*/ 2147483647 w 1440"/>
                    <a:gd name="T35" fmla="*/ 2147483647 h 1182"/>
                    <a:gd name="T36" fmla="*/ 2147483647 w 1440"/>
                    <a:gd name="T37" fmla="*/ 2147483647 h 1182"/>
                    <a:gd name="T38" fmla="*/ 2147483647 w 1440"/>
                    <a:gd name="T39" fmla="*/ 2147483647 h 1182"/>
                    <a:gd name="T40" fmla="*/ 2147483647 w 1440"/>
                    <a:gd name="T41" fmla="*/ 2147483647 h 1182"/>
                    <a:gd name="T42" fmla="*/ 2147483647 w 1440"/>
                    <a:gd name="T43" fmla="*/ 2147483647 h 1182"/>
                    <a:gd name="T44" fmla="*/ 2147483647 w 1440"/>
                    <a:gd name="T45" fmla="*/ 2147483647 h 1182"/>
                    <a:gd name="T46" fmla="*/ 2147483647 w 1440"/>
                    <a:gd name="T47" fmla="*/ 2147483647 h 1182"/>
                    <a:gd name="T48" fmla="*/ 2147483647 w 1440"/>
                    <a:gd name="T49" fmla="*/ 2147483647 h 1182"/>
                    <a:gd name="T50" fmla="*/ 2147483647 w 1440"/>
                    <a:gd name="T51" fmla="*/ 2147483647 h 1182"/>
                    <a:gd name="T52" fmla="*/ 2147483647 w 1440"/>
                    <a:gd name="T53" fmla="*/ 2147483647 h 1182"/>
                    <a:gd name="T54" fmla="*/ 2147483647 w 1440"/>
                    <a:gd name="T55" fmla="*/ 2147483647 h 1182"/>
                    <a:gd name="T56" fmla="*/ 2147483647 w 1440"/>
                    <a:gd name="T57" fmla="*/ 2147483647 h 1182"/>
                    <a:gd name="T58" fmla="*/ 2147483647 w 1440"/>
                    <a:gd name="T59" fmla="*/ 2147483647 h 1182"/>
                    <a:gd name="T60" fmla="*/ 2147483647 w 1440"/>
                    <a:gd name="T61" fmla="*/ 0 h 1182"/>
                    <a:gd name="T62" fmla="*/ 2147483647 w 1440"/>
                    <a:gd name="T63" fmla="*/ 2147483647 h 1182"/>
                    <a:gd name="T64" fmla="*/ 2147483647 w 1440"/>
                    <a:gd name="T65" fmla="*/ 2147483647 h 1182"/>
                    <a:gd name="T66" fmla="*/ 2147483647 w 1440"/>
                    <a:gd name="T67" fmla="*/ 2147483647 h 1182"/>
                    <a:gd name="T68" fmla="*/ 2147483647 w 1440"/>
                    <a:gd name="T69" fmla="*/ 2147483647 h 1182"/>
                    <a:gd name="T70" fmla="*/ 2147483647 w 1440"/>
                    <a:gd name="T71" fmla="*/ 2147483647 h 1182"/>
                    <a:gd name="T72" fmla="*/ 2147483647 w 1440"/>
                    <a:gd name="T73" fmla="*/ 2147483647 h 1182"/>
                    <a:gd name="T74" fmla="*/ 2147483647 w 1440"/>
                    <a:gd name="T75" fmla="*/ 2147483647 h 1182"/>
                    <a:gd name="T76" fmla="*/ 2147483647 w 1440"/>
                    <a:gd name="T77" fmla="*/ 2147483647 h 1182"/>
                    <a:gd name="T78" fmla="*/ 2147483647 w 1440"/>
                    <a:gd name="T79" fmla="*/ 2147483647 h 1182"/>
                    <a:gd name="T80" fmla="*/ 2147483647 w 1440"/>
                    <a:gd name="T81" fmla="*/ 2147483647 h 1182"/>
                    <a:gd name="T82" fmla="*/ 2147483647 w 1440"/>
                    <a:gd name="T83" fmla="*/ 2147483647 h 1182"/>
                    <a:gd name="T84" fmla="*/ 2147483647 w 1440"/>
                    <a:gd name="T85" fmla="*/ 2147483647 h 1182"/>
                    <a:gd name="T86" fmla="*/ 2147483647 w 1440"/>
                    <a:gd name="T87" fmla="*/ 2147483647 h 1182"/>
                    <a:gd name="T88" fmla="*/ 2147483647 w 1440"/>
                    <a:gd name="T89" fmla="*/ 2147483647 h 1182"/>
                    <a:gd name="T90" fmla="*/ 2147483647 w 1440"/>
                    <a:gd name="T91" fmla="*/ 2147483647 h 1182"/>
                    <a:gd name="T92" fmla="*/ 2147483647 w 1440"/>
                    <a:gd name="T93" fmla="*/ 2147483647 h 1182"/>
                    <a:gd name="T94" fmla="*/ 2147483647 w 1440"/>
                    <a:gd name="T95" fmla="*/ 2147483647 h 1182"/>
                    <a:gd name="T96" fmla="*/ 2147483647 w 1440"/>
                    <a:gd name="T97" fmla="*/ 2147483647 h 1182"/>
                    <a:gd name="T98" fmla="*/ 2147483647 w 1440"/>
                    <a:gd name="T99" fmla="*/ 2147483647 h 1182"/>
                    <a:gd name="T100" fmla="*/ 2147483647 w 1440"/>
                    <a:gd name="T101" fmla="*/ 2147483647 h 1182"/>
                    <a:gd name="T102" fmla="*/ 2147483647 w 1440"/>
                    <a:gd name="T103" fmla="*/ 2147483647 h 1182"/>
                    <a:gd name="T104" fmla="*/ 2147483647 w 1440"/>
                    <a:gd name="T105" fmla="*/ 2147483647 h 1182"/>
                    <a:gd name="T106" fmla="*/ 2147483647 w 1440"/>
                    <a:gd name="T107" fmla="*/ 2147483647 h 1182"/>
                    <a:gd name="T108" fmla="*/ 2147483647 w 1440"/>
                    <a:gd name="T109" fmla="*/ 2147483647 h 1182"/>
                    <a:gd name="T110" fmla="*/ 2147483647 w 1440"/>
                    <a:gd name="T111" fmla="*/ 2147483647 h 118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440"/>
                    <a:gd name="T169" fmla="*/ 0 h 1182"/>
                    <a:gd name="T170" fmla="*/ 1440 w 1440"/>
                    <a:gd name="T171" fmla="*/ 1182 h 118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440" h="1182">
                      <a:moveTo>
                        <a:pt x="1338" y="1176"/>
                      </a:moveTo>
                      <a:lnTo>
                        <a:pt x="1338" y="1170"/>
                      </a:lnTo>
                      <a:lnTo>
                        <a:pt x="1332" y="1158"/>
                      </a:lnTo>
                      <a:lnTo>
                        <a:pt x="1332" y="1128"/>
                      </a:lnTo>
                      <a:lnTo>
                        <a:pt x="1344" y="1116"/>
                      </a:lnTo>
                      <a:lnTo>
                        <a:pt x="1344" y="1110"/>
                      </a:lnTo>
                      <a:lnTo>
                        <a:pt x="1350" y="1104"/>
                      </a:lnTo>
                      <a:lnTo>
                        <a:pt x="1356" y="1086"/>
                      </a:lnTo>
                      <a:lnTo>
                        <a:pt x="1368" y="1086"/>
                      </a:lnTo>
                      <a:lnTo>
                        <a:pt x="1374" y="1080"/>
                      </a:lnTo>
                      <a:lnTo>
                        <a:pt x="1374" y="1074"/>
                      </a:lnTo>
                      <a:lnTo>
                        <a:pt x="1380" y="1074"/>
                      </a:lnTo>
                      <a:lnTo>
                        <a:pt x="1380" y="1068"/>
                      </a:lnTo>
                      <a:lnTo>
                        <a:pt x="1386" y="1062"/>
                      </a:lnTo>
                      <a:lnTo>
                        <a:pt x="1398" y="1056"/>
                      </a:lnTo>
                      <a:lnTo>
                        <a:pt x="1428" y="1056"/>
                      </a:lnTo>
                      <a:lnTo>
                        <a:pt x="1428" y="1062"/>
                      </a:lnTo>
                      <a:lnTo>
                        <a:pt x="1434" y="1062"/>
                      </a:lnTo>
                      <a:lnTo>
                        <a:pt x="1440" y="1056"/>
                      </a:lnTo>
                      <a:lnTo>
                        <a:pt x="1440" y="1044"/>
                      </a:lnTo>
                      <a:lnTo>
                        <a:pt x="1434" y="1026"/>
                      </a:lnTo>
                      <a:lnTo>
                        <a:pt x="1428" y="1014"/>
                      </a:lnTo>
                      <a:lnTo>
                        <a:pt x="1422" y="1008"/>
                      </a:lnTo>
                      <a:lnTo>
                        <a:pt x="1404" y="1008"/>
                      </a:lnTo>
                      <a:lnTo>
                        <a:pt x="1404" y="996"/>
                      </a:lnTo>
                      <a:lnTo>
                        <a:pt x="1398" y="984"/>
                      </a:lnTo>
                      <a:lnTo>
                        <a:pt x="1398" y="960"/>
                      </a:lnTo>
                      <a:lnTo>
                        <a:pt x="1392" y="960"/>
                      </a:lnTo>
                      <a:lnTo>
                        <a:pt x="1398" y="930"/>
                      </a:lnTo>
                      <a:lnTo>
                        <a:pt x="1374" y="930"/>
                      </a:lnTo>
                      <a:lnTo>
                        <a:pt x="1362" y="912"/>
                      </a:lnTo>
                      <a:lnTo>
                        <a:pt x="1350" y="918"/>
                      </a:lnTo>
                      <a:lnTo>
                        <a:pt x="1332" y="918"/>
                      </a:lnTo>
                      <a:lnTo>
                        <a:pt x="1326" y="912"/>
                      </a:lnTo>
                      <a:lnTo>
                        <a:pt x="1314" y="894"/>
                      </a:lnTo>
                      <a:lnTo>
                        <a:pt x="1308" y="876"/>
                      </a:lnTo>
                      <a:lnTo>
                        <a:pt x="1296" y="864"/>
                      </a:lnTo>
                      <a:lnTo>
                        <a:pt x="1284" y="846"/>
                      </a:lnTo>
                      <a:lnTo>
                        <a:pt x="1278" y="840"/>
                      </a:lnTo>
                      <a:lnTo>
                        <a:pt x="1272" y="828"/>
                      </a:lnTo>
                      <a:lnTo>
                        <a:pt x="1248" y="804"/>
                      </a:lnTo>
                      <a:lnTo>
                        <a:pt x="1242" y="804"/>
                      </a:lnTo>
                      <a:lnTo>
                        <a:pt x="1242" y="792"/>
                      </a:lnTo>
                      <a:lnTo>
                        <a:pt x="1260" y="774"/>
                      </a:lnTo>
                      <a:lnTo>
                        <a:pt x="1266" y="762"/>
                      </a:lnTo>
                      <a:lnTo>
                        <a:pt x="1272" y="756"/>
                      </a:lnTo>
                      <a:lnTo>
                        <a:pt x="1296" y="708"/>
                      </a:lnTo>
                      <a:lnTo>
                        <a:pt x="1284" y="684"/>
                      </a:lnTo>
                      <a:lnTo>
                        <a:pt x="1278" y="678"/>
                      </a:lnTo>
                      <a:lnTo>
                        <a:pt x="1242" y="678"/>
                      </a:lnTo>
                      <a:lnTo>
                        <a:pt x="1230" y="672"/>
                      </a:lnTo>
                      <a:lnTo>
                        <a:pt x="1224" y="672"/>
                      </a:lnTo>
                      <a:lnTo>
                        <a:pt x="1218" y="666"/>
                      </a:lnTo>
                      <a:lnTo>
                        <a:pt x="1218" y="612"/>
                      </a:lnTo>
                      <a:lnTo>
                        <a:pt x="1212" y="606"/>
                      </a:lnTo>
                      <a:lnTo>
                        <a:pt x="1200" y="582"/>
                      </a:lnTo>
                      <a:lnTo>
                        <a:pt x="1188" y="564"/>
                      </a:lnTo>
                      <a:lnTo>
                        <a:pt x="1176" y="540"/>
                      </a:lnTo>
                      <a:lnTo>
                        <a:pt x="1182" y="528"/>
                      </a:lnTo>
                      <a:lnTo>
                        <a:pt x="1200" y="510"/>
                      </a:lnTo>
                      <a:lnTo>
                        <a:pt x="1200" y="504"/>
                      </a:lnTo>
                      <a:lnTo>
                        <a:pt x="1194" y="498"/>
                      </a:lnTo>
                      <a:lnTo>
                        <a:pt x="1170" y="498"/>
                      </a:lnTo>
                      <a:lnTo>
                        <a:pt x="1170" y="468"/>
                      </a:lnTo>
                      <a:lnTo>
                        <a:pt x="1158" y="456"/>
                      </a:lnTo>
                      <a:lnTo>
                        <a:pt x="1158" y="450"/>
                      </a:lnTo>
                      <a:lnTo>
                        <a:pt x="1164" y="444"/>
                      </a:lnTo>
                      <a:lnTo>
                        <a:pt x="1176" y="438"/>
                      </a:lnTo>
                      <a:lnTo>
                        <a:pt x="1182" y="432"/>
                      </a:lnTo>
                      <a:lnTo>
                        <a:pt x="1188" y="432"/>
                      </a:lnTo>
                      <a:lnTo>
                        <a:pt x="1176" y="414"/>
                      </a:lnTo>
                      <a:lnTo>
                        <a:pt x="1200" y="408"/>
                      </a:lnTo>
                      <a:lnTo>
                        <a:pt x="1200" y="402"/>
                      </a:lnTo>
                      <a:lnTo>
                        <a:pt x="1194" y="396"/>
                      </a:lnTo>
                      <a:lnTo>
                        <a:pt x="1194" y="372"/>
                      </a:lnTo>
                      <a:lnTo>
                        <a:pt x="1188" y="360"/>
                      </a:lnTo>
                      <a:lnTo>
                        <a:pt x="1188" y="354"/>
                      </a:lnTo>
                      <a:lnTo>
                        <a:pt x="1194" y="342"/>
                      </a:lnTo>
                      <a:lnTo>
                        <a:pt x="1200" y="336"/>
                      </a:lnTo>
                      <a:lnTo>
                        <a:pt x="1188" y="306"/>
                      </a:lnTo>
                      <a:lnTo>
                        <a:pt x="1194" y="282"/>
                      </a:lnTo>
                      <a:lnTo>
                        <a:pt x="1182" y="282"/>
                      </a:lnTo>
                      <a:lnTo>
                        <a:pt x="1182" y="246"/>
                      </a:lnTo>
                      <a:lnTo>
                        <a:pt x="1116" y="252"/>
                      </a:lnTo>
                      <a:lnTo>
                        <a:pt x="1110" y="246"/>
                      </a:lnTo>
                      <a:lnTo>
                        <a:pt x="1104" y="234"/>
                      </a:lnTo>
                      <a:lnTo>
                        <a:pt x="1092" y="228"/>
                      </a:lnTo>
                      <a:lnTo>
                        <a:pt x="1080" y="216"/>
                      </a:lnTo>
                      <a:lnTo>
                        <a:pt x="1068" y="216"/>
                      </a:lnTo>
                      <a:lnTo>
                        <a:pt x="1062" y="210"/>
                      </a:lnTo>
                      <a:lnTo>
                        <a:pt x="1056" y="210"/>
                      </a:lnTo>
                      <a:lnTo>
                        <a:pt x="1050" y="204"/>
                      </a:lnTo>
                      <a:lnTo>
                        <a:pt x="1044" y="192"/>
                      </a:lnTo>
                      <a:lnTo>
                        <a:pt x="1044" y="186"/>
                      </a:lnTo>
                      <a:lnTo>
                        <a:pt x="1038" y="180"/>
                      </a:lnTo>
                      <a:lnTo>
                        <a:pt x="1032" y="180"/>
                      </a:lnTo>
                      <a:lnTo>
                        <a:pt x="1020" y="174"/>
                      </a:lnTo>
                      <a:lnTo>
                        <a:pt x="1002" y="174"/>
                      </a:lnTo>
                      <a:lnTo>
                        <a:pt x="990" y="168"/>
                      </a:lnTo>
                      <a:lnTo>
                        <a:pt x="972" y="168"/>
                      </a:lnTo>
                      <a:lnTo>
                        <a:pt x="972" y="174"/>
                      </a:lnTo>
                      <a:lnTo>
                        <a:pt x="960" y="168"/>
                      </a:lnTo>
                      <a:lnTo>
                        <a:pt x="954" y="162"/>
                      </a:lnTo>
                      <a:lnTo>
                        <a:pt x="942" y="156"/>
                      </a:lnTo>
                      <a:lnTo>
                        <a:pt x="936" y="150"/>
                      </a:lnTo>
                      <a:lnTo>
                        <a:pt x="906" y="150"/>
                      </a:lnTo>
                      <a:lnTo>
                        <a:pt x="906" y="138"/>
                      </a:lnTo>
                      <a:lnTo>
                        <a:pt x="894" y="126"/>
                      </a:lnTo>
                      <a:lnTo>
                        <a:pt x="834" y="126"/>
                      </a:lnTo>
                      <a:lnTo>
                        <a:pt x="834" y="132"/>
                      </a:lnTo>
                      <a:lnTo>
                        <a:pt x="828" y="138"/>
                      </a:lnTo>
                      <a:lnTo>
                        <a:pt x="816" y="132"/>
                      </a:lnTo>
                      <a:lnTo>
                        <a:pt x="780" y="132"/>
                      </a:lnTo>
                      <a:lnTo>
                        <a:pt x="768" y="138"/>
                      </a:lnTo>
                      <a:lnTo>
                        <a:pt x="750" y="156"/>
                      </a:lnTo>
                      <a:lnTo>
                        <a:pt x="738" y="162"/>
                      </a:lnTo>
                      <a:lnTo>
                        <a:pt x="732" y="168"/>
                      </a:lnTo>
                      <a:lnTo>
                        <a:pt x="732" y="180"/>
                      </a:lnTo>
                      <a:lnTo>
                        <a:pt x="720" y="186"/>
                      </a:lnTo>
                      <a:lnTo>
                        <a:pt x="708" y="198"/>
                      </a:lnTo>
                      <a:lnTo>
                        <a:pt x="678" y="198"/>
                      </a:lnTo>
                      <a:lnTo>
                        <a:pt x="690" y="210"/>
                      </a:lnTo>
                      <a:lnTo>
                        <a:pt x="690" y="222"/>
                      </a:lnTo>
                      <a:lnTo>
                        <a:pt x="696" y="228"/>
                      </a:lnTo>
                      <a:lnTo>
                        <a:pt x="696" y="234"/>
                      </a:lnTo>
                      <a:lnTo>
                        <a:pt x="690" y="240"/>
                      </a:lnTo>
                      <a:lnTo>
                        <a:pt x="678" y="240"/>
                      </a:lnTo>
                      <a:lnTo>
                        <a:pt x="666" y="234"/>
                      </a:lnTo>
                      <a:lnTo>
                        <a:pt x="660" y="228"/>
                      </a:lnTo>
                      <a:lnTo>
                        <a:pt x="654" y="228"/>
                      </a:lnTo>
                      <a:lnTo>
                        <a:pt x="648" y="234"/>
                      </a:lnTo>
                      <a:lnTo>
                        <a:pt x="624" y="234"/>
                      </a:lnTo>
                      <a:lnTo>
                        <a:pt x="612" y="240"/>
                      </a:lnTo>
                      <a:lnTo>
                        <a:pt x="600" y="240"/>
                      </a:lnTo>
                      <a:lnTo>
                        <a:pt x="582" y="246"/>
                      </a:lnTo>
                      <a:lnTo>
                        <a:pt x="558" y="258"/>
                      </a:lnTo>
                      <a:lnTo>
                        <a:pt x="546" y="252"/>
                      </a:lnTo>
                      <a:lnTo>
                        <a:pt x="534" y="252"/>
                      </a:lnTo>
                      <a:lnTo>
                        <a:pt x="522" y="246"/>
                      </a:lnTo>
                      <a:lnTo>
                        <a:pt x="498" y="246"/>
                      </a:lnTo>
                      <a:lnTo>
                        <a:pt x="480" y="240"/>
                      </a:lnTo>
                      <a:lnTo>
                        <a:pt x="468" y="228"/>
                      </a:lnTo>
                      <a:lnTo>
                        <a:pt x="456" y="222"/>
                      </a:lnTo>
                      <a:lnTo>
                        <a:pt x="444" y="210"/>
                      </a:lnTo>
                      <a:lnTo>
                        <a:pt x="438" y="198"/>
                      </a:lnTo>
                      <a:lnTo>
                        <a:pt x="432" y="192"/>
                      </a:lnTo>
                      <a:lnTo>
                        <a:pt x="432" y="186"/>
                      </a:lnTo>
                      <a:lnTo>
                        <a:pt x="378" y="186"/>
                      </a:lnTo>
                      <a:lnTo>
                        <a:pt x="354" y="162"/>
                      </a:lnTo>
                      <a:lnTo>
                        <a:pt x="336" y="126"/>
                      </a:lnTo>
                      <a:lnTo>
                        <a:pt x="330" y="120"/>
                      </a:lnTo>
                      <a:lnTo>
                        <a:pt x="330" y="114"/>
                      </a:lnTo>
                      <a:lnTo>
                        <a:pt x="312" y="114"/>
                      </a:lnTo>
                      <a:lnTo>
                        <a:pt x="312" y="108"/>
                      </a:lnTo>
                      <a:lnTo>
                        <a:pt x="306" y="102"/>
                      </a:lnTo>
                      <a:lnTo>
                        <a:pt x="300" y="102"/>
                      </a:lnTo>
                      <a:lnTo>
                        <a:pt x="294" y="96"/>
                      </a:lnTo>
                      <a:lnTo>
                        <a:pt x="282" y="90"/>
                      </a:lnTo>
                      <a:lnTo>
                        <a:pt x="270" y="78"/>
                      </a:lnTo>
                      <a:lnTo>
                        <a:pt x="270" y="72"/>
                      </a:lnTo>
                      <a:lnTo>
                        <a:pt x="282" y="72"/>
                      </a:lnTo>
                      <a:lnTo>
                        <a:pt x="288" y="66"/>
                      </a:lnTo>
                      <a:lnTo>
                        <a:pt x="288" y="60"/>
                      </a:lnTo>
                      <a:lnTo>
                        <a:pt x="282" y="54"/>
                      </a:lnTo>
                      <a:lnTo>
                        <a:pt x="276" y="54"/>
                      </a:lnTo>
                      <a:lnTo>
                        <a:pt x="276" y="42"/>
                      </a:lnTo>
                      <a:lnTo>
                        <a:pt x="282" y="36"/>
                      </a:lnTo>
                      <a:lnTo>
                        <a:pt x="282" y="18"/>
                      </a:lnTo>
                      <a:lnTo>
                        <a:pt x="276" y="12"/>
                      </a:lnTo>
                      <a:lnTo>
                        <a:pt x="270" y="0"/>
                      </a:lnTo>
                      <a:lnTo>
                        <a:pt x="258" y="0"/>
                      </a:lnTo>
                      <a:lnTo>
                        <a:pt x="246" y="6"/>
                      </a:lnTo>
                      <a:lnTo>
                        <a:pt x="234" y="18"/>
                      </a:lnTo>
                      <a:lnTo>
                        <a:pt x="222" y="24"/>
                      </a:lnTo>
                      <a:lnTo>
                        <a:pt x="204" y="36"/>
                      </a:lnTo>
                      <a:lnTo>
                        <a:pt x="192" y="48"/>
                      </a:lnTo>
                      <a:lnTo>
                        <a:pt x="192" y="54"/>
                      </a:lnTo>
                      <a:lnTo>
                        <a:pt x="186" y="60"/>
                      </a:lnTo>
                      <a:lnTo>
                        <a:pt x="180" y="72"/>
                      </a:lnTo>
                      <a:lnTo>
                        <a:pt x="132" y="72"/>
                      </a:lnTo>
                      <a:lnTo>
                        <a:pt x="96" y="60"/>
                      </a:lnTo>
                      <a:lnTo>
                        <a:pt x="84" y="54"/>
                      </a:lnTo>
                      <a:lnTo>
                        <a:pt x="66" y="36"/>
                      </a:lnTo>
                      <a:lnTo>
                        <a:pt x="54" y="12"/>
                      </a:lnTo>
                      <a:lnTo>
                        <a:pt x="54" y="6"/>
                      </a:lnTo>
                      <a:lnTo>
                        <a:pt x="48" y="0"/>
                      </a:lnTo>
                      <a:lnTo>
                        <a:pt x="42" y="0"/>
                      </a:lnTo>
                      <a:lnTo>
                        <a:pt x="24" y="18"/>
                      </a:lnTo>
                      <a:lnTo>
                        <a:pt x="24" y="30"/>
                      </a:lnTo>
                      <a:lnTo>
                        <a:pt x="0" y="30"/>
                      </a:lnTo>
                      <a:lnTo>
                        <a:pt x="18" y="54"/>
                      </a:lnTo>
                      <a:lnTo>
                        <a:pt x="18" y="84"/>
                      </a:lnTo>
                      <a:lnTo>
                        <a:pt x="30" y="96"/>
                      </a:lnTo>
                      <a:lnTo>
                        <a:pt x="30" y="108"/>
                      </a:lnTo>
                      <a:lnTo>
                        <a:pt x="36" y="114"/>
                      </a:lnTo>
                      <a:lnTo>
                        <a:pt x="42" y="114"/>
                      </a:lnTo>
                      <a:lnTo>
                        <a:pt x="36" y="120"/>
                      </a:lnTo>
                      <a:lnTo>
                        <a:pt x="36" y="126"/>
                      </a:lnTo>
                      <a:lnTo>
                        <a:pt x="30" y="138"/>
                      </a:lnTo>
                      <a:lnTo>
                        <a:pt x="24" y="144"/>
                      </a:lnTo>
                      <a:lnTo>
                        <a:pt x="60" y="162"/>
                      </a:lnTo>
                      <a:lnTo>
                        <a:pt x="60" y="192"/>
                      </a:lnTo>
                      <a:lnTo>
                        <a:pt x="84" y="198"/>
                      </a:lnTo>
                      <a:lnTo>
                        <a:pt x="84" y="210"/>
                      </a:lnTo>
                      <a:lnTo>
                        <a:pt x="96" y="246"/>
                      </a:lnTo>
                      <a:lnTo>
                        <a:pt x="108" y="270"/>
                      </a:lnTo>
                      <a:lnTo>
                        <a:pt x="120" y="282"/>
                      </a:lnTo>
                      <a:lnTo>
                        <a:pt x="120" y="300"/>
                      </a:lnTo>
                      <a:lnTo>
                        <a:pt x="144" y="306"/>
                      </a:lnTo>
                      <a:lnTo>
                        <a:pt x="156" y="324"/>
                      </a:lnTo>
                      <a:lnTo>
                        <a:pt x="162" y="318"/>
                      </a:lnTo>
                      <a:lnTo>
                        <a:pt x="174" y="312"/>
                      </a:lnTo>
                      <a:lnTo>
                        <a:pt x="186" y="312"/>
                      </a:lnTo>
                      <a:lnTo>
                        <a:pt x="186" y="318"/>
                      </a:lnTo>
                      <a:lnTo>
                        <a:pt x="168" y="336"/>
                      </a:lnTo>
                      <a:lnTo>
                        <a:pt x="168" y="342"/>
                      </a:lnTo>
                      <a:lnTo>
                        <a:pt x="180" y="354"/>
                      </a:lnTo>
                      <a:lnTo>
                        <a:pt x="186" y="366"/>
                      </a:lnTo>
                      <a:lnTo>
                        <a:pt x="186" y="372"/>
                      </a:lnTo>
                      <a:lnTo>
                        <a:pt x="174" y="384"/>
                      </a:lnTo>
                      <a:lnTo>
                        <a:pt x="168" y="384"/>
                      </a:lnTo>
                      <a:lnTo>
                        <a:pt x="168" y="414"/>
                      </a:lnTo>
                      <a:lnTo>
                        <a:pt x="156" y="414"/>
                      </a:lnTo>
                      <a:lnTo>
                        <a:pt x="144" y="426"/>
                      </a:lnTo>
                      <a:lnTo>
                        <a:pt x="144" y="432"/>
                      </a:lnTo>
                      <a:lnTo>
                        <a:pt x="156" y="444"/>
                      </a:lnTo>
                      <a:lnTo>
                        <a:pt x="150" y="450"/>
                      </a:lnTo>
                      <a:lnTo>
                        <a:pt x="144" y="462"/>
                      </a:lnTo>
                      <a:lnTo>
                        <a:pt x="144" y="468"/>
                      </a:lnTo>
                      <a:lnTo>
                        <a:pt x="150" y="474"/>
                      </a:lnTo>
                      <a:lnTo>
                        <a:pt x="162" y="480"/>
                      </a:lnTo>
                      <a:lnTo>
                        <a:pt x="174" y="492"/>
                      </a:lnTo>
                      <a:lnTo>
                        <a:pt x="198" y="504"/>
                      </a:lnTo>
                      <a:lnTo>
                        <a:pt x="204" y="510"/>
                      </a:lnTo>
                      <a:lnTo>
                        <a:pt x="210" y="510"/>
                      </a:lnTo>
                      <a:lnTo>
                        <a:pt x="210" y="552"/>
                      </a:lnTo>
                      <a:lnTo>
                        <a:pt x="234" y="552"/>
                      </a:lnTo>
                      <a:lnTo>
                        <a:pt x="240" y="558"/>
                      </a:lnTo>
                      <a:lnTo>
                        <a:pt x="252" y="564"/>
                      </a:lnTo>
                      <a:lnTo>
                        <a:pt x="270" y="582"/>
                      </a:lnTo>
                      <a:lnTo>
                        <a:pt x="288" y="582"/>
                      </a:lnTo>
                      <a:lnTo>
                        <a:pt x="294" y="588"/>
                      </a:lnTo>
                      <a:lnTo>
                        <a:pt x="300" y="600"/>
                      </a:lnTo>
                      <a:lnTo>
                        <a:pt x="330" y="636"/>
                      </a:lnTo>
                      <a:lnTo>
                        <a:pt x="330" y="648"/>
                      </a:lnTo>
                      <a:lnTo>
                        <a:pt x="324" y="660"/>
                      </a:lnTo>
                      <a:lnTo>
                        <a:pt x="324" y="696"/>
                      </a:lnTo>
                      <a:lnTo>
                        <a:pt x="330" y="702"/>
                      </a:lnTo>
                      <a:lnTo>
                        <a:pt x="342" y="708"/>
                      </a:lnTo>
                      <a:lnTo>
                        <a:pt x="348" y="714"/>
                      </a:lnTo>
                      <a:lnTo>
                        <a:pt x="354" y="714"/>
                      </a:lnTo>
                      <a:lnTo>
                        <a:pt x="360" y="744"/>
                      </a:lnTo>
                      <a:lnTo>
                        <a:pt x="372" y="750"/>
                      </a:lnTo>
                      <a:lnTo>
                        <a:pt x="384" y="762"/>
                      </a:lnTo>
                      <a:lnTo>
                        <a:pt x="384" y="768"/>
                      </a:lnTo>
                      <a:lnTo>
                        <a:pt x="390" y="774"/>
                      </a:lnTo>
                      <a:lnTo>
                        <a:pt x="402" y="780"/>
                      </a:lnTo>
                      <a:lnTo>
                        <a:pt x="408" y="786"/>
                      </a:lnTo>
                      <a:lnTo>
                        <a:pt x="420" y="792"/>
                      </a:lnTo>
                      <a:lnTo>
                        <a:pt x="426" y="786"/>
                      </a:lnTo>
                      <a:lnTo>
                        <a:pt x="426" y="774"/>
                      </a:lnTo>
                      <a:lnTo>
                        <a:pt x="420" y="768"/>
                      </a:lnTo>
                      <a:lnTo>
                        <a:pt x="420" y="762"/>
                      </a:lnTo>
                      <a:lnTo>
                        <a:pt x="426" y="756"/>
                      </a:lnTo>
                      <a:lnTo>
                        <a:pt x="438" y="750"/>
                      </a:lnTo>
                      <a:lnTo>
                        <a:pt x="444" y="756"/>
                      </a:lnTo>
                      <a:lnTo>
                        <a:pt x="450" y="756"/>
                      </a:lnTo>
                      <a:lnTo>
                        <a:pt x="450" y="768"/>
                      </a:lnTo>
                      <a:lnTo>
                        <a:pt x="456" y="780"/>
                      </a:lnTo>
                      <a:lnTo>
                        <a:pt x="474" y="780"/>
                      </a:lnTo>
                      <a:lnTo>
                        <a:pt x="474" y="786"/>
                      </a:lnTo>
                      <a:lnTo>
                        <a:pt x="474" y="780"/>
                      </a:lnTo>
                      <a:lnTo>
                        <a:pt x="480" y="780"/>
                      </a:lnTo>
                      <a:lnTo>
                        <a:pt x="480" y="768"/>
                      </a:lnTo>
                      <a:lnTo>
                        <a:pt x="504" y="768"/>
                      </a:lnTo>
                      <a:lnTo>
                        <a:pt x="504" y="804"/>
                      </a:lnTo>
                      <a:lnTo>
                        <a:pt x="510" y="810"/>
                      </a:lnTo>
                      <a:lnTo>
                        <a:pt x="516" y="810"/>
                      </a:lnTo>
                      <a:lnTo>
                        <a:pt x="528" y="816"/>
                      </a:lnTo>
                      <a:lnTo>
                        <a:pt x="540" y="828"/>
                      </a:lnTo>
                      <a:lnTo>
                        <a:pt x="540" y="846"/>
                      </a:lnTo>
                      <a:lnTo>
                        <a:pt x="552" y="858"/>
                      </a:lnTo>
                      <a:lnTo>
                        <a:pt x="558" y="870"/>
                      </a:lnTo>
                      <a:lnTo>
                        <a:pt x="564" y="876"/>
                      </a:lnTo>
                      <a:lnTo>
                        <a:pt x="570" y="876"/>
                      </a:lnTo>
                      <a:lnTo>
                        <a:pt x="582" y="894"/>
                      </a:lnTo>
                      <a:lnTo>
                        <a:pt x="582" y="906"/>
                      </a:lnTo>
                      <a:lnTo>
                        <a:pt x="594" y="930"/>
                      </a:lnTo>
                      <a:lnTo>
                        <a:pt x="600" y="936"/>
                      </a:lnTo>
                      <a:lnTo>
                        <a:pt x="606" y="936"/>
                      </a:lnTo>
                      <a:lnTo>
                        <a:pt x="612" y="942"/>
                      </a:lnTo>
                      <a:lnTo>
                        <a:pt x="618" y="954"/>
                      </a:lnTo>
                      <a:lnTo>
                        <a:pt x="618" y="960"/>
                      </a:lnTo>
                      <a:lnTo>
                        <a:pt x="648" y="960"/>
                      </a:lnTo>
                      <a:lnTo>
                        <a:pt x="666" y="984"/>
                      </a:lnTo>
                      <a:lnTo>
                        <a:pt x="684" y="978"/>
                      </a:lnTo>
                      <a:lnTo>
                        <a:pt x="702" y="978"/>
                      </a:lnTo>
                      <a:lnTo>
                        <a:pt x="720" y="996"/>
                      </a:lnTo>
                      <a:lnTo>
                        <a:pt x="738" y="1008"/>
                      </a:lnTo>
                      <a:lnTo>
                        <a:pt x="756" y="1026"/>
                      </a:lnTo>
                      <a:lnTo>
                        <a:pt x="792" y="1050"/>
                      </a:lnTo>
                      <a:lnTo>
                        <a:pt x="810" y="1050"/>
                      </a:lnTo>
                      <a:lnTo>
                        <a:pt x="822" y="1056"/>
                      </a:lnTo>
                      <a:lnTo>
                        <a:pt x="834" y="1068"/>
                      </a:lnTo>
                      <a:lnTo>
                        <a:pt x="852" y="1068"/>
                      </a:lnTo>
                      <a:lnTo>
                        <a:pt x="876" y="1056"/>
                      </a:lnTo>
                      <a:lnTo>
                        <a:pt x="876" y="1050"/>
                      </a:lnTo>
                      <a:lnTo>
                        <a:pt x="900" y="1056"/>
                      </a:lnTo>
                      <a:lnTo>
                        <a:pt x="912" y="1032"/>
                      </a:lnTo>
                      <a:lnTo>
                        <a:pt x="930" y="1032"/>
                      </a:lnTo>
                      <a:lnTo>
                        <a:pt x="954" y="1008"/>
                      </a:lnTo>
                      <a:lnTo>
                        <a:pt x="966" y="1020"/>
                      </a:lnTo>
                      <a:lnTo>
                        <a:pt x="972" y="1014"/>
                      </a:lnTo>
                      <a:lnTo>
                        <a:pt x="984" y="1014"/>
                      </a:lnTo>
                      <a:lnTo>
                        <a:pt x="1002" y="1032"/>
                      </a:lnTo>
                      <a:lnTo>
                        <a:pt x="1014" y="1050"/>
                      </a:lnTo>
                      <a:lnTo>
                        <a:pt x="1020" y="1068"/>
                      </a:lnTo>
                      <a:lnTo>
                        <a:pt x="1032" y="1080"/>
                      </a:lnTo>
                      <a:lnTo>
                        <a:pt x="1032" y="1098"/>
                      </a:lnTo>
                      <a:lnTo>
                        <a:pt x="1038" y="1110"/>
                      </a:lnTo>
                      <a:lnTo>
                        <a:pt x="1044" y="1116"/>
                      </a:lnTo>
                      <a:lnTo>
                        <a:pt x="1056" y="1122"/>
                      </a:lnTo>
                      <a:lnTo>
                        <a:pt x="1080" y="1122"/>
                      </a:lnTo>
                      <a:lnTo>
                        <a:pt x="1080" y="1128"/>
                      </a:lnTo>
                      <a:lnTo>
                        <a:pt x="1086" y="1134"/>
                      </a:lnTo>
                      <a:lnTo>
                        <a:pt x="1098" y="1140"/>
                      </a:lnTo>
                      <a:lnTo>
                        <a:pt x="1164" y="1140"/>
                      </a:lnTo>
                      <a:lnTo>
                        <a:pt x="1176" y="1146"/>
                      </a:lnTo>
                      <a:lnTo>
                        <a:pt x="1200" y="1170"/>
                      </a:lnTo>
                      <a:lnTo>
                        <a:pt x="1212" y="1170"/>
                      </a:lnTo>
                      <a:lnTo>
                        <a:pt x="1224" y="1164"/>
                      </a:lnTo>
                      <a:lnTo>
                        <a:pt x="1230" y="1164"/>
                      </a:lnTo>
                      <a:lnTo>
                        <a:pt x="1242" y="1158"/>
                      </a:lnTo>
                      <a:lnTo>
                        <a:pt x="1248" y="1158"/>
                      </a:lnTo>
                      <a:lnTo>
                        <a:pt x="1254" y="1164"/>
                      </a:lnTo>
                      <a:lnTo>
                        <a:pt x="1278" y="1176"/>
                      </a:lnTo>
                      <a:lnTo>
                        <a:pt x="1296" y="1182"/>
                      </a:lnTo>
                      <a:lnTo>
                        <a:pt x="1326" y="1182"/>
                      </a:lnTo>
                      <a:lnTo>
                        <a:pt x="1338" y="1176"/>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621" name="Indonesia"/>
                <p:cNvSpPr>
                  <a:spLocks noEditPoints="1"/>
                </p:cNvSpPr>
                <p:nvPr/>
              </p:nvSpPr>
              <p:spPr bwMode="gray">
                <a:xfrm>
                  <a:off x="4384" y="2193"/>
                  <a:ext cx="835" cy="333"/>
                </a:xfrm>
                <a:custGeom>
                  <a:avLst/>
                  <a:gdLst>
                    <a:gd name="T0" fmla="*/ 2147483647 w 3264"/>
                    <a:gd name="T1" fmla="*/ 2147483647 h 1302"/>
                    <a:gd name="T2" fmla="*/ 2147483647 w 3264"/>
                    <a:gd name="T3" fmla="*/ 2147483647 h 1302"/>
                    <a:gd name="T4" fmla="*/ 2147483647 w 3264"/>
                    <a:gd name="T5" fmla="*/ 2147483647 h 1302"/>
                    <a:gd name="T6" fmla="*/ 2147483647 w 3264"/>
                    <a:gd name="T7" fmla="*/ 2147483647 h 1302"/>
                    <a:gd name="T8" fmla="*/ 2147483647 w 3264"/>
                    <a:gd name="T9" fmla="*/ 2147483647 h 1302"/>
                    <a:gd name="T10" fmla="*/ 2147483647 w 3264"/>
                    <a:gd name="T11" fmla="*/ 2147483647 h 1302"/>
                    <a:gd name="T12" fmla="*/ 2147483647 w 3264"/>
                    <a:gd name="T13" fmla="*/ 2147483647 h 1302"/>
                    <a:gd name="T14" fmla="*/ 2147483647 w 3264"/>
                    <a:gd name="T15" fmla="*/ 2147483647 h 1302"/>
                    <a:gd name="T16" fmla="*/ 2147483647 w 3264"/>
                    <a:gd name="T17" fmla="*/ 2147483647 h 1302"/>
                    <a:gd name="T18" fmla="*/ 2147483647 w 3264"/>
                    <a:gd name="T19" fmla="*/ 2147483647 h 1302"/>
                    <a:gd name="T20" fmla="*/ 2147483647 w 3264"/>
                    <a:gd name="T21" fmla="*/ 2147483647 h 1302"/>
                    <a:gd name="T22" fmla="*/ 2147483647 w 3264"/>
                    <a:gd name="T23" fmla="*/ 2147483647 h 1302"/>
                    <a:gd name="T24" fmla="*/ 2147483647 w 3264"/>
                    <a:gd name="T25" fmla="*/ 2147483647 h 1302"/>
                    <a:gd name="T26" fmla="*/ 2147483647 w 3264"/>
                    <a:gd name="T27" fmla="*/ 2147483647 h 1302"/>
                    <a:gd name="T28" fmla="*/ 2147483647 w 3264"/>
                    <a:gd name="T29" fmla="*/ 2147483647 h 1302"/>
                    <a:gd name="T30" fmla="*/ 2147483647 w 3264"/>
                    <a:gd name="T31" fmla="*/ 2147483647 h 1302"/>
                    <a:gd name="T32" fmla="*/ 2147483647 w 3264"/>
                    <a:gd name="T33" fmla="*/ 2147483647 h 1302"/>
                    <a:gd name="T34" fmla="*/ 2147483647 w 3264"/>
                    <a:gd name="T35" fmla="*/ 2147483647 h 1302"/>
                    <a:gd name="T36" fmla="*/ 2147483647 w 3264"/>
                    <a:gd name="T37" fmla="*/ 2147483647 h 1302"/>
                    <a:gd name="T38" fmla="*/ 2147483647 w 3264"/>
                    <a:gd name="T39" fmla="*/ 2147483647 h 1302"/>
                    <a:gd name="T40" fmla="*/ 2147483647 w 3264"/>
                    <a:gd name="T41" fmla="*/ 2147483647 h 1302"/>
                    <a:gd name="T42" fmla="*/ 2147483647 w 3264"/>
                    <a:gd name="T43" fmla="*/ 2147483647 h 1302"/>
                    <a:gd name="T44" fmla="*/ 2147483647 w 3264"/>
                    <a:gd name="T45" fmla="*/ 2147483647 h 1302"/>
                    <a:gd name="T46" fmla="*/ 2147483647 w 3264"/>
                    <a:gd name="T47" fmla="*/ 2147483647 h 1302"/>
                    <a:gd name="T48" fmla="*/ 2147483647 w 3264"/>
                    <a:gd name="T49" fmla="*/ 2147483647 h 1302"/>
                    <a:gd name="T50" fmla="*/ 2147483647 w 3264"/>
                    <a:gd name="T51" fmla="*/ 2147483647 h 1302"/>
                    <a:gd name="T52" fmla="*/ 2147483647 w 3264"/>
                    <a:gd name="T53" fmla="*/ 2147483647 h 1302"/>
                    <a:gd name="T54" fmla="*/ 2147483647 w 3264"/>
                    <a:gd name="T55" fmla="*/ 2147483647 h 1302"/>
                    <a:gd name="T56" fmla="*/ 2147483647 w 3264"/>
                    <a:gd name="T57" fmla="*/ 2147483647 h 1302"/>
                    <a:gd name="T58" fmla="*/ 2147483647 w 3264"/>
                    <a:gd name="T59" fmla="*/ 2147483647 h 1302"/>
                    <a:gd name="T60" fmla="*/ 2147483647 w 3264"/>
                    <a:gd name="T61" fmla="*/ 2147483647 h 1302"/>
                    <a:gd name="T62" fmla="*/ 2147483647 w 3264"/>
                    <a:gd name="T63" fmla="*/ 2147483647 h 1302"/>
                    <a:gd name="T64" fmla="*/ 2147483647 w 3264"/>
                    <a:gd name="T65" fmla="*/ 2147483647 h 1302"/>
                    <a:gd name="T66" fmla="*/ 2147483647 w 3264"/>
                    <a:gd name="T67" fmla="*/ 2147483647 h 1302"/>
                    <a:gd name="T68" fmla="*/ 2147483647 w 3264"/>
                    <a:gd name="T69" fmla="*/ 2147483647 h 1302"/>
                    <a:gd name="T70" fmla="*/ 2147483647 w 3264"/>
                    <a:gd name="T71" fmla="*/ 2147483647 h 1302"/>
                    <a:gd name="T72" fmla="*/ 2147483647 w 3264"/>
                    <a:gd name="T73" fmla="*/ 2147483647 h 1302"/>
                    <a:gd name="T74" fmla="*/ 2147483647 w 3264"/>
                    <a:gd name="T75" fmla="*/ 2147483647 h 1302"/>
                    <a:gd name="T76" fmla="*/ 2147483647 w 3264"/>
                    <a:gd name="T77" fmla="*/ 2147483647 h 1302"/>
                    <a:gd name="T78" fmla="*/ 2147483647 w 3264"/>
                    <a:gd name="T79" fmla="*/ 2147483647 h 1302"/>
                    <a:gd name="T80" fmla="*/ 2147483647 w 3264"/>
                    <a:gd name="T81" fmla="*/ 2147483647 h 1302"/>
                    <a:gd name="T82" fmla="*/ 2147483647 w 3264"/>
                    <a:gd name="T83" fmla="*/ 2147483647 h 1302"/>
                    <a:gd name="T84" fmla="*/ 2147483647 w 3264"/>
                    <a:gd name="T85" fmla="*/ 2147483647 h 1302"/>
                    <a:gd name="T86" fmla="*/ 2147483647 w 3264"/>
                    <a:gd name="T87" fmla="*/ 2147483647 h 1302"/>
                    <a:gd name="T88" fmla="*/ 2147483647 w 3264"/>
                    <a:gd name="T89" fmla="*/ 2147483647 h 1302"/>
                    <a:gd name="T90" fmla="*/ 2147483647 w 3264"/>
                    <a:gd name="T91" fmla="*/ 2147483647 h 1302"/>
                    <a:gd name="T92" fmla="*/ 2147483647 w 3264"/>
                    <a:gd name="T93" fmla="*/ 2147483647 h 1302"/>
                    <a:gd name="T94" fmla="*/ 2147483647 w 3264"/>
                    <a:gd name="T95" fmla="*/ 2147483647 h 1302"/>
                    <a:gd name="T96" fmla="*/ 2147483647 w 3264"/>
                    <a:gd name="T97" fmla="*/ 2147483647 h 1302"/>
                    <a:gd name="T98" fmla="*/ 2147483647 w 3264"/>
                    <a:gd name="T99" fmla="*/ 2147483647 h 1302"/>
                    <a:gd name="T100" fmla="*/ 2147483647 w 3264"/>
                    <a:gd name="T101" fmla="*/ 2147483647 h 1302"/>
                    <a:gd name="T102" fmla="*/ 2147483647 w 3264"/>
                    <a:gd name="T103" fmla="*/ 2147483647 h 1302"/>
                    <a:gd name="T104" fmla="*/ 2147483647 w 3264"/>
                    <a:gd name="T105" fmla="*/ 2147483647 h 1302"/>
                    <a:gd name="T106" fmla="*/ 2147483647 w 3264"/>
                    <a:gd name="T107" fmla="*/ 2147483647 h 1302"/>
                    <a:gd name="T108" fmla="*/ 2147483647 w 3264"/>
                    <a:gd name="T109" fmla="*/ 2147483647 h 1302"/>
                    <a:gd name="T110" fmla="*/ 2147483647 w 3264"/>
                    <a:gd name="T111" fmla="*/ 2147483647 h 1302"/>
                    <a:gd name="T112" fmla="*/ 2147483647 w 3264"/>
                    <a:gd name="T113" fmla="*/ 2147483647 h 1302"/>
                    <a:gd name="T114" fmla="*/ 2147483647 w 3264"/>
                    <a:gd name="T115" fmla="*/ 2147483647 h 1302"/>
                    <a:gd name="T116" fmla="*/ 2147483647 w 3264"/>
                    <a:gd name="T117" fmla="*/ 2147483647 h 1302"/>
                    <a:gd name="T118" fmla="*/ 2147483647 w 3264"/>
                    <a:gd name="T119" fmla="*/ 2147483647 h 1302"/>
                    <a:gd name="T120" fmla="*/ 2147483647 w 3264"/>
                    <a:gd name="T121" fmla="*/ 2147483647 h 1302"/>
                    <a:gd name="T122" fmla="*/ 2147483647 w 3264"/>
                    <a:gd name="T123" fmla="*/ 2147483647 h 1302"/>
                    <a:gd name="T124" fmla="*/ 2147483647 w 3264"/>
                    <a:gd name="T125" fmla="*/ 2147483647 h 130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264"/>
                    <a:gd name="T190" fmla="*/ 0 h 1302"/>
                    <a:gd name="T191" fmla="*/ 3264 w 3264"/>
                    <a:gd name="T192" fmla="*/ 1302 h 130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264" h="1302">
                      <a:moveTo>
                        <a:pt x="1788" y="984"/>
                      </a:moveTo>
                      <a:lnTo>
                        <a:pt x="1806" y="978"/>
                      </a:lnTo>
                      <a:lnTo>
                        <a:pt x="1818" y="954"/>
                      </a:lnTo>
                      <a:lnTo>
                        <a:pt x="1812" y="930"/>
                      </a:lnTo>
                      <a:lnTo>
                        <a:pt x="1788" y="984"/>
                      </a:lnTo>
                      <a:close/>
                      <a:moveTo>
                        <a:pt x="672" y="462"/>
                      </a:moveTo>
                      <a:lnTo>
                        <a:pt x="702" y="480"/>
                      </a:lnTo>
                      <a:lnTo>
                        <a:pt x="702" y="450"/>
                      </a:lnTo>
                      <a:lnTo>
                        <a:pt x="672" y="426"/>
                      </a:lnTo>
                      <a:lnTo>
                        <a:pt x="672" y="462"/>
                      </a:lnTo>
                      <a:close/>
                      <a:moveTo>
                        <a:pt x="678" y="492"/>
                      </a:moveTo>
                      <a:lnTo>
                        <a:pt x="654" y="516"/>
                      </a:lnTo>
                      <a:lnTo>
                        <a:pt x="678" y="546"/>
                      </a:lnTo>
                      <a:lnTo>
                        <a:pt x="678" y="492"/>
                      </a:lnTo>
                      <a:close/>
                      <a:moveTo>
                        <a:pt x="906" y="714"/>
                      </a:moveTo>
                      <a:lnTo>
                        <a:pt x="930" y="732"/>
                      </a:lnTo>
                      <a:lnTo>
                        <a:pt x="936" y="708"/>
                      </a:lnTo>
                      <a:lnTo>
                        <a:pt x="936" y="702"/>
                      </a:lnTo>
                      <a:lnTo>
                        <a:pt x="930" y="696"/>
                      </a:lnTo>
                      <a:lnTo>
                        <a:pt x="930" y="690"/>
                      </a:lnTo>
                      <a:lnTo>
                        <a:pt x="912" y="672"/>
                      </a:lnTo>
                      <a:lnTo>
                        <a:pt x="900" y="666"/>
                      </a:lnTo>
                      <a:lnTo>
                        <a:pt x="888" y="666"/>
                      </a:lnTo>
                      <a:lnTo>
                        <a:pt x="882" y="672"/>
                      </a:lnTo>
                      <a:lnTo>
                        <a:pt x="876" y="684"/>
                      </a:lnTo>
                      <a:lnTo>
                        <a:pt x="882" y="696"/>
                      </a:lnTo>
                      <a:lnTo>
                        <a:pt x="882" y="708"/>
                      </a:lnTo>
                      <a:lnTo>
                        <a:pt x="888" y="720"/>
                      </a:lnTo>
                      <a:lnTo>
                        <a:pt x="906" y="714"/>
                      </a:lnTo>
                      <a:close/>
                      <a:moveTo>
                        <a:pt x="684" y="372"/>
                      </a:moveTo>
                      <a:lnTo>
                        <a:pt x="672" y="360"/>
                      </a:lnTo>
                      <a:lnTo>
                        <a:pt x="660" y="372"/>
                      </a:lnTo>
                      <a:lnTo>
                        <a:pt x="672" y="396"/>
                      </a:lnTo>
                      <a:lnTo>
                        <a:pt x="684" y="396"/>
                      </a:lnTo>
                      <a:lnTo>
                        <a:pt x="684" y="372"/>
                      </a:lnTo>
                      <a:close/>
                      <a:moveTo>
                        <a:pt x="750" y="624"/>
                      </a:moveTo>
                      <a:lnTo>
                        <a:pt x="750" y="630"/>
                      </a:lnTo>
                      <a:lnTo>
                        <a:pt x="756" y="636"/>
                      </a:lnTo>
                      <a:lnTo>
                        <a:pt x="756" y="648"/>
                      </a:lnTo>
                      <a:lnTo>
                        <a:pt x="774" y="684"/>
                      </a:lnTo>
                      <a:lnTo>
                        <a:pt x="786" y="690"/>
                      </a:lnTo>
                      <a:lnTo>
                        <a:pt x="804" y="696"/>
                      </a:lnTo>
                      <a:lnTo>
                        <a:pt x="816" y="702"/>
                      </a:lnTo>
                      <a:lnTo>
                        <a:pt x="834" y="702"/>
                      </a:lnTo>
                      <a:lnTo>
                        <a:pt x="828" y="660"/>
                      </a:lnTo>
                      <a:lnTo>
                        <a:pt x="810" y="648"/>
                      </a:lnTo>
                      <a:lnTo>
                        <a:pt x="810" y="618"/>
                      </a:lnTo>
                      <a:lnTo>
                        <a:pt x="804" y="606"/>
                      </a:lnTo>
                      <a:lnTo>
                        <a:pt x="792" y="600"/>
                      </a:lnTo>
                      <a:lnTo>
                        <a:pt x="786" y="588"/>
                      </a:lnTo>
                      <a:lnTo>
                        <a:pt x="768" y="582"/>
                      </a:lnTo>
                      <a:lnTo>
                        <a:pt x="756" y="576"/>
                      </a:lnTo>
                      <a:lnTo>
                        <a:pt x="732" y="576"/>
                      </a:lnTo>
                      <a:lnTo>
                        <a:pt x="732" y="582"/>
                      </a:lnTo>
                      <a:lnTo>
                        <a:pt x="726" y="588"/>
                      </a:lnTo>
                      <a:lnTo>
                        <a:pt x="726" y="600"/>
                      </a:lnTo>
                      <a:lnTo>
                        <a:pt x="714" y="600"/>
                      </a:lnTo>
                      <a:lnTo>
                        <a:pt x="714" y="606"/>
                      </a:lnTo>
                      <a:lnTo>
                        <a:pt x="708" y="612"/>
                      </a:lnTo>
                      <a:lnTo>
                        <a:pt x="714" y="624"/>
                      </a:lnTo>
                      <a:lnTo>
                        <a:pt x="750" y="624"/>
                      </a:lnTo>
                      <a:close/>
                      <a:moveTo>
                        <a:pt x="246" y="438"/>
                      </a:moveTo>
                      <a:lnTo>
                        <a:pt x="222" y="462"/>
                      </a:lnTo>
                      <a:lnTo>
                        <a:pt x="234" y="492"/>
                      </a:lnTo>
                      <a:lnTo>
                        <a:pt x="234" y="498"/>
                      </a:lnTo>
                      <a:lnTo>
                        <a:pt x="228" y="504"/>
                      </a:lnTo>
                      <a:lnTo>
                        <a:pt x="228" y="510"/>
                      </a:lnTo>
                      <a:lnTo>
                        <a:pt x="240" y="510"/>
                      </a:lnTo>
                      <a:lnTo>
                        <a:pt x="246" y="504"/>
                      </a:lnTo>
                      <a:lnTo>
                        <a:pt x="246" y="468"/>
                      </a:lnTo>
                      <a:lnTo>
                        <a:pt x="252" y="456"/>
                      </a:lnTo>
                      <a:lnTo>
                        <a:pt x="246" y="438"/>
                      </a:lnTo>
                      <a:close/>
                      <a:moveTo>
                        <a:pt x="264" y="534"/>
                      </a:moveTo>
                      <a:lnTo>
                        <a:pt x="258" y="546"/>
                      </a:lnTo>
                      <a:lnTo>
                        <a:pt x="258" y="588"/>
                      </a:lnTo>
                      <a:lnTo>
                        <a:pt x="264" y="600"/>
                      </a:lnTo>
                      <a:lnTo>
                        <a:pt x="276" y="612"/>
                      </a:lnTo>
                      <a:lnTo>
                        <a:pt x="288" y="612"/>
                      </a:lnTo>
                      <a:lnTo>
                        <a:pt x="294" y="606"/>
                      </a:lnTo>
                      <a:lnTo>
                        <a:pt x="294" y="588"/>
                      </a:lnTo>
                      <a:lnTo>
                        <a:pt x="288" y="576"/>
                      </a:lnTo>
                      <a:lnTo>
                        <a:pt x="282" y="558"/>
                      </a:lnTo>
                      <a:lnTo>
                        <a:pt x="282" y="546"/>
                      </a:lnTo>
                      <a:lnTo>
                        <a:pt x="276" y="534"/>
                      </a:lnTo>
                      <a:lnTo>
                        <a:pt x="264" y="534"/>
                      </a:lnTo>
                      <a:close/>
                      <a:moveTo>
                        <a:pt x="48" y="222"/>
                      </a:moveTo>
                      <a:lnTo>
                        <a:pt x="42" y="228"/>
                      </a:lnTo>
                      <a:lnTo>
                        <a:pt x="42" y="246"/>
                      </a:lnTo>
                      <a:lnTo>
                        <a:pt x="48" y="258"/>
                      </a:lnTo>
                      <a:lnTo>
                        <a:pt x="66" y="258"/>
                      </a:lnTo>
                      <a:lnTo>
                        <a:pt x="84" y="276"/>
                      </a:lnTo>
                      <a:lnTo>
                        <a:pt x="90" y="270"/>
                      </a:lnTo>
                      <a:lnTo>
                        <a:pt x="90" y="252"/>
                      </a:lnTo>
                      <a:lnTo>
                        <a:pt x="78" y="246"/>
                      </a:lnTo>
                      <a:lnTo>
                        <a:pt x="72" y="234"/>
                      </a:lnTo>
                      <a:lnTo>
                        <a:pt x="60" y="228"/>
                      </a:lnTo>
                      <a:lnTo>
                        <a:pt x="54" y="222"/>
                      </a:lnTo>
                      <a:lnTo>
                        <a:pt x="48" y="222"/>
                      </a:lnTo>
                      <a:close/>
                      <a:moveTo>
                        <a:pt x="162" y="330"/>
                      </a:moveTo>
                      <a:lnTo>
                        <a:pt x="156" y="330"/>
                      </a:lnTo>
                      <a:lnTo>
                        <a:pt x="144" y="342"/>
                      </a:lnTo>
                      <a:lnTo>
                        <a:pt x="144" y="354"/>
                      </a:lnTo>
                      <a:lnTo>
                        <a:pt x="156" y="366"/>
                      </a:lnTo>
                      <a:lnTo>
                        <a:pt x="162" y="378"/>
                      </a:lnTo>
                      <a:lnTo>
                        <a:pt x="174" y="390"/>
                      </a:lnTo>
                      <a:lnTo>
                        <a:pt x="180" y="402"/>
                      </a:lnTo>
                      <a:lnTo>
                        <a:pt x="192" y="414"/>
                      </a:lnTo>
                      <a:lnTo>
                        <a:pt x="198" y="408"/>
                      </a:lnTo>
                      <a:lnTo>
                        <a:pt x="198" y="402"/>
                      </a:lnTo>
                      <a:lnTo>
                        <a:pt x="204" y="390"/>
                      </a:lnTo>
                      <a:lnTo>
                        <a:pt x="204" y="384"/>
                      </a:lnTo>
                      <a:lnTo>
                        <a:pt x="198" y="372"/>
                      </a:lnTo>
                      <a:lnTo>
                        <a:pt x="198" y="366"/>
                      </a:lnTo>
                      <a:lnTo>
                        <a:pt x="192" y="360"/>
                      </a:lnTo>
                      <a:lnTo>
                        <a:pt x="186" y="348"/>
                      </a:lnTo>
                      <a:lnTo>
                        <a:pt x="180" y="342"/>
                      </a:lnTo>
                      <a:lnTo>
                        <a:pt x="168" y="336"/>
                      </a:lnTo>
                      <a:lnTo>
                        <a:pt x="162" y="330"/>
                      </a:lnTo>
                      <a:close/>
                      <a:moveTo>
                        <a:pt x="2574" y="486"/>
                      </a:moveTo>
                      <a:lnTo>
                        <a:pt x="2574" y="474"/>
                      </a:lnTo>
                      <a:lnTo>
                        <a:pt x="2568" y="474"/>
                      </a:lnTo>
                      <a:lnTo>
                        <a:pt x="2556" y="468"/>
                      </a:lnTo>
                      <a:lnTo>
                        <a:pt x="2520" y="468"/>
                      </a:lnTo>
                      <a:lnTo>
                        <a:pt x="2514" y="474"/>
                      </a:lnTo>
                      <a:lnTo>
                        <a:pt x="2520" y="498"/>
                      </a:lnTo>
                      <a:lnTo>
                        <a:pt x="2526" y="498"/>
                      </a:lnTo>
                      <a:lnTo>
                        <a:pt x="2538" y="492"/>
                      </a:lnTo>
                      <a:lnTo>
                        <a:pt x="2562" y="492"/>
                      </a:lnTo>
                      <a:lnTo>
                        <a:pt x="2568" y="486"/>
                      </a:lnTo>
                      <a:lnTo>
                        <a:pt x="2574" y="486"/>
                      </a:lnTo>
                      <a:close/>
                      <a:moveTo>
                        <a:pt x="336" y="648"/>
                      </a:moveTo>
                      <a:lnTo>
                        <a:pt x="342" y="648"/>
                      </a:lnTo>
                      <a:lnTo>
                        <a:pt x="342" y="636"/>
                      </a:lnTo>
                      <a:lnTo>
                        <a:pt x="330" y="624"/>
                      </a:lnTo>
                      <a:lnTo>
                        <a:pt x="318" y="624"/>
                      </a:lnTo>
                      <a:lnTo>
                        <a:pt x="318" y="636"/>
                      </a:lnTo>
                      <a:lnTo>
                        <a:pt x="330" y="648"/>
                      </a:lnTo>
                      <a:lnTo>
                        <a:pt x="336" y="648"/>
                      </a:lnTo>
                      <a:close/>
                      <a:moveTo>
                        <a:pt x="2472" y="654"/>
                      </a:moveTo>
                      <a:lnTo>
                        <a:pt x="2484" y="648"/>
                      </a:lnTo>
                      <a:lnTo>
                        <a:pt x="2502" y="630"/>
                      </a:lnTo>
                      <a:lnTo>
                        <a:pt x="2502" y="618"/>
                      </a:lnTo>
                      <a:lnTo>
                        <a:pt x="2430" y="612"/>
                      </a:lnTo>
                      <a:lnTo>
                        <a:pt x="2430" y="624"/>
                      </a:lnTo>
                      <a:lnTo>
                        <a:pt x="2436" y="630"/>
                      </a:lnTo>
                      <a:lnTo>
                        <a:pt x="2442" y="642"/>
                      </a:lnTo>
                      <a:lnTo>
                        <a:pt x="2448" y="648"/>
                      </a:lnTo>
                      <a:lnTo>
                        <a:pt x="2460" y="654"/>
                      </a:lnTo>
                      <a:lnTo>
                        <a:pt x="2472" y="654"/>
                      </a:lnTo>
                      <a:close/>
                      <a:moveTo>
                        <a:pt x="2406" y="288"/>
                      </a:moveTo>
                      <a:lnTo>
                        <a:pt x="2418" y="276"/>
                      </a:lnTo>
                      <a:lnTo>
                        <a:pt x="2418" y="264"/>
                      </a:lnTo>
                      <a:lnTo>
                        <a:pt x="2412" y="258"/>
                      </a:lnTo>
                      <a:lnTo>
                        <a:pt x="2400" y="252"/>
                      </a:lnTo>
                      <a:lnTo>
                        <a:pt x="2376" y="252"/>
                      </a:lnTo>
                      <a:lnTo>
                        <a:pt x="2370" y="258"/>
                      </a:lnTo>
                      <a:lnTo>
                        <a:pt x="2370" y="264"/>
                      </a:lnTo>
                      <a:lnTo>
                        <a:pt x="2394" y="288"/>
                      </a:lnTo>
                      <a:lnTo>
                        <a:pt x="2406" y="288"/>
                      </a:lnTo>
                      <a:close/>
                      <a:moveTo>
                        <a:pt x="2868" y="528"/>
                      </a:moveTo>
                      <a:lnTo>
                        <a:pt x="2886" y="534"/>
                      </a:lnTo>
                      <a:lnTo>
                        <a:pt x="2892" y="534"/>
                      </a:lnTo>
                      <a:lnTo>
                        <a:pt x="2898" y="528"/>
                      </a:lnTo>
                      <a:lnTo>
                        <a:pt x="2898" y="522"/>
                      </a:lnTo>
                      <a:lnTo>
                        <a:pt x="2874" y="510"/>
                      </a:lnTo>
                      <a:lnTo>
                        <a:pt x="2868" y="516"/>
                      </a:lnTo>
                      <a:lnTo>
                        <a:pt x="2862" y="516"/>
                      </a:lnTo>
                      <a:lnTo>
                        <a:pt x="2862" y="522"/>
                      </a:lnTo>
                      <a:lnTo>
                        <a:pt x="2868" y="528"/>
                      </a:lnTo>
                      <a:close/>
                      <a:moveTo>
                        <a:pt x="2916" y="618"/>
                      </a:moveTo>
                      <a:lnTo>
                        <a:pt x="2928" y="618"/>
                      </a:lnTo>
                      <a:lnTo>
                        <a:pt x="2940" y="612"/>
                      </a:lnTo>
                      <a:lnTo>
                        <a:pt x="2958" y="612"/>
                      </a:lnTo>
                      <a:lnTo>
                        <a:pt x="2964" y="606"/>
                      </a:lnTo>
                      <a:lnTo>
                        <a:pt x="2970" y="606"/>
                      </a:lnTo>
                      <a:lnTo>
                        <a:pt x="2964" y="606"/>
                      </a:lnTo>
                      <a:lnTo>
                        <a:pt x="2958" y="600"/>
                      </a:lnTo>
                      <a:lnTo>
                        <a:pt x="2946" y="594"/>
                      </a:lnTo>
                      <a:lnTo>
                        <a:pt x="2934" y="594"/>
                      </a:lnTo>
                      <a:lnTo>
                        <a:pt x="2928" y="588"/>
                      </a:lnTo>
                      <a:lnTo>
                        <a:pt x="2922" y="588"/>
                      </a:lnTo>
                      <a:lnTo>
                        <a:pt x="2910" y="594"/>
                      </a:lnTo>
                      <a:lnTo>
                        <a:pt x="2892" y="594"/>
                      </a:lnTo>
                      <a:lnTo>
                        <a:pt x="2886" y="600"/>
                      </a:lnTo>
                      <a:lnTo>
                        <a:pt x="2880" y="600"/>
                      </a:lnTo>
                      <a:lnTo>
                        <a:pt x="2892" y="606"/>
                      </a:lnTo>
                      <a:lnTo>
                        <a:pt x="2898" y="612"/>
                      </a:lnTo>
                      <a:lnTo>
                        <a:pt x="2910" y="618"/>
                      </a:lnTo>
                      <a:lnTo>
                        <a:pt x="2916" y="618"/>
                      </a:lnTo>
                      <a:close/>
                      <a:moveTo>
                        <a:pt x="1710" y="552"/>
                      </a:moveTo>
                      <a:lnTo>
                        <a:pt x="1710" y="564"/>
                      </a:lnTo>
                      <a:lnTo>
                        <a:pt x="1716" y="570"/>
                      </a:lnTo>
                      <a:lnTo>
                        <a:pt x="1716" y="582"/>
                      </a:lnTo>
                      <a:lnTo>
                        <a:pt x="1722" y="594"/>
                      </a:lnTo>
                      <a:lnTo>
                        <a:pt x="1722" y="612"/>
                      </a:lnTo>
                      <a:lnTo>
                        <a:pt x="1716" y="618"/>
                      </a:lnTo>
                      <a:lnTo>
                        <a:pt x="1692" y="630"/>
                      </a:lnTo>
                      <a:lnTo>
                        <a:pt x="1686" y="636"/>
                      </a:lnTo>
                      <a:lnTo>
                        <a:pt x="1674" y="642"/>
                      </a:lnTo>
                      <a:lnTo>
                        <a:pt x="1674" y="678"/>
                      </a:lnTo>
                      <a:lnTo>
                        <a:pt x="1680" y="684"/>
                      </a:lnTo>
                      <a:lnTo>
                        <a:pt x="1686" y="696"/>
                      </a:lnTo>
                      <a:lnTo>
                        <a:pt x="1674" y="708"/>
                      </a:lnTo>
                      <a:lnTo>
                        <a:pt x="1674" y="720"/>
                      </a:lnTo>
                      <a:lnTo>
                        <a:pt x="1680" y="726"/>
                      </a:lnTo>
                      <a:lnTo>
                        <a:pt x="1692" y="732"/>
                      </a:lnTo>
                      <a:lnTo>
                        <a:pt x="1698" y="726"/>
                      </a:lnTo>
                      <a:lnTo>
                        <a:pt x="1722" y="726"/>
                      </a:lnTo>
                      <a:lnTo>
                        <a:pt x="1728" y="732"/>
                      </a:lnTo>
                      <a:lnTo>
                        <a:pt x="1728" y="756"/>
                      </a:lnTo>
                      <a:lnTo>
                        <a:pt x="1722" y="762"/>
                      </a:lnTo>
                      <a:lnTo>
                        <a:pt x="1740" y="780"/>
                      </a:lnTo>
                      <a:lnTo>
                        <a:pt x="1728" y="846"/>
                      </a:lnTo>
                      <a:lnTo>
                        <a:pt x="1710" y="864"/>
                      </a:lnTo>
                      <a:lnTo>
                        <a:pt x="1704" y="876"/>
                      </a:lnTo>
                      <a:lnTo>
                        <a:pt x="1704" y="888"/>
                      </a:lnTo>
                      <a:lnTo>
                        <a:pt x="1710" y="906"/>
                      </a:lnTo>
                      <a:lnTo>
                        <a:pt x="1722" y="924"/>
                      </a:lnTo>
                      <a:lnTo>
                        <a:pt x="1746" y="936"/>
                      </a:lnTo>
                      <a:lnTo>
                        <a:pt x="1764" y="930"/>
                      </a:lnTo>
                      <a:lnTo>
                        <a:pt x="1788" y="906"/>
                      </a:lnTo>
                      <a:lnTo>
                        <a:pt x="1788" y="864"/>
                      </a:lnTo>
                      <a:lnTo>
                        <a:pt x="1782" y="858"/>
                      </a:lnTo>
                      <a:lnTo>
                        <a:pt x="1776" y="846"/>
                      </a:lnTo>
                      <a:lnTo>
                        <a:pt x="1800" y="822"/>
                      </a:lnTo>
                      <a:lnTo>
                        <a:pt x="1806" y="804"/>
                      </a:lnTo>
                      <a:lnTo>
                        <a:pt x="1806" y="774"/>
                      </a:lnTo>
                      <a:lnTo>
                        <a:pt x="1812" y="756"/>
                      </a:lnTo>
                      <a:lnTo>
                        <a:pt x="1812" y="726"/>
                      </a:lnTo>
                      <a:lnTo>
                        <a:pt x="1806" y="714"/>
                      </a:lnTo>
                      <a:lnTo>
                        <a:pt x="1800" y="696"/>
                      </a:lnTo>
                      <a:lnTo>
                        <a:pt x="1794" y="684"/>
                      </a:lnTo>
                      <a:lnTo>
                        <a:pt x="1794" y="636"/>
                      </a:lnTo>
                      <a:lnTo>
                        <a:pt x="1800" y="630"/>
                      </a:lnTo>
                      <a:lnTo>
                        <a:pt x="1800" y="624"/>
                      </a:lnTo>
                      <a:lnTo>
                        <a:pt x="1806" y="618"/>
                      </a:lnTo>
                      <a:lnTo>
                        <a:pt x="1812" y="618"/>
                      </a:lnTo>
                      <a:lnTo>
                        <a:pt x="1818" y="624"/>
                      </a:lnTo>
                      <a:lnTo>
                        <a:pt x="1824" y="642"/>
                      </a:lnTo>
                      <a:lnTo>
                        <a:pt x="1830" y="666"/>
                      </a:lnTo>
                      <a:lnTo>
                        <a:pt x="1836" y="684"/>
                      </a:lnTo>
                      <a:lnTo>
                        <a:pt x="1836" y="702"/>
                      </a:lnTo>
                      <a:lnTo>
                        <a:pt x="1866" y="738"/>
                      </a:lnTo>
                      <a:lnTo>
                        <a:pt x="1866" y="792"/>
                      </a:lnTo>
                      <a:lnTo>
                        <a:pt x="1890" y="822"/>
                      </a:lnTo>
                      <a:lnTo>
                        <a:pt x="1890" y="858"/>
                      </a:lnTo>
                      <a:lnTo>
                        <a:pt x="1902" y="930"/>
                      </a:lnTo>
                      <a:lnTo>
                        <a:pt x="1920" y="918"/>
                      </a:lnTo>
                      <a:lnTo>
                        <a:pt x="1962" y="930"/>
                      </a:lnTo>
                      <a:lnTo>
                        <a:pt x="1962" y="870"/>
                      </a:lnTo>
                      <a:lnTo>
                        <a:pt x="1968" y="864"/>
                      </a:lnTo>
                      <a:lnTo>
                        <a:pt x="1974" y="852"/>
                      </a:lnTo>
                      <a:lnTo>
                        <a:pt x="1980" y="876"/>
                      </a:lnTo>
                      <a:lnTo>
                        <a:pt x="1998" y="876"/>
                      </a:lnTo>
                      <a:lnTo>
                        <a:pt x="2004" y="870"/>
                      </a:lnTo>
                      <a:lnTo>
                        <a:pt x="2010" y="858"/>
                      </a:lnTo>
                      <a:lnTo>
                        <a:pt x="2010" y="828"/>
                      </a:lnTo>
                      <a:lnTo>
                        <a:pt x="2004" y="822"/>
                      </a:lnTo>
                      <a:lnTo>
                        <a:pt x="2004" y="816"/>
                      </a:lnTo>
                      <a:lnTo>
                        <a:pt x="1992" y="810"/>
                      </a:lnTo>
                      <a:lnTo>
                        <a:pt x="1986" y="798"/>
                      </a:lnTo>
                      <a:lnTo>
                        <a:pt x="1974" y="792"/>
                      </a:lnTo>
                      <a:lnTo>
                        <a:pt x="1962" y="780"/>
                      </a:lnTo>
                      <a:lnTo>
                        <a:pt x="1956" y="768"/>
                      </a:lnTo>
                      <a:lnTo>
                        <a:pt x="1944" y="756"/>
                      </a:lnTo>
                      <a:lnTo>
                        <a:pt x="1944" y="750"/>
                      </a:lnTo>
                      <a:lnTo>
                        <a:pt x="1956" y="726"/>
                      </a:lnTo>
                      <a:lnTo>
                        <a:pt x="1968" y="720"/>
                      </a:lnTo>
                      <a:lnTo>
                        <a:pt x="1968" y="708"/>
                      </a:lnTo>
                      <a:lnTo>
                        <a:pt x="1962" y="696"/>
                      </a:lnTo>
                      <a:lnTo>
                        <a:pt x="1938" y="684"/>
                      </a:lnTo>
                      <a:lnTo>
                        <a:pt x="1932" y="672"/>
                      </a:lnTo>
                      <a:lnTo>
                        <a:pt x="1932" y="642"/>
                      </a:lnTo>
                      <a:lnTo>
                        <a:pt x="1938" y="636"/>
                      </a:lnTo>
                      <a:lnTo>
                        <a:pt x="1938" y="630"/>
                      </a:lnTo>
                      <a:lnTo>
                        <a:pt x="1926" y="618"/>
                      </a:lnTo>
                      <a:lnTo>
                        <a:pt x="1914" y="612"/>
                      </a:lnTo>
                      <a:lnTo>
                        <a:pt x="1896" y="594"/>
                      </a:lnTo>
                      <a:lnTo>
                        <a:pt x="1884" y="588"/>
                      </a:lnTo>
                      <a:lnTo>
                        <a:pt x="1878" y="582"/>
                      </a:lnTo>
                      <a:lnTo>
                        <a:pt x="1914" y="582"/>
                      </a:lnTo>
                      <a:lnTo>
                        <a:pt x="1926" y="576"/>
                      </a:lnTo>
                      <a:lnTo>
                        <a:pt x="1932" y="570"/>
                      </a:lnTo>
                      <a:lnTo>
                        <a:pt x="1944" y="546"/>
                      </a:lnTo>
                      <a:lnTo>
                        <a:pt x="1950" y="540"/>
                      </a:lnTo>
                      <a:lnTo>
                        <a:pt x="1956" y="528"/>
                      </a:lnTo>
                      <a:lnTo>
                        <a:pt x="1992" y="528"/>
                      </a:lnTo>
                      <a:lnTo>
                        <a:pt x="2004" y="522"/>
                      </a:lnTo>
                      <a:lnTo>
                        <a:pt x="2010" y="522"/>
                      </a:lnTo>
                      <a:lnTo>
                        <a:pt x="2016" y="516"/>
                      </a:lnTo>
                      <a:lnTo>
                        <a:pt x="2016" y="504"/>
                      </a:lnTo>
                      <a:lnTo>
                        <a:pt x="1998" y="486"/>
                      </a:lnTo>
                      <a:lnTo>
                        <a:pt x="1986" y="480"/>
                      </a:lnTo>
                      <a:lnTo>
                        <a:pt x="1974" y="486"/>
                      </a:lnTo>
                      <a:lnTo>
                        <a:pt x="1956" y="504"/>
                      </a:lnTo>
                      <a:lnTo>
                        <a:pt x="1956" y="510"/>
                      </a:lnTo>
                      <a:lnTo>
                        <a:pt x="1944" y="510"/>
                      </a:lnTo>
                      <a:lnTo>
                        <a:pt x="1932" y="504"/>
                      </a:lnTo>
                      <a:lnTo>
                        <a:pt x="1896" y="504"/>
                      </a:lnTo>
                      <a:lnTo>
                        <a:pt x="1890" y="510"/>
                      </a:lnTo>
                      <a:lnTo>
                        <a:pt x="1884" y="522"/>
                      </a:lnTo>
                      <a:lnTo>
                        <a:pt x="1854" y="552"/>
                      </a:lnTo>
                      <a:lnTo>
                        <a:pt x="1848" y="546"/>
                      </a:lnTo>
                      <a:lnTo>
                        <a:pt x="1836" y="540"/>
                      </a:lnTo>
                      <a:lnTo>
                        <a:pt x="1824" y="516"/>
                      </a:lnTo>
                      <a:lnTo>
                        <a:pt x="1788" y="498"/>
                      </a:lnTo>
                      <a:lnTo>
                        <a:pt x="1776" y="498"/>
                      </a:lnTo>
                      <a:lnTo>
                        <a:pt x="1776" y="486"/>
                      </a:lnTo>
                      <a:lnTo>
                        <a:pt x="1782" y="468"/>
                      </a:lnTo>
                      <a:lnTo>
                        <a:pt x="1782" y="456"/>
                      </a:lnTo>
                      <a:lnTo>
                        <a:pt x="1794" y="420"/>
                      </a:lnTo>
                      <a:lnTo>
                        <a:pt x="1806" y="408"/>
                      </a:lnTo>
                      <a:lnTo>
                        <a:pt x="1824" y="408"/>
                      </a:lnTo>
                      <a:lnTo>
                        <a:pt x="1842" y="414"/>
                      </a:lnTo>
                      <a:lnTo>
                        <a:pt x="1896" y="414"/>
                      </a:lnTo>
                      <a:lnTo>
                        <a:pt x="1902" y="408"/>
                      </a:lnTo>
                      <a:lnTo>
                        <a:pt x="1908" y="408"/>
                      </a:lnTo>
                      <a:lnTo>
                        <a:pt x="1908" y="402"/>
                      </a:lnTo>
                      <a:lnTo>
                        <a:pt x="1914" y="396"/>
                      </a:lnTo>
                      <a:lnTo>
                        <a:pt x="1920" y="396"/>
                      </a:lnTo>
                      <a:lnTo>
                        <a:pt x="1944" y="402"/>
                      </a:lnTo>
                      <a:lnTo>
                        <a:pt x="1980" y="420"/>
                      </a:lnTo>
                      <a:lnTo>
                        <a:pt x="2010" y="432"/>
                      </a:lnTo>
                      <a:lnTo>
                        <a:pt x="2034" y="438"/>
                      </a:lnTo>
                      <a:lnTo>
                        <a:pt x="2040" y="438"/>
                      </a:lnTo>
                      <a:lnTo>
                        <a:pt x="2052" y="432"/>
                      </a:lnTo>
                      <a:lnTo>
                        <a:pt x="2064" y="420"/>
                      </a:lnTo>
                      <a:lnTo>
                        <a:pt x="2082" y="420"/>
                      </a:lnTo>
                      <a:lnTo>
                        <a:pt x="2094" y="414"/>
                      </a:lnTo>
                      <a:lnTo>
                        <a:pt x="2106" y="414"/>
                      </a:lnTo>
                      <a:lnTo>
                        <a:pt x="2112" y="408"/>
                      </a:lnTo>
                      <a:lnTo>
                        <a:pt x="2112" y="402"/>
                      </a:lnTo>
                      <a:lnTo>
                        <a:pt x="2106" y="396"/>
                      </a:lnTo>
                      <a:lnTo>
                        <a:pt x="2106" y="390"/>
                      </a:lnTo>
                      <a:lnTo>
                        <a:pt x="2118" y="378"/>
                      </a:lnTo>
                      <a:lnTo>
                        <a:pt x="2142" y="366"/>
                      </a:lnTo>
                      <a:lnTo>
                        <a:pt x="2148" y="360"/>
                      </a:lnTo>
                      <a:lnTo>
                        <a:pt x="2160" y="354"/>
                      </a:lnTo>
                      <a:lnTo>
                        <a:pt x="2148" y="324"/>
                      </a:lnTo>
                      <a:lnTo>
                        <a:pt x="2070" y="360"/>
                      </a:lnTo>
                      <a:lnTo>
                        <a:pt x="2076" y="366"/>
                      </a:lnTo>
                      <a:lnTo>
                        <a:pt x="2076" y="372"/>
                      </a:lnTo>
                      <a:lnTo>
                        <a:pt x="2070" y="378"/>
                      </a:lnTo>
                      <a:lnTo>
                        <a:pt x="2046" y="378"/>
                      </a:lnTo>
                      <a:lnTo>
                        <a:pt x="2022" y="366"/>
                      </a:lnTo>
                      <a:lnTo>
                        <a:pt x="2004" y="366"/>
                      </a:lnTo>
                      <a:lnTo>
                        <a:pt x="1968" y="384"/>
                      </a:lnTo>
                      <a:lnTo>
                        <a:pt x="1950" y="384"/>
                      </a:lnTo>
                      <a:lnTo>
                        <a:pt x="1938" y="378"/>
                      </a:lnTo>
                      <a:lnTo>
                        <a:pt x="1926" y="378"/>
                      </a:lnTo>
                      <a:lnTo>
                        <a:pt x="1902" y="366"/>
                      </a:lnTo>
                      <a:lnTo>
                        <a:pt x="1860" y="366"/>
                      </a:lnTo>
                      <a:lnTo>
                        <a:pt x="1872" y="348"/>
                      </a:lnTo>
                      <a:lnTo>
                        <a:pt x="1860" y="348"/>
                      </a:lnTo>
                      <a:lnTo>
                        <a:pt x="1848" y="342"/>
                      </a:lnTo>
                      <a:lnTo>
                        <a:pt x="1824" y="342"/>
                      </a:lnTo>
                      <a:lnTo>
                        <a:pt x="1824" y="366"/>
                      </a:lnTo>
                      <a:lnTo>
                        <a:pt x="1812" y="378"/>
                      </a:lnTo>
                      <a:lnTo>
                        <a:pt x="1788" y="390"/>
                      </a:lnTo>
                      <a:lnTo>
                        <a:pt x="1764" y="390"/>
                      </a:lnTo>
                      <a:lnTo>
                        <a:pt x="1758" y="396"/>
                      </a:lnTo>
                      <a:lnTo>
                        <a:pt x="1758" y="426"/>
                      </a:lnTo>
                      <a:lnTo>
                        <a:pt x="1740" y="432"/>
                      </a:lnTo>
                      <a:lnTo>
                        <a:pt x="1752" y="498"/>
                      </a:lnTo>
                      <a:lnTo>
                        <a:pt x="1740" y="498"/>
                      </a:lnTo>
                      <a:lnTo>
                        <a:pt x="1734" y="510"/>
                      </a:lnTo>
                      <a:lnTo>
                        <a:pt x="1728" y="516"/>
                      </a:lnTo>
                      <a:lnTo>
                        <a:pt x="1710" y="552"/>
                      </a:lnTo>
                      <a:close/>
                      <a:moveTo>
                        <a:pt x="1986" y="576"/>
                      </a:moveTo>
                      <a:lnTo>
                        <a:pt x="1986" y="594"/>
                      </a:lnTo>
                      <a:lnTo>
                        <a:pt x="1992" y="600"/>
                      </a:lnTo>
                      <a:lnTo>
                        <a:pt x="2004" y="600"/>
                      </a:lnTo>
                      <a:lnTo>
                        <a:pt x="2016" y="588"/>
                      </a:lnTo>
                      <a:lnTo>
                        <a:pt x="2016" y="576"/>
                      </a:lnTo>
                      <a:lnTo>
                        <a:pt x="1986" y="576"/>
                      </a:lnTo>
                      <a:close/>
                      <a:moveTo>
                        <a:pt x="1686" y="1110"/>
                      </a:moveTo>
                      <a:lnTo>
                        <a:pt x="1674" y="1110"/>
                      </a:lnTo>
                      <a:lnTo>
                        <a:pt x="1668" y="1116"/>
                      </a:lnTo>
                      <a:lnTo>
                        <a:pt x="1662" y="1116"/>
                      </a:lnTo>
                      <a:lnTo>
                        <a:pt x="1614" y="1104"/>
                      </a:lnTo>
                      <a:lnTo>
                        <a:pt x="1644" y="1146"/>
                      </a:lnTo>
                      <a:lnTo>
                        <a:pt x="1650" y="1152"/>
                      </a:lnTo>
                      <a:lnTo>
                        <a:pt x="1662" y="1158"/>
                      </a:lnTo>
                      <a:lnTo>
                        <a:pt x="1668" y="1164"/>
                      </a:lnTo>
                      <a:lnTo>
                        <a:pt x="1680" y="1170"/>
                      </a:lnTo>
                      <a:lnTo>
                        <a:pt x="1692" y="1158"/>
                      </a:lnTo>
                      <a:lnTo>
                        <a:pt x="1698" y="1140"/>
                      </a:lnTo>
                      <a:lnTo>
                        <a:pt x="1698" y="1128"/>
                      </a:lnTo>
                      <a:lnTo>
                        <a:pt x="1692" y="1116"/>
                      </a:lnTo>
                      <a:lnTo>
                        <a:pt x="1686" y="1110"/>
                      </a:lnTo>
                      <a:close/>
                      <a:moveTo>
                        <a:pt x="2094" y="1104"/>
                      </a:moveTo>
                      <a:lnTo>
                        <a:pt x="2064" y="1128"/>
                      </a:lnTo>
                      <a:lnTo>
                        <a:pt x="2094" y="1134"/>
                      </a:lnTo>
                      <a:lnTo>
                        <a:pt x="2094" y="1104"/>
                      </a:lnTo>
                      <a:close/>
                      <a:moveTo>
                        <a:pt x="486" y="294"/>
                      </a:moveTo>
                      <a:lnTo>
                        <a:pt x="474" y="288"/>
                      </a:lnTo>
                      <a:lnTo>
                        <a:pt x="468" y="288"/>
                      </a:lnTo>
                      <a:lnTo>
                        <a:pt x="456" y="294"/>
                      </a:lnTo>
                      <a:lnTo>
                        <a:pt x="456" y="312"/>
                      </a:lnTo>
                      <a:lnTo>
                        <a:pt x="468" y="324"/>
                      </a:lnTo>
                      <a:lnTo>
                        <a:pt x="474" y="318"/>
                      </a:lnTo>
                      <a:lnTo>
                        <a:pt x="486" y="318"/>
                      </a:lnTo>
                      <a:lnTo>
                        <a:pt x="486" y="312"/>
                      </a:lnTo>
                      <a:lnTo>
                        <a:pt x="492" y="300"/>
                      </a:lnTo>
                      <a:lnTo>
                        <a:pt x="486" y="294"/>
                      </a:lnTo>
                      <a:close/>
                      <a:moveTo>
                        <a:pt x="2346" y="588"/>
                      </a:moveTo>
                      <a:lnTo>
                        <a:pt x="2340" y="576"/>
                      </a:lnTo>
                      <a:lnTo>
                        <a:pt x="2328" y="570"/>
                      </a:lnTo>
                      <a:lnTo>
                        <a:pt x="2310" y="552"/>
                      </a:lnTo>
                      <a:lnTo>
                        <a:pt x="2304" y="552"/>
                      </a:lnTo>
                      <a:lnTo>
                        <a:pt x="2304" y="600"/>
                      </a:lnTo>
                      <a:lnTo>
                        <a:pt x="2316" y="600"/>
                      </a:lnTo>
                      <a:lnTo>
                        <a:pt x="2328" y="606"/>
                      </a:lnTo>
                      <a:lnTo>
                        <a:pt x="2334" y="606"/>
                      </a:lnTo>
                      <a:lnTo>
                        <a:pt x="2346" y="600"/>
                      </a:lnTo>
                      <a:lnTo>
                        <a:pt x="2346" y="588"/>
                      </a:lnTo>
                      <a:close/>
                      <a:moveTo>
                        <a:pt x="2310" y="474"/>
                      </a:moveTo>
                      <a:lnTo>
                        <a:pt x="2340" y="504"/>
                      </a:lnTo>
                      <a:lnTo>
                        <a:pt x="2358" y="516"/>
                      </a:lnTo>
                      <a:lnTo>
                        <a:pt x="2382" y="528"/>
                      </a:lnTo>
                      <a:lnTo>
                        <a:pt x="2400" y="528"/>
                      </a:lnTo>
                      <a:lnTo>
                        <a:pt x="2400" y="522"/>
                      </a:lnTo>
                      <a:lnTo>
                        <a:pt x="2358" y="480"/>
                      </a:lnTo>
                      <a:lnTo>
                        <a:pt x="2358" y="468"/>
                      </a:lnTo>
                      <a:lnTo>
                        <a:pt x="2364" y="456"/>
                      </a:lnTo>
                      <a:lnTo>
                        <a:pt x="2376" y="450"/>
                      </a:lnTo>
                      <a:lnTo>
                        <a:pt x="2394" y="450"/>
                      </a:lnTo>
                      <a:lnTo>
                        <a:pt x="2406" y="456"/>
                      </a:lnTo>
                      <a:lnTo>
                        <a:pt x="2424" y="444"/>
                      </a:lnTo>
                      <a:lnTo>
                        <a:pt x="2400" y="432"/>
                      </a:lnTo>
                      <a:lnTo>
                        <a:pt x="2412" y="426"/>
                      </a:lnTo>
                      <a:lnTo>
                        <a:pt x="2424" y="402"/>
                      </a:lnTo>
                      <a:lnTo>
                        <a:pt x="2412" y="378"/>
                      </a:lnTo>
                      <a:lnTo>
                        <a:pt x="2400" y="372"/>
                      </a:lnTo>
                      <a:lnTo>
                        <a:pt x="2382" y="372"/>
                      </a:lnTo>
                      <a:lnTo>
                        <a:pt x="2358" y="396"/>
                      </a:lnTo>
                      <a:lnTo>
                        <a:pt x="2346" y="402"/>
                      </a:lnTo>
                      <a:lnTo>
                        <a:pt x="2340" y="408"/>
                      </a:lnTo>
                      <a:lnTo>
                        <a:pt x="2334" y="408"/>
                      </a:lnTo>
                      <a:lnTo>
                        <a:pt x="2328" y="402"/>
                      </a:lnTo>
                      <a:lnTo>
                        <a:pt x="2328" y="366"/>
                      </a:lnTo>
                      <a:lnTo>
                        <a:pt x="2334" y="360"/>
                      </a:lnTo>
                      <a:lnTo>
                        <a:pt x="2346" y="336"/>
                      </a:lnTo>
                      <a:lnTo>
                        <a:pt x="2346" y="318"/>
                      </a:lnTo>
                      <a:lnTo>
                        <a:pt x="2340" y="312"/>
                      </a:lnTo>
                      <a:lnTo>
                        <a:pt x="2358" y="276"/>
                      </a:lnTo>
                      <a:lnTo>
                        <a:pt x="2316" y="312"/>
                      </a:lnTo>
                      <a:lnTo>
                        <a:pt x="2316" y="342"/>
                      </a:lnTo>
                      <a:lnTo>
                        <a:pt x="2304" y="348"/>
                      </a:lnTo>
                      <a:lnTo>
                        <a:pt x="2298" y="354"/>
                      </a:lnTo>
                      <a:lnTo>
                        <a:pt x="2286" y="378"/>
                      </a:lnTo>
                      <a:lnTo>
                        <a:pt x="2286" y="408"/>
                      </a:lnTo>
                      <a:lnTo>
                        <a:pt x="2298" y="420"/>
                      </a:lnTo>
                      <a:lnTo>
                        <a:pt x="2304" y="432"/>
                      </a:lnTo>
                      <a:lnTo>
                        <a:pt x="2310" y="438"/>
                      </a:lnTo>
                      <a:lnTo>
                        <a:pt x="2310" y="444"/>
                      </a:lnTo>
                      <a:lnTo>
                        <a:pt x="2304" y="450"/>
                      </a:lnTo>
                      <a:lnTo>
                        <a:pt x="2304" y="468"/>
                      </a:lnTo>
                      <a:lnTo>
                        <a:pt x="2310" y="474"/>
                      </a:lnTo>
                      <a:close/>
                      <a:moveTo>
                        <a:pt x="2250" y="708"/>
                      </a:moveTo>
                      <a:lnTo>
                        <a:pt x="2238" y="696"/>
                      </a:lnTo>
                      <a:lnTo>
                        <a:pt x="2214" y="708"/>
                      </a:lnTo>
                      <a:lnTo>
                        <a:pt x="2214" y="732"/>
                      </a:lnTo>
                      <a:lnTo>
                        <a:pt x="2220" y="744"/>
                      </a:lnTo>
                      <a:lnTo>
                        <a:pt x="2226" y="750"/>
                      </a:lnTo>
                      <a:lnTo>
                        <a:pt x="2250" y="762"/>
                      </a:lnTo>
                      <a:lnTo>
                        <a:pt x="2274" y="762"/>
                      </a:lnTo>
                      <a:lnTo>
                        <a:pt x="2280" y="750"/>
                      </a:lnTo>
                      <a:lnTo>
                        <a:pt x="2280" y="738"/>
                      </a:lnTo>
                      <a:lnTo>
                        <a:pt x="2274" y="726"/>
                      </a:lnTo>
                      <a:lnTo>
                        <a:pt x="2274" y="714"/>
                      </a:lnTo>
                      <a:lnTo>
                        <a:pt x="2268" y="708"/>
                      </a:lnTo>
                      <a:lnTo>
                        <a:pt x="2268" y="702"/>
                      </a:lnTo>
                      <a:lnTo>
                        <a:pt x="2250" y="708"/>
                      </a:lnTo>
                      <a:close/>
                      <a:moveTo>
                        <a:pt x="2148" y="1104"/>
                      </a:moveTo>
                      <a:lnTo>
                        <a:pt x="2226" y="1092"/>
                      </a:lnTo>
                      <a:lnTo>
                        <a:pt x="2166" y="1074"/>
                      </a:lnTo>
                      <a:lnTo>
                        <a:pt x="2148" y="1104"/>
                      </a:lnTo>
                      <a:close/>
                      <a:moveTo>
                        <a:pt x="2544" y="750"/>
                      </a:moveTo>
                      <a:lnTo>
                        <a:pt x="2520" y="732"/>
                      </a:lnTo>
                      <a:lnTo>
                        <a:pt x="2526" y="714"/>
                      </a:lnTo>
                      <a:lnTo>
                        <a:pt x="2514" y="702"/>
                      </a:lnTo>
                      <a:lnTo>
                        <a:pt x="2508" y="690"/>
                      </a:lnTo>
                      <a:lnTo>
                        <a:pt x="2490" y="684"/>
                      </a:lnTo>
                      <a:lnTo>
                        <a:pt x="2472" y="672"/>
                      </a:lnTo>
                      <a:lnTo>
                        <a:pt x="2442" y="666"/>
                      </a:lnTo>
                      <a:lnTo>
                        <a:pt x="2424" y="666"/>
                      </a:lnTo>
                      <a:lnTo>
                        <a:pt x="2388" y="684"/>
                      </a:lnTo>
                      <a:lnTo>
                        <a:pt x="2358" y="684"/>
                      </a:lnTo>
                      <a:lnTo>
                        <a:pt x="2346" y="696"/>
                      </a:lnTo>
                      <a:lnTo>
                        <a:pt x="2340" y="708"/>
                      </a:lnTo>
                      <a:lnTo>
                        <a:pt x="2340" y="726"/>
                      </a:lnTo>
                      <a:lnTo>
                        <a:pt x="2346" y="732"/>
                      </a:lnTo>
                      <a:lnTo>
                        <a:pt x="2364" y="714"/>
                      </a:lnTo>
                      <a:lnTo>
                        <a:pt x="2364" y="726"/>
                      </a:lnTo>
                      <a:lnTo>
                        <a:pt x="2370" y="738"/>
                      </a:lnTo>
                      <a:lnTo>
                        <a:pt x="2376" y="744"/>
                      </a:lnTo>
                      <a:lnTo>
                        <a:pt x="2388" y="738"/>
                      </a:lnTo>
                      <a:lnTo>
                        <a:pt x="2394" y="732"/>
                      </a:lnTo>
                      <a:lnTo>
                        <a:pt x="2394" y="726"/>
                      </a:lnTo>
                      <a:lnTo>
                        <a:pt x="2400" y="720"/>
                      </a:lnTo>
                      <a:lnTo>
                        <a:pt x="2400" y="714"/>
                      </a:lnTo>
                      <a:lnTo>
                        <a:pt x="2406" y="726"/>
                      </a:lnTo>
                      <a:lnTo>
                        <a:pt x="2418" y="732"/>
                      </a:lnTo>
                      <a:lnTo>
                        <a:pt x="2430" y="732"/>
                      </a:lnTo>
                      <a:lnTo>
                        <a:pt x="2442" y="720"/>
                      </a:lnTo>
                      <a:lnTo>
                        <a:pt x="2454" y="714"/>
                      </a:lnTo>
                      <a:lnTo>
                        <a:pt x="2460" y="708"/>
                      </a:lnTo>
                      <a:lnTo>
                        <a:pt x="2472" y="762"/>
                      </a:lnTo>
                      <a:lnTo>
                        <a:pt x="2502" y="738"/>
                      </a:lnTo>
                      <a:lnTo>
                        <a:pt x="2538" y="774"/>
                      </a:lnTo>
                      <a:lnTo>
                        <a:pt x="2544" y="750"/>
                      </a:lnTo>
                      <a:close/>
                      <a:moveTo>
                        <a:pt x="3264" y="678"/>
                      </a:moveTo>
                      <a:lnTo>
                        <a:pt x="3222" y="648"/>
                      </a:lnTo>
                      <a:lnTo>
                        <a:pt x="3210" y="648"/>
                      </a:lnTo>
                      <a:lnTo>
                        <a:pt x="3198" y="654"/>
                      </a:lnTo>
                      <a:lnTo>
                        <a:pt x="3180" y="654"/>
                      </a:lnTo>
                      <a:lnTo>
                        <a:pt x="3162" y="648"/>
                      </a:lnTo>
                      <a:lnTo>
                        <a:pt x="3126" y="630"/>
                      </a:lnTo>
                      <a:lnTo>
                        <a:pt x="3096" y="612"/>
                      </a:lnTo>
                      <a:lnTo>
                        <a:pt x="3060" y="594"/>
                      </a:lnTo>
                      <a:lnTo>
                        <a:pt x="3042" y="582"/>
                      </a:lnTo>
                      <a:lnTo>
                        <a:pt x="3030" y="582"/>
                      </a:lnTo>
                      <a:lnTo>
                        <a:pt x="3006" y="594"/>
                      </a:lnTo>
                      <a:lnTo>
                        <a:pt x="3000" y="600"/>
                      </a:lnTo>
                      <a:lnTo>
                        <a:pt x="2988" y="606"/>
                      </a:lnTo>
                      <a:lnTo>
                        <a:pt x="3006" y="630"/>
                      </a:lnTo>
                      <a:lnTo>
                        <a:pt x="2928" y="642"/>
                      </a:lnTo>
                      <a:lnTo>
                        <a:pt x="2934" y="666"/>
                      </a:lnTo>
                      <a:lnTo>
                        <a:pt x="2928" y="678"/>
                      </a:lnTo>
                      <a:lnTo>
                        <a:pt x="2922" y="684"/>
                      </a:lnTo>
                      <a:lnTo>
                        <a:pt x="2916" y="696"/>
                      </a:lnTo>
                      <a:lnTo>
                        <a:pt x="2880" y="720"/>
                      </a:lnTo>
                      <a:lnTo>
                        <a:pt x="2862" y="726"/>
                      </a:lnTo>
                      <a:lnTo>
                        <a:pt x="2844" y="726"/>
                      </a:lnTo>
                      <a:lnTo>
                        <a:pt x="2832" y="720"/>
                      </a:lnTo>
                      <a:lnTo>
                        <a:pt x="2826" y="714"/>
                      </a:lnTo>
                      <a:lnTo>
                        <a:pt x="2820" y="702"/>
                      </a:lnTo>
                      <a:lnTo>
                        <a:pt x="2820" y="678"/>
                      </a:lnTo>
                      <a:lnTo>
                        <a:pt x="2814" y="672"/>
                      </a:lnTo>
                      <a:lnTo>
                        <a:pt x="2814" y="660"/>
                      </a:lnTo>
                      <a:lnTo>
                        <a:pt x="2808" y="666"/>
                      </a:lnTo>
                      <a:lnTo>
                        <a:pt x="2808" y="672"/>
                      </a:lnTo>
                      <a:lnTo>
                        <a:pt x="2802" y="684"/>
                      </a:lnTo>
                      <a:lnTo>
                        <a:pt x="2796" y="690"/>
                      </a:lnTo>
                      <a:lnTo>
                        <a:pt x="2796" y="696"/>
                      </a:lnTo>
                      <a:lnTo>
                        <a:pt x="2796" y="690"/>
                      </a:lnTo>
                      <a:lnTo>
                        <a:pt x="2790" y="684"/>
                      </a:lnTo>
                      <a:lnTo>
                        <a:pt x="2790" y="672"/>
                      </a:lnTo>
                      <a:lnTo>
                        <a:pt x="2784" y="660"/>
                      </a:lnTo>
                      <a:lnTo>
                        <a:pt x="2784" y="576"/>
                      </a:lnTo>
                      <a:lnTo>
                        <a:pt x="2778" y="558"/>
                      </a:lnTo>
                      <a:lnTo>
                        <a:pt x="2760" y="522"/>
                      </a:lnTo>
                      <a:lnTo>
                        <a:pt x="2724" y="522"/>
                      </a:lnTo>
                      <a:lnTo>
                        <a:pt x="2718" y="510"/>
                      </a:lnTo>
                      <a:lnTo>
                        <a:pt x="2694" y="498"/>
                      </a:lnTo>
                      <a:lnTo>
                        <a:pt x="2676" y="486"/>
                      </a:lnTo>
                      <a:lnTo>
                        <a:pt x="2652" y="486"/>
                      </a:lnTo>
                      <a:lnTo>
                        <a:pt x="2634" y="498"/>
                      </a:lnTo>
                      <a:lnTo>
                        <a:pt x="2628" y="504"/>
                      </a:lnTo>
                      <a:lnTo>
                        <a:pt x="2616" y="510"/>
                      </a:lnTo>
                      <a:lnTo>
                        <a:pt x="2610" y="522"/>
                      </a:lnTo>
                      <a:lnTo>
                        <a:pt x="2586" y="528"/>
                      </a:lnTo>
                      <a:lnTo>
                        <a:pt x="2580" y="546"/>
                      </a:lnTo>
                      <a:lnTo>
                        <a:pt x="2562" y="558"/>
                      </a:lnTo>
                      <a:lnTo>
                        <a:pt x="2562" y="540"/>
                      </a:lnTo>
                      <a:lnTo>
                        <a:pt x="2556" y="534"/>
                      </a:lnTo>
                      <a:lnTo>
                        <a:pt x="2532" y="534"/>
                      </a:lnTo>
                      <a:lnTo>
                        <a:pt x="2532" y="546"/>
                      </a:lnTo>
                      <a:lnTo>
                        <a:pt x="2544" y="570"/>
                      </a:lnTo>
                      <a:lnTo>
                        <a:pt x="2568" y="582"/>
                      </a:lnTo>
                      <a:lnTo>
                        <a:pt x="2604" y="582"/>
                      </a:lnTo>
                      <a:lnTo>
                        <a:pt x="2616" y="588"/>
                      </a:lnTo>
                      <a:lnTo>
                        <a:pt x="2622" y="594"/>
                      </a:lnTo>
                      <a:lnTo>
                        <a:pt x="2628" y="594"/>
                      </a:lnTo>
                      <a:lnTo>
                        <a:pt x="2628" y="618"/>
                      </a:lnTo>
                      <a:lnTo>
                        <a:pt x="2634" y="630"/>
                      </a:lnTo>
                      <a:lnTo>
                        <a:pt x="2640" y="636"/>
                      </a:lnTo>
                      <a:lnTo>
                        <a:pt x="2652" y="642"/>
                      </a:lnTo>
                      <a:lnTo>
                        <a:pt x="2694" y="642"/>
                      </a:lnTo>
                      <a:lnTo>
                        <a:pt x="2712" y="636"/>
                      </a:lnTo>
                      <a:lnTo>
                        <a:pt x="2754" y="636"/>
                      </a:lnTo>
                      <a:lnTo>
                        <a:pt x="2760" y="642"/>
                      </a:lnTo>
                      <a:lnTo>
                        <a:pt x="2760" y="660"/>
                      </a:lnTo>
                      <a:lnTo>
                        <a:pt x="2700" y="660"/>
                      </a:lnTo>
                      <a:lnTo>
                        <a:pt x="2688" y="666"/>
                      </a:lnTo>
                      <a:lnTo>
                        <a:pt x="2676" y="678"/>
                      </a:lnTo>
                      <a:lnTo>
                        <a:pt x="2640" y="678"/>
                      </a:lnTo>
                      <a:lnTo>
                        <a:pt x="2616" y="690"/>
                      </a:lnTo>
                      <a:lnTo>
                        <a:pt x="2616" y="696"/>
                      </a:lnTo>
                      <a:lnTo>
                        <a:pt x="2622" y="696"/>
                      </a:lnTo>
                      <a:lnTo>
                        <a:pt x="2646" y="708"/>
                      </a:lnTo>
                      <a:lnTo>
                        <a:pt x="2658" y="708"/>
                      </a:lnTo>
                      <a:lnTo>
                        <a:pt x="2676" y="726"/>
                      </a:lnTo>
                      <a:lnTo>
                        <a:pt x="2682" y="738"/>
                      </a:lnTo>
                      <a:lnTo>
                        <a:pt x="2688" y="744"/>
                      </a:lnTo>
                      <a:lnTo>
                        <a:pt x="2682" y="750"/>
                      </a:lnTo>
                      <a:lnTo>
                        <a:pt x="2676" y="762"/>
                      </a:lnTo>
                      <a:lnTo>
                        <a:pt x="2676" y="774"/>
                      </a:lnTo>
                      <a:lnTo>
                        <a:pt x="2670" y="780"/>
                      </a:lnTo>
                      <a:lnTo>
                        <a:pt x="2676" y="792"/>
                      </a:lnTo>
                      <a:lnTo>
                        <a:pt x="2682" y="798"/>
                      </a:lnTo>
                      <a:lnTo>
                        <a:pt x="2694" y="792"/>
                      </a:lnTo>
                      <a:lnTo>
                        <a:pt x="2706" y="780"/>
                      </a:lnTo>
                      <a:lnTo>
                        <a:pt x="2712" y="768"/>
                      </a:lnTo>
                      <a:lnTo>
                        <a:pt x="2718" y="762"/>
                      </a:lnTo>
                      <a:lnTo>
                        <a:pt x="2718" y="750"/>
                      </a:lnTo>
                      <a:lnTo>
                        <a:pt x="2724" y="744"/>
                      </a:lnTo>
                      <a:lnTo>
                        <a:pt x="2736" y="720"/>
                      </a:lnTo>
                      <a:lnTo>
                        <a:pt x="2742" y="714"/>
                      </a:lnTo>
                      <a:lnTo>
                        <a:pt x="2748" y="702"/>
                      </a:lnTo>
                      <a:lnTo>
                        <a:pt x="2748" y="744"/>
                      </a:lnTo>
                      <a:lnTo>
                        <a:pt x="2754" y="750"/>
                      </a:lnTo>
                      <a:lnTo>
                        <a:pt x="2766" y="756"/>
                      </a:lnTo>
                      <a:lnTo>
                        <a:pt x="2772" y="768"/>
                      </a:lnTo>
                      <a:lnTo>
                        <a:pt x="2784" y="774"/>
                      </a:lnTo>
                      <a:lnTo>
                        <a:pt x="2790" y="780"/>
                      </a:lnTo>
                      <a:lnTo>
                        <a:pt x="2814" y="780"/>
                      </a:lnTo>
                      <a:lnTo>
                        <a:pt x="2820" y="774"/>
                      </a:lnTo>
                      <a:lnTo>
                        <a:pt x="2826" y="774"/>
                      </a:lnTo>
                      <a:lnTo>
                        <a:pt x="2814" y="792"/>
                      </a:lnTo>
                      <a:lnTo>
                        <a:pt x="2844" y="822"/>
                      </a:lnTo>
                      <a:lnTo>
                        <a:pt x="2904" y="822"/>
                      </a:lnTo>
                      <a:lnTo>
                        <a:pt x="2940" y="846"/>
                      </a:lnTo>
                      <a:lnTo>
                        <a:pt x="2976" y="864"/>
                      </a:lnTo>
                      <a:lnTo>
                        <a:pt x="3006" y="876"/>
                      </a:lnTo>
                      <a:lnTo>
                        <a:pt x="3036" y="894"/>
                      </a:lnTo>
                      <a:lnTo>
                        <a:pt x="3066" y="924"/>
                      </a:lnTo>
                      <a:lnTo>
                        <a:pt x="3066" y="972"/>
                      </a:lnTo>
                      <a:lnTo>
                        <a:pt x="3090" y="996"/>
                      </a:lnTo>
                      <a:lnTo>
                        <a:pt x="3102" y="1002"/>
                      </a:lnTo>
                      <a:lnTo>
                        <a:pt x="3096" y="1002"/>
                      </a:lnTo>
                      <a:lnTo>
                        <a:pt x="3084" y="1008"/>
                      </a:lnTo>
                      <a:lnTo>
                        <a:pt x="3078" y="1014"/>
                      </a:lnTo>
                      <a:lnTo>
                        <a:pt x="3078" y="1020"/>
                      </a:lnTo>
                      <a:lnTo>
                        <a:pt x="3090" y="1032"/>
                      </a:lnTo>
                      <a:lnTo>
                        <a:pt x="3114" y="1032"/>
                      </a:lnTo>
                      <a:lnTo>
                        <a:pt x="3090" y="1044"/>
                      </a:lnTo>
                      <a:lnTo>
                        <a:pt x="3090" y="1056"/>
                      </a:lnTo>
                      <a:lnTo>
                        <a:pt x="3102" y="1062"/>
                      </a:lnTo>
                      <a:lnTo>
                        <a:pt x="3108" y="1092"/>
                      </a:lnTo>
                      <a:lnTo>
                        <a:pt x="3096" y="1122"/>
                      </a:lnTo>
                      <a:lnTo>
                        <a:pt x="3120" y="1122"/>
                      </a:lnTo>
                      <a:lnTo>
                        <a:pt x="3126" y="1116"/>
                      </a:lnTo>
                      <a:lnTo>
                        <a:pt x="3138" y="1116"/>
                      </a:lnTo>
                      <a:lnTo>
                        <a:pt x="3150" y="1110"/>
                      </a:lnTo>
                      <a:lnTo>
                        <a:pt x="3162" y="1110"/>
                      </a:lnTo>
                      <a:lnTo>
                        <a:pt x="3168" y="1104"/>
                      </a:lnTo>
                      <a:lnTo>
                        <a:pt x="3174" y="1104"/>
                      </a:lnTo>
                      <a:lnTo>
                        <a:pt x="3174" y="1134"/>
                      </a:lnTo>
                      <a:lnTo>
                        <a:pt x="3234" y="1194"/>
                      </a:lnTo>
                      <a:lnTo>
                        <a:pt x="3240" y="1194"/>
                      </a:lnTo>
                      <a:lnTo>
                        <a:pt x="3240" y="1146"/>
                      </a:lnTo>
                      <a:lnTo>
                        <a:pt x="3234" y="1122"/>
                      </a:lnTo>
                      <a:lnTo>
                        <a:pt x="3234" y="1116"/>
                      </a:lnTo>
                      <a:lnTo>
                        <a:pt x="3240" y="1110"/>
                      </a:lnTo>
                      <a:lnTo>
                        <a:pt x="3240" y="1098"/>
                      </a:lnTo>
                      <a:lnTo>
                        <a:pt x="3246" y="1086"/>
                      </a:lnTo>
                      <a:lnTo>
                        <a:pt x="3246" y="1062"/>
                      </a:lnTo>
                      <a:lnTo>
                        <a:pt x="3252" y="1050"/>
                      </a:lnTo>
                      <a:lnTo>
                        <a:pt x="3252" y="1020"/>
                      </a:lnTo>
                      <a:lnTo>
                        <a:pt x="3240" y="1020"/>
                      </a:lnTo>
                      <a:lnTo>
                        <a:pt x="3228" y="1014"/>
                      </a:lnTo>
                      <a:lnTo>
                        <a:pt x="3222" y="1008"/>
                      </a:lnTo>
                      <a:lnTo>
                        <a:pt x="3222" y="1002"/>
                      </a:lnTo>
                      <a:lnTo>
                        <a:pt x="3234" y="990"/>
                      </a:lnTo>
                      <a:lnTo>
                        <a:pt x="3246" y="984"/>
                      </a:lnTo>
                      <a:lnTo>
                        <a:pt x="3252" y="978"/>
                      </a:lnTo>
                      <a:lnTo>
                        <a:pt x="3252" y="864"/>
                      </a:lnTo>
                      <a:lnTo>
                        <a:pt x="3258" y="846"/>
                      </a:lnTo>
                      <a:lnTo>
                        <a:pt x="3258" y="708"/>
                      </a:lnTo>
                      <a:lnTo>
                        <a:pt x="3264" y="678"/>
                      </a:lnTo>
                      <a:close/>
                      <a:moveTo>
                        <a:pt x="336" y="666"/>
                      </a:moveTo>
                      <a:lnTo>
                        <a:pt x="330" y="672"/>
                      </a:lnTo>
                      <a:lnTo>
                        <a:pt x="354" y="696"/>
                      </a:lnTo>
                      <a:lnTo>
                        <a:pt x="360" y="708"/>
                      </a:lnTo>
                      <a:lnTo>
                        <a:pt x="366" y="714"/>
                      </a:lnTo>
                      <a:lnTo>
                        <a:pt x="378" y="714"/>
                      </a:lnTo>
                      <a:lnTo>
                        <a:pt x="378" y="696"/>
                      </a:lnTo>
                      <a:lnTo>
                        <a:pt x="366" y="690"/>
                      </a:lnTo>
                      <a:lnTo>
                        <a:pt x="360" y="678"/>
                      </a:lnTo>
                      <a:lnTo>
                        <a:pt x="348" y="672"/>
                      </a:lnTo>
                      <a:lnTo>
                        <a:pt x="342" y="666"/>
                      </a:lnTo>
                      <a:lnTo>
                        <a:pt x="336" y="666"/>
                      </a:lnTo>
                      <a:close/>
                      <a:moveTo>
                        <a:pt x="2526" y="1104"/>
                      </a:moveTo>
                      <a:lnTo>
                        <a:pt x="2544" y="1116"/>
                      </a:lnTo>
                      <a:lnTo>
                        <a:pt x="2574" y="1092"/>
                      </a:lnTo>
                      <a:lnTo>
                        <a:pt x="2592" y="1092"/>
                      </a:lnTo>
                      <a:lnTo>
                        <a:pt x="2604" y="1080"/>
                      </a:lnTo>
                      <a:lnTo>
                        <a:pt x="2604" y="1062"/>
                      </a:lnTo>
                      <a:lnTo>
                        <a:pt x="2592" y="1056"/>
                      </a:lnTo>
                      <a:lnTo>
                        <a:pt x="2586" y="1056"/>
                      </a:lnTo>
                      <a:lnTo>
                        <a:pt x="2574" y="1062"/>
                      </a:lnTo>
                      <a:lnTo>
                        <a:pt x="2556" y="1068"/>
                      </a:lnTo>
                      <a:lnTo>
                        <a:pt x="2526" y="1098"/>
                      </a:lnTo>
                      <a:lnTo>
                        <a:pt x="2526" y="1104"/>
                      </a:lnTo>
                      <a:close/>
                      <a:moveTo>
                        <a:pt x="3096" y="1068"/>
                      </a:moveTo>
                      <a:lnTo>
                        <a:pt x="3090" y="1068"/>
                      </a:lnTo>
                      <a:lnTo>
                        <a:pt x="3090" y="1062"/>
                      </a:lnTo>
                      <a:lnTo>
                        <a:pt x="3084" y="1062"/>
                      </a:lnTo>
                      <a:lnTo>
                        <a:pt x="3078" y="1056"/>
                      </a:lnTo>
                      <a:lnTo>
                        <a:pt x="3066" y="1056"/>
                      </a:lnTo>
                      <a:lnTo>
                        <a:pt x="3048" y="1062"/>
                      </a:lnTo>
                      <a:lnTo>
                        <a:pt x="3024" y="1086"/>
                      </a:lnTo>
                      <a:lnTo>
                        <a:pt x="3012" y="1122"/>
                      </a:lnTo>
                      <a:lnTo>
                        <a:pt x="3012" y="1134"/>
                      </a:lnTo>
                      <a:lnTo>
                        <a:pt x="3072" y="1128"/>
                      </a:lnTo>
                      <a:lnTo>
                        <a:pt x="3084" y="1128"/>
                      </a:lnTo>
                      <a:lnTo>
                        <a:pt x="3090" y="1122"/>
                      </a:lnTo>
                      <a:lnTo>
                        <a:pt x="3102" y="1092"/>
                      </a:lnTo>
                      <a:lnTo>
                        <a:pt x="3096" y="1068"/>
                      </a:lnTo>
                      <a:close/>
                      <a:moveTo>
                        <a:pt x="2778" y="942"/>
                      </a:moveTo>
                      <a:lnTo>
                        <a:pt x="2766" y="960"/>
                      </a:lnTo>
                      <a:lnTo>
                        <a:pt x="2766" y="1014"/>
                      </a:lnTo>
                      <a:lnTo>
                        <a:pt x="2784" y="1014"/>
                      </a:lnTo>
                      <a:lnTo>
                        <a:pt x="2778" y="996"/>
                      </a:lnTo>
                      <a:lnTo>
                        <a:pt x="2790" y="990"/>
                      </a:lnTo>
                      <a:lnTo>
                        <a:pt x="2790" y="972"/>
                      </a:lnTo>
                      <a:lnTo>
                        <a:pt x="2778" y="972"/>
                      </a:lnTo>
                      <a:lnTo>
                        <a:pt x="2796" y="936"/>
                      </a:lnTo>
                      <a:lnTo>
                        <a:pt x="2814" y="906"/>
                      </a:lnTo>
                      <a:lnTo>
                        <a:pt x="2784" y="912"/>
                      </a:lnTo>
                      <a:lnTo>
                        <a:pt x="2778" y="942"/>
                      </a:lnTo>
                      <a:close/>
                      <a:moveTo>
                        <a:pt x="2136" y="600"/>
                      </a:moveTo>
                      <a:lnTo>
                        <a:pt x="2124" y="594"/>
                      </a:lnTo>
                      <a:lnTo>
                        <a:pt x="2118" y="594"/>
                      </a:lnTo>
                      <a:lnTo>
                        <a:pt x="2106" y="588"/>
                      </a:lnTo>
                      <a:lnTo>
                        <a:pt x="2088" y="588"/>
                      </a:lnTo>
                      <a:lnTo>
                        <a:pt x="2082" y="594"/>
                      </a:lnTo>
                      <a:lnTo>
                        <a:pt x="2082" y="600"/>
                      </a:lnTo>
                      <a:lnTo>
                        <a:pt x="2076" y="606"/>
                      </a:lnTo>
                      <a:lnTo>
                        <a:pt x="2082" y="612"/>
                      </a:lnTo>
                      <a:lnTo>
                        <a:pt x="2094" y="618"/>
                      </a:lnTo>
                      <a:lnTo>
                        <a:pt x="2136" y="618"/>
                      </a:lnTo>
                      <a:lnTo>
                        <a:pt x="2214" y="606"/>
                      </a:lnTo>
                      <a:lnTo>
                        <a:pt x="2136" y="600"/>
                      </a:lnTo>
                      <a:close/>
                      <a:moveTo>
                        <a:pt x="1308" y="1038"/>
                      </a:moveTo>
                      <a:lnTo>
                        <a:pt x="1368" y="1002"/>
                      </a:lnTo>
                      <a:lnTo>
                        <a:pt x="1362" y="990"/>
                      </a:lnTo>
                      <a:lnTo>
                        <a:pt x="1350" y="990"/>
                      </a:lnTo>
                      <a:lnTo>
                        <a:pt x="1332" y="996"/>
                      </a:lnTo>
                      <a:lnTo>
                        <a:pt x="1320" y="996"/>
                      </a:lnTo>
                      <a:lnTo>
                        <a:pt x="1302" y="1002"/>
                      </a:lnTo>
                      <a:lnTo>
                        <a:pt x="1290" y="1008"/>
                      </a:lnTo>
                      <a:lnTo>
                        <a:pt x="1284" y="1014"/>
                      </a:lnTo>
                      <a:lnTo>
                        <a:pt x="1284" y="1032"/>
                      </a:lnTo>
                      <a:lnTo>
                        <a:pt x="1290" y="1038"/>
                      </a:lnTo>
                      <a:lnTo>
                        <a:pt x="1308" y="1038"/>
                      </a:lnTo>
                      <a:close/>
                      <a:moveTo>
                        <a:pt x="1428" y="1116"/>
                      </a:moveTo>
                      <a:lnTo>
                        <a:pt x="1392" y="1116"/>
                      </a:lnTo>
                      <a:lnTo>
                        <a:pt x="1386" y="1146"/>
                      </a:lnTo>
                      <a:lnTo>
                        <a:pt x="1386" y="1152"/>
                      </a:lnTo>
                      <a:lnTo>
                        <a:pt x="1404" y="1170"/>
                      </a:lnTo>
                      <a:lnTo>
                        <a:pt x="1416" y="1176"/>
                      </a:lnTo>
                      <a:lnTo>
                        <a:pt x="1428" y="1164"/>
                      </a:lnTo>
                      <a:lnTo>
                        <a:pt x="1440" y="1140"/>
                      </a:lnTo>
                      <a:lnTo>
                        <a:pt x="1440" y="1128"/>
                      </a:lnTo>
                      <a:lnTo>
                        <a:pt x="1428" y="1116"/>
                      </a:lnTo>
                      <a:close/>
                      <a:moveTo>
                        <a:pt x="708" y="930"/>
                      </a:moveTo>
                      <a:lnTo>
                        <a:pt x="714" y="924"/>
                      </a:lnTo>
                      <a:lnTo>
                        <a:pt x="714" y="900"/>
                      </a:lnTo>
                      <a:lnTo>
                        <a:pt x="744" y="924"/>
                      </a:lnTo>
                      <a:lnTo>
                        <a:pt x="744" y="918"/>
                      </a:lnTo>
                      <a:lnTo>
                        <a:pt x="750" y="912"/>
                      </a:lnTo>
                      <a:lnTo>
                        <a:pt x="750" y="900"/>
                      </a:lnTo>
                      <a:lnTo>
                        <a:pt x="756" y="882"/>
                      </a:lnTo>
                      <a:lnTo>
                        <a:pt x="756" y="840"/>
                      </a:lnTo>
                      <a:lnTo>
                        <a:pt x="762" y="822"/>
                      </a:lnTo>
                      <a:lnTo>
                        <a:pt x="762" y="810"/>
                      </a:lnTo>
                      <a:lnTo>
                        <a:pt x="768" y="792"/>
                      </a:lnTo>
                      <a:lnTo>
                        <a:pt x="768" y="780"/>
                      </a:lnTo>
                      <a:lnTo>
                        <a:pt x="762" y="774"/>
                      </a:lnTo>
                      <a:lnTo>
                        <a:pt x="756" y="762"/>
                      </a:lnTo>
                      <a:lnTo>
                        <a:pt x="756" y="750"/>
                      </a:lnTo>
                      <a:lnTo>
                        <a:pt x="768" y="726"/>
                      </a:lnTo>
                      <a:lnTo>
                        <a:pt x="774" y="720"/>
                      </a:lnTo>
                      <a:lnTo>
                        <a:pt x="774" y="714"/>
                      </a:lnTo>
                      <a:lnTo>
                        <a:pt x="756" y="696"/>
                      </a:lnTo>
                      <a:lnTo>
                        <a:pt x="744" y="654"/>
                      </a:lnTo>
                      <a:lnTo>
                        <a:pt x="702" y="654"/>
                      </a:lnTo>
                      <a:lnTo>
                        <a:pt x="702" y="618"/>
                      </a:lnTo>
                      <a:lnTo>
                        <a:pt x="666" y="618"/>
                      </a:lnTo>
                      <a:lnTo>
                        <a:pt x="660" y="546"/>
                      </a:lnTo>
                      <a:lnTo>
                        <a:pt x="606" y="546"/>
                      </a:lnTo>
                      <a:lnTo>
                        <a:pt x="594" y="534"/>
                      </a:lnTo>
                      <a:lnTo>
                        <a:pt x="594" y="504"/>
                      </a:lnTo>
                      <a:lnTo>
                        <a:pt x="600" y="498"/>
                      </a:lnTo>
                      <a:lnTo>
                        <a:pt x="606" y="486"/>
                      </a:lnTo>
                      <a:lnTo>
                        <a:pt x="582" y="486"/>
                      </a:lnTo>
                      <a:lnTo>
                        <a:pt x="600" y="468"/>
                      </a:lnTo>
                      <a:lnTo>
                        <a:pt x="606" y="456"/>
                      </a:lnTo>
                      <a:lnTo>
                        <a:pt x="612" y="450"/>
                      </a:lnTo>
                      <a:lnTo>
                        <a:pt x="612" y="438"/>
                      </a:lnTo>
                      <a:lnTo>
                        <a:pt x="600" y="426"/>
                      </a:lnTo>
                      <a:lnTo>
                        <a:pt x="588" y="432"/>
                      </a:lnTo>
                      <a:lnTo>
                        <a:pt x="570" y="432"/>
                      </a:lnTo>
                      <a:lnTo>
                        <a:pt x="552" y="438"/>
                      </a:lnTo>
                      <a:lnTo>
                        <a:pt x="540" y="438"/>
                      </a:lnTo>
                      <a:lnTo>
                        <a:pt x="534" y="444"/>
                      </a:lnTo>
                      <a:lnTo>
                        <a:pt x="528" y="444"/>
                      </a:lnTo>
                      <a:lnTo>
                        <a:pt x="534" y="438"/>
                      </a:lnTo>
                      <a:lnTo>
                        <a:pt x="546" y="432"/>
                      </a:lnTo>
                      <a:lnTo>
                        <a:pt x="552" y="420"/>
                      </a:lnTo>
                      <a:lnTo>
                        <a:pt x="558" y="414"/>
                      </a:lnTo>
                      <a:lnTo>
                        <a:pt x="558" y="402"/>
                      </a:lnTo>
                      <a:lnTo>
                        <a:pt x="546" y="396"/>
                      </a:lnTo>
                      <a:lnTo>
                        <a:pt x="534" y="396"/>
                      </a:lnTo>
                      <a:lnTo>
                        <a:pt x="522" y="390"/>
                      </a:lnTo>
                      <a:lnTo>
                        <a:pt x="510" y="390"/>
                      </a:lnTo>
                      <a:lnTo>
                        <a:pt x="516" y="384"/>
                      </a:lnTo>
                      <a:lnTo>
                        <a:pt x="516" y="378"/>
                      </a:lnTo>
                      <a:lnTo>
                        <a:pt x="504" y="354"/>
                      </a:lnTo>
                      <a:lnTo>
                        <a:pt x="492" y="342"/>
                      </a:lnTo>
                      <a:lnTo>
                        <a:pt x="480" y="336"/>
                      </a:lnTo>
                      <a:lnTo>
                        <a:pt x="462" y="330"/>
                      </a:lnTo>
                      <a:lnTo>
                        <a:pt x="456" y="324"/>
                      </a:lnTo>
                      <a:lnTo>
                        <a:pt x="450" y="324"/>
                      </a:lnTo>
                      <a:lnTo>
                        <a:pt x="450" y="318"/>
                      </a:lnTo>
                      <a:lnTo>
                        <a:pt x="444" y="312"/>
                      </a:lnTo>
                      <a:lnTo>
                        <a:pt x="438" y="300"/>
                      </a:lnTo>
                      <a:lnTo>
                        <a:pt x="438" y="288"/>
                      </a:lnTo>
                      <a:lnTo>
                        <a:pt x="426" y="276"/>
                      </a:lnTo>
                      <a:lnTo>
                        <a:pt x="414" y="276"/>
                      </a:lnTo>
                      <a:lnTo>
                        <a:pt x="408" y="282"/>
                      </a:lnTo>
                      <a:lnTo>
                        <a:pt x="414" y="306"/>
                      </a:lnTo>
                      <a:lnTo>
                        <a:pt x="408" y="300"/>
                      </a:lnTo>
                      <a:lnTo>
                        <a:pt x="396" y="294"/>
                      </a:lnTo>
                      <a:lnTo>
                        <a:pt x="360" y="258"/>
                      </a:lnTo>
                      <a:lnTo>
                        <a:pt x="360" y="246"/>
                      </a:lnTo>
                      <a:lnTo>
                        <a:pt x="354" y="240"/>
                      </a:lnTo>
                      <a:lnTo>
                        <a:pt x="348" y="228"/>
                      </a:lnTo>
                      <a:lnTo>
                        <a:pt x="342" y="222"/>
                      </a:lnTo>
                      <a:lnTo>
                        <a:pt x="342" y="216"/>
                      </a:lnTo>
                      <a:lnTo>
                        <a:pt x="330" y="210"/>
                      </a:lnTo>
                      <a:lnTo>
                        <a:pt x="312" y="192"/>
                      </a:lnTo>
                      <a:lnTo>
                        <a:pt x="294" y="186"/>
                      </a:lnTo>
                      <a:lnTo>
                        <a:pt x="288" y="174"/>
                      </a:lnTo>
                      <a:lnTo>
                        <a:pt x="276" y="168"/>
                      </a:lnTo>
                      <a:lnTo>
                        <a:pt x="264" y="156"/>
                      </a:lnTo>
                      <a:lnTo>
                        <a:pt x="252" y="150"/>
                      </a:lnTo>
                      <a:lnTo>
                        <a:pt x="240" y="138"/>
                      </a:lnTo>
                      <a:lnTo>
                        <a:pt x="234" y="126"/>
                      </a:lnTo>
                      <a:lnTo>
                        <a:pt x="222" y="120"/>
                      </a:lnTo>
                      <a:lnTo>
                        <a:pt x="222" y="102"/>
                      </a:lnTo>
                      <a:lnTo>
                        <a:pt x="204" y="84"/>
                      </a:lnTo>
                      <a:lnTo>
                        <a:pt x="198" y="72"/>
                      </a:lnTo>
                      <a:lnTo>
                        <a:pt x="168" y="42"/>
                      </a:lnTo>
                      <a:lnTo>
                        <a:pt x="150" y="42"/>
                      </a:lnTo>
                      <a:lnTo>
                        <a:pt x="66" y="36"/>
                      </a:lnTo>
                      <a:lnTo>
                        <a:pt x="42" y="12"/>
                      </a:lnTo>
                      <a:lnTo>
                        <a:pt x="30" y="6"/>
                      </a:lnTo>
                      <a:lnTo>
                        <a:pt x="24" y="0"/>
                      </a:lnTo>
                      <a:lnTo>
                        <a:pt x="18" y="0"/>
                      </a:lnTo>
                      <a:lnTo>
                        <a:pt x="6" y="6"/>
                      </a:lnTo>
                      <a:lnTo>
                        <a:pt x="0" y="18"/>
                      </a:lnTo>
                      <a:lnTo>
                        <a:pt x="0" y="48"/>
                      </a:lnTo>
                      <a:lnTo>
                        <a:pt x="6" y="60"/>
                      </a:lnTo>
                      <a:lnTo>
                        <a:pt x="18" y="78"/>
                      </a:lnTo>
                      <a:lnTo>
                        <a:pt x="66" y="126"/>
                      </a:lnTo>
                      <a:lnTo>
                        <a:pt x="96" y="150"/>
                      </a:lnTo>
                      <a:lnTo>
                        <a:pt x="126" y="180"/>
                      </a:lnTo>
                      <a:lnTo>
                        <a:pt x="162" y="234"/>
                      </a:lnTo>
                      <a:lnTo>
                        <a:pt x="174" y="228"/>
                      </a:lnTo>
                      <a:lnTo>
                        <a:pt x="174" y="252"/>
                      </a:lnTo>
                      <a:lnTo>
                        <a:pt x="180" y="264"/>
                      </a:lnTo>
                      <a:lnTo>
                        <a:pt x="186" y="270"/>
                      </a:lnTo>
                      <a:lnTo>
                        <a:pt x="198" y="276"/>
                      </a:lnTo>
                      <a:lnTo>
                        <a:pt x="216" y="288"/>
                      </a:lnTo>
                      <a:lnTo>
                        <a:pt x="228" y="300"/>
                      </a:lnTo>
                      <a:lnTo>
                        <a:pt x="246" y="312"/>
                      </a:lnTo>
                      <a:lnTo>
                        <a:pt x="258" y="324"/>
                      </a:lnTo>
                      <a:lnTo>
                        <a:pt x="264" y="336"/>
                      </a:lnTo>
                      <a:lnTo>
                        <a:pt x="276" y="372"/>
                      </a:lnTo>
                      <a:lnTo>
                        <a:pt x="276" y="384"/>
                      </a:lnTo>
                      <a:lnTo>
                        <a:pt x="282" y="390"/>
                      </a:lnTo>
                      <a:lnTo>
                        <a:pt x="282" y="426"/>
                      </a:lnTo>
                      <a:lnTo>
                        <a:pt x="288" y="438"/>
                      </a:lnTo>
                      <a:lnTo>
                        <a:pt x="288" y="444"/>
                      </a:lnTo>
                      <a:lnTo>
                        <a:pt x="294" y="450"/>
                      </a:lnTo>
                      <a:lnTo>
                        <a:pt x="300" y="450"/>
                      </a:lnTo>
                      <a:lnTo>
                        <a:pt x="312" y="444"/>
                      </a:lnTo>
                      <a:lnTo>
                        <a:pt x="324" y="444"/>
                      </a:lnTo>
                      <a:lnTo>
                        <a:pt x="324" y="450"/>
                      </a:lnTo>
                      <a:lnTo>
                        <a:pt x="330" y="462"/>
                      </a:lnTo>
                      <a:lnTo>
                        <a:pt x="330" y="474"/>
                      </a:lnTo>
                      <a:lnTo>
                        <a:pt x="336" y="480"/>
                      </a:lnTo>
                      <a:lnTo>
                        <a:pt x="336" y="486"/>
                      </a:lnTo>
                      <a:lnTo>
                        <a:pt x="378" y="522"/>
                      </a:lnTo>
                      <a:lnTo>
                        <a:pt x="372" y="546"/>
                      </a:lnTo>
                      <a:lnTo>
                        <a:pt x="408" y="606"/>
                      </a:lnTo>
                      <a:lnTo>
                        <a:pt x="402" y="618"/>
                      </a:lnTo>
                      <a:lnTo>
                        <a:pt x="402" y="636"/>
                      </a:lnTo>
                      <a:lnTo>
                        <a:pt x="408" y="648"/>
                      </a:lnTo>
                      <a:lnTo>
                        <a:pt x="438" y="678"/>
                      </a:lnTo>
                      <a:lnTo>
                        <a:pt x="438" y="684"/>
                      </a:lnTo>
                      <a:lnTo>
                        <a:pt x="444" y="690"/>
                      </a:lnTo>
                      <a:lnTo>
                        <a:pt x="462" y="726"/>
                      </a:lnTo>
                      <a:lnTo>
                        <a:pt x="498" y="744"/>
                      </a:lnTo>
                      <a:lnTo>
                        <a:pt x="504" y="750"/>
                      </a:lnTo>
                      <a:lnTo>
                        <a:pt x="510" y="750"/>
                      </a:lnTo>
                      <a:lnTo>
                        <a:pt x="510" y="786"/>
                      </a:lnTo>
                      <a:lnTo>
                        <a:pt x="522" y="792"/>
                      </a:lnTo>
                      <a:lnTo>
                        <a:pt x="528" y="804"/>
                      </a:lnTo>
                      <a:lnTo>
                        <a:pt x="540" y="810"/>
                      </a:lnTo>
                      <a:lnTo>
                        <a:pt x="564" y="834"/>
                      </a:lnTo>
                      <a:lnTo>
                        <a:pt x="576" y="840"/>
                      </a:lnTo>
                      <a:lnTo>
                        <a:pt x="594" y="858"/>
                      </a:lnTo>
                      <a:lnTo>
                        <a:pt x="600" y="858"/>
                      </a:lnTo>
                      <a:lnTo>
                        <a:pt x="606" y="864"/>
                      </a:lnTo>
                      <a:lnTo>
                        <a:pt x="612" y="864"/>
                      </a:lnTo>
                      <a:lnTo>
                        <a:pt x="612" y="870"/>
                      </a:lnTo>
                      <a:lnTo>
                        <a:pt x="618" y="876"/>
                      </a:lnTo>
                      <a:lnTo>
                        <a:pt x="630" y="900"/>
                      </a:lnTo>
                      <a:lnTo>
                        <a:pt x="642" y="912"/>
                      </a:lnTo>
                      <a:lnTo>
                        <a:pt x="654" y="936"/>
                      </a:lnTo>
                      <a:lnTo>
                        <a:pt x="660" y="942"/>
                      </a:lnTo>
                      <a:lnTo>
                        <a:pt x="660" y="906"/>
                      </a:lnTo>
                      <a:lnTo>
                        <a:pt x="672" y="906"/>
                      </a:lnTo>
                      <a:lnTo>
                        <a:pt x="684" y="918"/>
                      </a:lnTo>
                      <a:lnTo>
                        <a:pt x="696" y="924"/>
                      </a:lnTo>
                      <a:lnTo>
                        <a:pt x="702" y="930"/>
                      </a:lnTo>
                      <a:lnTo>
                        <a:pt x="708" y="930"/>
                      </a:lnTo>
                      <a:close/>
                      <a:moveTo>
                        <a:pt x="2118" y="1194"/>
                      </a:moveTo>
                      <a:lnTo>
                        <a:pt x="2106" y="1176"/>
                      </a:lnTo>
                      <a:lnTo>
                        <a:pt x="2088" y="1176"/>
                      </a:lnTo>
                      <a:lnTo>
                        <a:pt x="2064" y="1200"/>
                      </a:lnTo>
                      <a:lnTo>
                        <a:pt x="2064" y="1212"/>
                      </a:lnTo>
                      <a:lnTo>
                        <a:pt x="2052" y="1212"/>
                      </a:lnTo>
                      <a:lnTo>
                        <a:pt x="2040" y="1218"/>
                      </a:lnTo>
                      <a:lnTo>
                        <a:pt x="2010" y="1248"/>
                      </a:lnTo>
                      <a:lnTo>
                        <a:pt x="1998" y="1272"/>
                      </a:lnTo>
                      <a:lnTo>
                        <a:pt x="1992" y="1278"/>
                      </a:lnTo>
                      <a:lnTo>
                        <a:pt x="1992" y="1290"/>
                      </a:lnTo>
                      <a:lnTo>
                        <a:pt x="2004" y="1302"/>
                      </a:lnTo>
                      <a:lnTo>
                        <a:pt x="2022" y="1302"/>
                      </a:lnTo>
                      <a:lnTo>
                        <a:pt x="2052" y="1284"/>
                      </a:lnTo>
                      <a:lnTo>
                        <a:pt x="2082" y="1260"/>
                      </a:lnTo>
                      <a:lnTo>
                        <a:pt x="2106" y="1242"/>
                      </a:lnTo>
                      <a:lnTo>
                        <a:pt x="2100" y="1236"/>
                      </a:lnTo>
                      <a:lnTo>
                        <a:pt x="2100" y="1224"/>
                      </a:lnTo>
                      <a:lnTo>
                        <a:pt x="2112" y="1200"/>
                      </a:lnTo>
                      <a:lnTo>
                        <a:pt x="2118" y="1194"/>
                      </a:lnTo>
                      <a:close/>
                      <a:moveTo>
                        <a:pt x="1374" y="1128"/>
                      </a:moveTo>
                      <a:lnTo>
                        <a:pt x="1374" y="1116"/>
                      </a:lnTo>
                      <a:lnTo>
                        <a:pt x="1368" y="1110"/>
                      </a:lnTo>
                      <a:lnTo>
                        <a:pt x="1344" y="1098"/>
                      </a:lnTo>
                      <a:lnTo>
                        <a:pt x="1332" y="1098"/>
                      </a:lnTo>
                      <a:lnTo>
                        <a:pt x="1320" y="1092"/>
                      </a:lnTo>
                      <a:lnTo>
                        <a:pt x="1314" y="1092"/>
                      </a:lnTo>
                      <a:lnTo>
                        <a:pt x="1302" y="1098"/>
                      </a:lnTo>
                      <a:lnTo>
                        <a:pt x="1296" y="1104"/>
                      </a:lnTo>
                      <a:lnTo>
                        <a:pt x="1296" y="1116"/>
                      </a:lnTo>
                      <a:lnTo>
                        <a:pt x="1290" y="1122"/>
                      </a:lnTo>
                      <a:lnTo>
                        <a:pt x="1290" y="1134"/>
                      </a:lnTo>
                      <a:lnTo>
                        <a:pt x="1254" y="1104"/>
                      </a:lnTo>
                      <a:lnTo>
                        <a:pt x="1260" y="1092"/>
                      </a:lnTo>
                      <a:lnTo>
                        <a:pt x="1260" y="1080"/>
                      </a:lnTo>
                      <a:lnTo>
                        <a:pt x="1266" y="1068"/>
                      </a:lnTo>
                      <a:lnTo>
                        <a:pt x="1266" y="1050"/>
                      </a:lnTo>
                      <a:lnTo>
                        <a:pt x="1260" y="1038"/>
                      </a:lnTo>
                      <a:lnTo>
                        <a:pt x="1254" y="1032"/>
                      </a:lnTo>
                      <a:lnTo>
                        <a:pt x="1242" y="1026"/>
                      </a:lnTo>
                      <a:lnTo>
                        <a:pt x="1188" y="1026"/>
                      </a:lnTo>
                      <a:lnTo>
                        <a:pt x="1158" y="1008"/>
                      </a:lnTo>
                      <a:lnTo>
                        <a:pt x="1158" y="984"/>
                      </a:lnTo>
                      <a:lnTo>
                        <a:pt x="1116" y="984"/>
                      </a:lnTo>
                      <a:lnTo>
                        <a:pt x="1116" y="996"/>
                      </a:lnTo>
                      <a:lnTo>
                        <a:pt x="1110" y="1008"/>
                      </a:lnTo>
                      <a:lnTo>
                        <a:pt x="1110" y="1026"/>
                      </a:lnTo>
                      <a:lnTo>
                        <a:pt x="1086" y="1026"/>
                      </a:lnTo>
                      <a:lnTo>
                        <a:pt x="1074" y="1020"/>
                      </a:lnTo>
                      <a:lnTo>
                        <a:pt x="1056" y="1014"/>
                      </a:lnTo>
                      <a:lnTo>
                        <a:pt x="1044" y="1014"/>
                      </a:lnTo>
                      <a:lnTo>
                        <a:pt x="1032" y="1008"/>
                      </a:lnTo>
                      <a:lnTo>
                        <a:pt x="966" y="1008"/>
                      </a:lnTo>
                      <a:lnTo>
                        <a:pt x="960" y="996"/>
                      </a:lnTo>
                      <a:lnTo>
                        <a:pt x="948" y="990"/>
                      </a:lnTo>
                      <a:lnTo>
                        <a:pt x="942" y="978"/>
                      </a:lnTo>
                      <a:lnTo>
                        <a:pt x="918" y="954"/>
                      </a:lnTo>
                      <a:lnTo>
                        <a:pt x="900" y="954"/>
                      </a:lnTo>
                      <a:lnTo>
                        <a:pt x="888" y="960"/>
                      </a:lnTo>
                      <a:lnTo>
                        <a:pt x="876" y="954"/>
                      </a:lnTo>
                      <a:lnTo>
                        <a:pt x="870" y="948"/>
                      </a:lnTo>
                      <a:lnTo>
                        <a:pt x="858" y="942"/>
                      </a:lnTo>
                      <a:lnTo>
                        <a:pt x="846" y="942"/>
                      </a:lnTo>
                      <a:lnTo>
                        <a:pt x="840" y="936"/>
                      </a:lnTo>
                      <a:lnTo>
                        <a:pt x="822" y="936"/>
                      </a:lnTo>
                      <a:lnTo>
                        <a:pt x="810" y="930"/>
                      </a:lnTo>
                      <a:lnTo>
                        <a:pt x="792" y="930"/>
                      </a:lnTo>
                      <a:lnTo>
                        <a:pt x="786" y="924"/>
                      </a:lnTo>
                      <a:lnTo>
                        <a:pt x="762" y="924"/>
                      </a:lnTo>
                      <a:lnTo>
                        <a:pt x="750" y="930"/>
                      </a:lnTo>
                      <a:lnTo>
                        <a:pt x="738" y="954"/>
                      </a:lnTo>
                      <a:lnTo>
                        <a:pt x="738" y="966"/>
                      </a:lnTo>
                      <a:lnTo>
                        <a:pt x="732" y="978"/>
                      </a:lnTo>
                      <a:lnTo>
                        <a:pt x="720" y="990"/>
                      </a:lnTo>
                      <a:lnTo>
                        <a:pt x="714" y="990"/>
                      </a:lnTo>
                      <a:lnTo>
                        <a:pt x="702" y="1002"/>
                      </a:lnTo>
                      <a:lnTo>
                        <a:pt x="702" y="1014"/>
                      </a:lnTo>
                      <a:lnTo>
                        <a:pt x="738" y="1008"/>
                      </a:lnTo>
                      <a:lnTo>
                        <a:pt x="786" y="1008"/>
                      </a:lnTo>
                      <a:lnTo>
                        <a:pt x="780" y="1014"/>
                      </a:lnTo>
                      <a:lnTo>
                        <a:pt x="768" y="1020"/>
                      </a:lnTo>
                      <a:lnTo>
                        <a:pt x="762" y="1032"/>
                      </a:lnTo>
                      <a:lnTo>
                        <a:pt x="762" y="1044"/>
                      </a:lnTo>
                      <a:lnTo>
                        <a:pt x="774" y="1050"/>
                      </a:lnTo>
                      <a:lnTo>
                        <a:pt x="780" y="1050"/>
                      </a:lnTo>
                      <a:lnTo>
                        <a:pt x="798" y="1044"/>
                      </a:lnTo>
                      <a:lnTo>
                        <a:pt x="810" y="1044"/>
                      </a:lnTo>
                      <a:lnTo>
                        <a:pt x="816" y="1038"/>
                      </a:lnTo>
                      <a:lnTo>
                        <a:pt x="828" y="1032"/>
                      </a:lnTo>
                      <a:lnTo>
                        <a:pt x="840" y="1038"/>
                      </a:lnTo>
                      <a:lnTo>
                        <a:pt x="870" y="1056"/>
                      </a:lnTo>
                      <a:lnTo>
                        <a:pt x="900" y="1068"/>
                      </a:lnTo>
                      <a:lnTo>
                        <a:pt x="924" y="1080"/>
                      </a:lnTo>
                      <a:lnTo>
                        <a:pt x="960" y="1086"/>
                      </a:lnTo>
                      <a:lnTo>
                        <a:pt x="1014" y="1092"/>
                      </a:lnTo>
                      <a:lnTo>
                        <a:pt x="1062" y="1092"/>
                      </a:lnTo>
                      <a:lnTo>
                        <a:pt x="1080" y="1110"/>
                      </a:lnTo>
                      <a:lnTo>
                        <a:pt x="1086" y="1122"/>
                      </a:lnTo>
                      <a:lnTo>
                        <a:pt x="1098" y="1128"/>
                      </a:lnTo>
                      <a:lnTo>
                        <a:pt x="1110" y="1140"/>
                      </a:lnTo>
                      <a:lnTo>
                        <a:pt x="1128" y="1146"/>
                      </a:lnTo>
                      <a:lnTo>
                        <a:pt x="1152" y="1152"/>
                      </a:lnTo>
                      <a:lnTo>
                        <a:pt x="1170" y="1152"/>
                      </a:lnTo>
                      <a:lnTo>
                        <a:pt x="1182" y="1158"/>
                      </a:lnTo>
                      <a:lnTo>
                        <a:pt x="1248" y="1158"/>
                      </a:lnTo>
                      <a:lnTo>
                        <a:pt x="1260" y="1164"/>
                      </a:lnTo>
                      <a:lnTo>
                        <a:pt x="1278" y="1170"/>
                      </a:lnTo>
                      <a:lnTo>
                        <a:pt x="1290" y="1182"/>
                      </a:lnTo>
                      <a:lnTo>
                        <a:pt x="1302" y="1188"/>
                      </a:lnTo>
                      <a:lnTo>
                        <a:pt x="1320" y="1206"/>
                      </a:lnTo>
                      <a:lnTo>
                        <a:pt x="1338" y="1206"/>
                      </a:lnTo>
                      <a:lnTo>
                        <a:pt x="1350" y="1200"/>
                      </a:lnTo>
                      <a:lnTo>
                        <a:pt x="1356" y="1206"/>
                      </a:lnTo>
                      <a:lnTo>
                        <a:pt x="1374" y="1206"/>
                      </a:lnTo>
                      <a:lnTo>
                        <a:pt x="1374" y="1194"/>
                      </a:lnTo>
                      <a:lnTo>
                        <a:pt x="1368" y="1182"/>
                      </a:lnTo>
                      <a:lnTo>
                        <a:pt x="1362" y="1176"/>
                      </a:lnTo>
                      <a:lnTo>
                        <a:pt x="1356" y="1164"/>
                      </a:lnTo>
                      <a:lnTo>
                        <a:pt x="1374" y="1146"/>
                      </a:lnTo>
                      <a:lnTo>
                        <a:pt x="1374" y="1128"/>
                      </a:lnTo>
                      <a:close/>
                      <a:moveTo>
                        <a:pt x="1500" y="726"/>
                      </a:moveTo>
                      <a:lnTo>
                        <a:pt x="1542" y="684"/>
                      </a:lnTo>
                      <a:lnTo>
                        <a:pt x="1548" y="672"/>
                      </a:lnTo>
                      <a:lnTo>
                        <a:pt x="1554" y="654"/>
                      </a:lnTo>
                      <a:lnTo>
                        <a:pt x="1560" y="642"/>
                      </a:lnTo>
                      <a:lnTo>
                        <a:pt x="1566" y="624"/>
                      </a:lnTo>
                      <a:lnTo>
                        <a:pt x="1566" y="612"/>
                      </a:lnTo>
                      <a:lnTo>
                        <a:pt x="1572" y="606"/>
                      </a:lnTo>
                      <a:lnTo>
                        <a:pt x="1572" y="600"/>
                      </a:lnTo>
                      <a:lnTo>
                        <a:pt x="1566" y="600"/>
                      </a:lnTo>
                      <a:lnTo>
                        <a:pt x="1554" y="594"/>
                      </a:lnTo>
                      <a:lnTo>
                        <a:pt x="1542" y="582"/>
                      </a:lnTo>
                      <a:lnTo>
                        <a:pt x="1542" y="564"/>
                      </a:lnTo>
                      <a:lnTo>
                        <a:pt x="1554" y="516"/>
                      </a:lnTo>
                      <a:lnTo>
                        <a:pt x="1590" y="498"/>
                      </a:lnTo>
                      <a:lnTo>
                        <a:pt x="1626" y="498"/>
                      </a:lnTo>
                      <a:lnTo>
                        <a:pt x="1632" y="486"/>
                      </a:lnTo>
                      <a:lnTo>
                        <a:pt x="1638" y="480"/>
                      </a:lnTo>
                      <a:lnTo>
                        <a:pt x="1644" y="468"/>
                      </a:lnTo>
                      <a:lnTo>
                        <a:pt x="1644" y="444"/>
                      </a:lnTo>
                      <a:lnTo>
                        <a:pt x="1626" y="444"/>
                      </a:lnTo>
                      <a:lnTo>
                        <a:pt x="1620" y="450"/>
                      </a:lnTo>
                      <a:lnTo>
                        <a:pt x="1608" y="450"/>
                      </a:lnTo>
                      <a:lnTo>
                        <a:pt x="1608" y="438"/>
                      </a:lnTo>
                      <a:lnTo>
                        <a:pt x="1614" y="420"/>
                      </a:lnTo>
                      <a:lnTo>
                        <a:pt x="1626" y="408"/>
                      </a:lnTo>
                      <a:lnTo>
                        <a:pt x="1650" y="396"/>
                      </a:lnTo>
                      <a:lnTo>
                        <a:pt x="1662" y="396"/>
                      </a:lnTo>
                      <a:lnTo>
                        <a:pt x="1680" y="402"/>
                      </a:lnTo>
                      <a:lnTo>
                        <a:pt x="1704" y="402"/>
                      </a:lnTo>
                      <a:lnTo>
                        <a:pt x="1716" y="390"/>
                      </a:lnTo>
                      <a:lnTo>
                        <a:pt x="1716" y="384"/>
                      </a:lnTo>
                      <a:lnTo>
                        <a:pt x="1680" y="348"/>
                      </a:lnTo>
                      <a:lnTo>
                        <a:pt x="1680" y="312"/>
                      </a:lnTo>
                      <a:lnTo>
                        <a:pt x="1668" y="312"/>
                      </a:lnTo>
                      <a:lnTo>
                        <a:pt x="1650" y="294"/>
                      </a:lnTo>
                      <a:lnTo>
                        <a:pt x="1650" y="282"/>
                      </a:lnTo>
                      <a:lnTo>
                        <a:pt x="1662" y="270"/>
                      </a:lnTo>
                      <a:lnTo>
                        <a:pt x="1668" y="258"/>
                      </a:lnTo>
                      <a:lnTo>
                        <a:pt x="1668" y="246"/>
                      </a:lnTo>
                      <a:lnTo>
                        <a:pt x="1662" y="240"/>
                      </a:lnTo>
                      <a:lnTo>
                        <a:pt x="1638" y="228"/>
                      </a:lnTo>
                      <a:lnTo>
                        <a:pt x="1614" y="228"/>
                      </a:lnTo>
                      <a:lnTo>
                        <a:pt x="1632" y="198"/>
                      </a:lnTo>
                      <a:lnTo>
                        <a:pt x="1614" y="192"/>
                      </a:lnTo>
                      <a:lnTo>
                        <a:pt x="1620" y="162"/>
                      </a:lnTo>
                      <a:lnTo>
                        <a:pt x="1608" y="144"/>
                      </a:lnTo>
                      <a:lnTo>
                        <a:pt x="1602" y="138"/>
                      </a:lnTo>
                      <a:lnTo>
                        <a:pt x="1590" y="132"/>
                      </a:lnTo>
                      <a:lnTo>
                        <a:pt x="1566" y="108"/>
                      </a:lnTo>
                      <a:lnTo>
                        <a:pt x="1470" y="108"/>
                      </a:lnTo>
                      <a:lnTo>
                        <a:pt x="1464" y="114"/>
                      </a:lnTo>
                      <a:lnTo>
                        <a:pt x="1458" y="126"/>
                      </a:lnTo>
                      <a:lnTo>
                        <a:pt x="1458" y="180"/>
                      </a:lnTo>
                      <a:lnTo>
                        <a:pt x="1452" y="198"/>
                      </a:lnTo>
                      <a:lnTo>
                        <a:pt x="1452" y="204"/>
                      </a:lnTo>
                      <a:lnTo>
                        <a:pt x="1446" y="216"/>
                      </a:lnTo>
                      <a:lnTo>
                        <a:pt x="1428" y="216"/>
                      </a:lnTo>
                      <a:lnTo>
                        <a:pt x="1422" y="222"/>
                      </a:lnTo>
                      <a:lnTo>
                        <a:pt x="1422" y="246"/>
                      </a:lnTo>
                      <a:lnTo>
                        <a:pt x="1428" y="252"/>
                      </a:lnTo>
                      <a:lnTo>
                        <a:pt x="1434" y="264"/>
                      </a:lnTo>
                      <a:lnTo>
                        <a:pt x="1398" y="294"/>
                      </a:lnTo>
                      <a:lnTo>
                        <a:pt x="1404" y="306"/>
                      </a:lnTo>
                      <a:lnTo>
                        <a:pt x="1374" y="342"/>
                      </a:lnTo>
                      <a:lnTo>
                        <a:pt x="1350" y="342"/>
                      </a:lnTo>
                      <a:lnTo>
                        <a:pt x="1344" y="348"/>
                      </a:lnTo>
                      <a:lnTo>
                        <a:pt x="1332" y="354"/>
                      </a:lnTo>
                      <a:lnTo>
                        <a:pt x="1320" y="366"/>
                      </a:lnTo>
                      <a:lnTo>
                        <a:pt x="1314" y="366"/>
                      </a:lnTo>
                      <a:lnTo>
                        <a:pt x="1308" y="360"/>
                      </a:lnTo>
                      <a:lnTo>
                        <a:pt x="1284" y="348"/>
                      </a:lnTo>
                      <a:lnTo>
                        <a:pt x="1272" y="336"/>
                      </a:lnTo>
                      <a:lnTo>
                        <a:pt x="1230" y="336"/>
                      </a:lnTo>
                      <a:lnTo>
                        <a:pt x="1224" y="348"/>
                      </a:lnTo>
                      <a:lnTo>
                        <a:pt x="1194" y="378"/>
                      </a:lnTo>
                      <a:lnTo>
                        <a:pt x="1170" y="378"/>
                      </a:lnTo>
                      <a:lnTo>
                        <a:pt x="1152" y="372"/>
                      </a:lnTo>
                      <a:lnTo>
                        <a:pt x="1128" y="372"/>
                      </a:lnTo>
                      <a:lnTo>
                        <a:pt x="1110" y="390"/>
                      </a:lnTo>
                      <a:lnTo>
                        <a:pt x="1104" y="390"/>
                      </a:lnTo>
                      <a:lnTo>
                        <a:pt x="1080" y="378"/>
                      </a:lnTo>
                      <a:lnTo>
                        <a:pt x="1074" y="372"/>
                      </a:lnTo>
                      <a:lnTo>
                        <a:pt x="1062" y="366"/>
                      </a:lnTo>
                      <a:lnTo>
                        <a:pt x="1050" y="354"/>
                      </a:lnTo>
                      <a:lnTo>
                        <a:pt x="1050" y="342"/>
                      </a:lnTo>
                      <a:lnTo>
                        <a:pt x="1044" y="336"/>
                      </a:lnTo>
                      <a:lnTo>
                        <a:pt x="1032" y="330"/>
                      </a:lnTo>
                      <a:lnTo>
                        <a:pt x="1008" y="330"/>
                      </a:lnTo>
                      <a:lnTo>
                        <a:pt x="996" y="336"/>
                      </a:lnTo>
                      <a:lnTo>
                        <a:pt x="990" y="348"/>
                      </a:lnTo>
                      <a:lnTo>
                        <a:pt x="978" y="366"/>
                      </a:lnTo>
                      <a:lnTo>
                        <a:pt x="972" y="384"/>
                      </a:lnTo>
                      <a:lnTo>
                        <a:pt x="972" y="402"/>
                      </a:lnTo>
                      <a:lnTo>
                        <a:pt x="966" y="408"/>
                      </a:lnTo>
                      <a:lnTo>
                        <a:pt x="966" y="414"/>
                      </a:lnTo>
                      <a:lnTo>
                        <a:pt x="990" y="444"/>
                      </a:lnTo>
                      <a:lnTo>
                        <a:pt x="1002" y="498"/>
                      </a:lnTo>
                      <a:lnTo>
                        <a:pt x="1050" y="528"/>
                      </a:lnTo>
                      <a:lnTo>
                        <a:pt x="1038" y="564"/>
                      </a:lnTo>
                      <a:lnTo>
                        <a:pt x="1068" y="582"/>
                      </a:lnTo>
                      <a:lnTo>
                        <a:pt x="1050" y="606"/>
                      </a:lnTo>
                      <a:lnTo>
                        <a:pt x="1068" y="636"/>
                      </a:lnTo>
                      <a:lnTo>
                        <a:pt x="1056" y="648"/>
                      </a:lnTo>
                      <a:lnTo>
                        <a:pt x="1068" y="702"/>
                      </a:lnTo>
                      <a:lnTo>
                        <a:pt x="1110" y="696"/>
                      </a:lnTo>
                      <a:lnTo>
                        <a:pt x="1140" y="708"/>
                      </a:lnTo>
                      <a:lnTo>
                        <a:pt x="1146" y="696"/>
                      </a:lnTo>
                      <a:lnTo>
                        <a:pt x="1170" y="672"/>
                      </a:lnTo>
                      <a:lnTo>
                        <a:pt x="1182" y="672"/>
                      </a:lnTo>
                      <a:lnTo>
                        <a:pt x="1182" y="690"/>
                      </a:lnTo>
                      <a:lnTo>
                        <a:pt x="1188" y="702"/>
                      </a:lnTo>
                      <a:lnTo>
                        <a:pt x="1188" y="726"/>
                      </a:lnTo>
                      <a:lnTo>
                        <a:pt x="1194" y="738"/>
                      </a:lnTo>
                      <a:lnTo>
                        <a:pt x="1212" y="738"/>
                      </a:lnTo>
                      <a:lnTo>
                        <a:pt x="1218" y="726"/>
                      </a:lnTo>
                      <a:lnTo>
                        <a:pt x="1218" y="720"/>
                      </a:lnTo>
                      <a:lnTo>
                        <a:pt x="1224" y="714"/>
                      </a:lnTo>
                      <a:lnTo>
                        <a:pt x="1224" y="708"/>
                      </a:lnTo>
                      <a:lnTo>
                        <a:pt x="1254" y="726"/>
                      </a:lnTo>
                      <a:lnTo>
                        <a:pt x="1266" y="720"/>
                      </a:lnTo>
                      <a:lnTo>
                        <a:pt x="1272" y="708"/>
                      </a:lnTo>
                      <a:lnTo>
                        <a:pt x="1284" y="702"/>
                      </a:lnTo>
                      <a:lnTo>
                        <a:pt x="1296" y="702"/>
                      </a:lnTo>
                      <a:lnTo>
                        <a:pt x="1296" y="714"/>
                      </a:lnTo>
                      <a:lnTo>
                        <a:pt x="1302" y="720"/>
                      </a:lnTo>
                      <a:lnTo>
                        <a:pt x="1302" y="738"/>
                      </a:lnTo>
                      <a:lnTo>
                        <a:pt x="1308" y="744"/>
                      </a:lnTo>
                      <a:lnTo>
                        <a:pt x="1332" y="744"/>
                      </a:lnTo>
                      <a:lnTo>
                        <a:pt x="1350" y="738"/>
                      </a:lnTo>
                      <a:lnTo>
                        <a:pt x="1362" y="732"/>
                      </a:lnTo>
                      <a:lnTo>
                        <a:pt x="1392" y="732"/>
                      </a:lnTo>
                      <a:lnTo>
                        <a:pt x="1404" y="744"/>
                      </a:lnTo>
                      <a:lnTo>
                        <a:pt x="1404" y="786"/>
                      </a:lnTo>
                      <a:lnTo>
                        <a:pt x="1398" y="798"/>
                      </a:lnTo>
                      <a:lnTo>
                        <a:pt x="1398" y="810"/>
                      </a:lnTo>
                      <a:lnTo>
                        <a:pt x="1404" y="810"/>
                      </a:lnTo>
                      <a:lnTo>
                        <a:pt x="1410" y="804"/>
                      </a:lnTo>
                      <a:lnTo>
                        <a:pt x="1422" y="798"/>
                      </a:lnTo>
                      <a:lnTo>
                        <a:pt x="1440" y="792"/>
                      </a:lnTo>
                      <a:lnTo>
                        <a:pt x="1452" y="786"/>
                      </a:lnTo>
                      <a:lnTo>
                        <a:pt x="1476" y="762"/>
                      </a:lnTo>
                      <a:lnTo>
                        <a:pt x="1482" y="750"/>
                      </a:lnTo>
                      <a:lnTo>
                        <a:pt x="1500" y="732"/>
                      </a:lnTo>
                      <a:lnTo>
                        <a:pt x="1500" y="726"/>
                      </a:lnTo>
                      <a:close/>
                      <a:moveTo>
                        <a:pt x="1476" y="1116"/>
                      </a:moveTo>
                      <a:lnTo>
                        <a:pt x="1470" y="1116"/>
                      </a:lnTo>
                      <a:lnTo>
                        <a:pt x="1458" y="1122"/>
                      </a:lnTo>
                      <a:lnTo>
                        <a:pt x="1452" y="1128"/>
                      </a:lnTo>
                      <a:lnTo>
                        <a:pt x="1458" y="1134"/>
                      </a:lnTo>
                      <a:lnTo>
                        <a:pt x="1470" y="1140"/>
                      </a:lnTo>
                      <a:lnTo>
                        <a:pt x="1476" y="1140"/>
                      </a:lnTo>
                      <a:lnTo>
                        <a:pt x="1488" y="1146"/>
                      </a:lnTo>
                      <a:lnTo>
                        <a:pt x="1500" y="1134"/>
                      </a:lnTo>
                      <a:lnTo>
                        <a:pt x="1500" y="1128"/>
                      </a:lnTo>
                      <a:lnTo>
                        <a:pt x="1488" y="1116"/>
                      </a:lnTo>
                      <a:lnTo>
                        <a:pt x="1476" y="1116"/>
                      </a:lnTo>
                      <a:close/>
                      <a:moveTo>
                        <a:pt x="1716" y="1230"/>
                      </a:moveTo>
                      <a:lnTo>
                        <a:pt x="1680" y="1218"/>
                      </a:lnTo>
                      <a:lnTo>
                        <a:pt x="1674" y="1224"/>
                      </a:lnTo>
                      <a:lnTo>
                        <a:pt x="1674" y="1230"/>
                      </a:lnTo>
                      <a:lnTo>
                        <a:pt x="1686" y="1254"/>
                      </a:lnTo>
                      <a:lnTo>
                        <a:pt x="1692" y="1260"/>
                      </a:lnTo>
                      <a:lnTo>
                        <a:pt x="1704" y="1266"/>
                      </a:lnTo>
                      <a:lnTo>
                        <a:pt x="1716" y="1266"/>
                      </a:lnTo>
                      <a:lnTo>
                        <a:pt x="1722" y="1260"/>
                      </a:lnTo>
                      <a:lnTo>
                        <a:pt x="1740" y="1260"/>
                      </a:lnTo>
                      <a:lnTo>
                        <a:pt x="1746" y="1266"/>
                      </a:lnTo>
                      <a:lnTo>
                        <a:pt x="1746" y="1278"/>
                      </a:lnTo>
                      <a:lnTo>
                        <a:pt x="1752" y="1290"/>
                      </a:lnTo>
                      <a:lnTo>
                        <a:pt x="1764" y="1296"/>
                      </a:lnTo>
                      <a:lnTo>
                        <a:pt x="1788" y="1296"/>
                      </a:lnTo>
                      <a:lnTo>
                        <a:pt x="1794" y="1290"/>
                      </a:lnTo>
                      <a:lnTo>
                        <a:pt x="1800" y="1290"/>
                      </a:lnTo>
                      <a:lnTo>
                        <a:pt x="1800" y="1284"/>
                      </a:lnTo>
                      <a:lnTo>
                        <a:pt x="1794" y="1272"/>
                      </a:lnTo>
                      <a:lnTo>
                        <a:pt x="1782" y="1260"/>
                      </a:lnTo>
                      <a:lnTo>
                        <a:pt x="1770" y="1236"/>
                      </a:lnTo>
                      <a:lnTo>
                        <a:pt x="1746" y="1224"/>
                      </a:lnTo>
                      <a:lnTo>
                        <a:pt x="1728" y="1224"/>
                      </a:lnTo>
                      <a:lnTo>
                        <a:pt x="1716" y="1230"/>
                      </a:lnTo>
                      <a:close/>
                      <a:moveTo>
                        <a:pt x="1962" y="1122"/>
                      </a:moveTo>
                      <a:lnTo>
                        <a:pt x="1932" y="1146"/>
                      </a:lnTo>
                      <a:lnTo>
                        <a:pt x="1920" y="1134"/>
                      </a:lnTo>
                      <a:lnTo>
                        <a:pt x="1890" y="1134"/>
                      </a:lnTo>
                      <a:lnTo>
                        <a:pt x="1884" y="1140"/>
                      </a:lnTo>
                      <a:lnTo>
                        <a:pt x="1872" y="1146"/>
                      </a:lnTo>
                      <a:lnTo>
                        <a:pt x="1866" y="1152"/>
                      </a:lnTo>
                      <a:lnTo>
                        <a:pt x="1860" y="1140"/>
                      </a:lnTo>
                      <a:lnTo>
                        <a:pt x="1836" y="1116"/>
                      </a:lnTo>
                      <a:lnTo>
                        <a:pt x="1824" y="1116"/>
                      </a:lnTo>
                      <a:lnTo>
                        <a:pt x="1800" y="1128"/>
                      </a:lnTo>
                      <a:lnTo>
                        <a:pt x="1764" y="1164"/>
                      </a:lnTo>
                      <a:lnTo>
                        <a:pt x="1728" y="1158"/>
                      </a:lnTo>
                      <a:lnTo>
                        <a:pt x="1716" y="1176"/>
                      </a:lnTo>
                      <a:lnTo>
                        <a:pt x="1746" y="1176"/>
                      </a:lnTo>
                      <a:lnTo>
                        <a:pt x="1752" y="1182"/>
                      </a:lnTo>
                      <a:lnTo>
                        <a:pt x="1764" y="1182"/>
                      </a:lnTo>
                      <a:lnTo>
                        <a:pt x="1776" y="1188"/>
                      </a:lnTo>
                      <a:lnTo>
                        <a:pt x="1788" y="1188"/>
                      </a:lnTo>
                      <a:lnTo>
                        <a:pt x="1794" y="1182"/>
                      </a:lnTo>
                      <a:lnTo>
                        <a:pt x="1806" y="1176"/>
                      </a:lnTo>
                      <a:lnTo>
                        <a:pt x="1812" y="1170"/>
                      </a:lnTo>
                      <a:lnTo>
                        <a:pt x="1908" y="1164"/>
                      </a:lnTo>
                      <a:lnTo>
                        <a:pt x="1956" y="1158"/>
                      </a:lnTo>
                      <a:lnTo>
                        <a:pt x="1992" y="1128"/>
                      </a:lnTo>
                      <a:lnTo>
                        <a:pt x="1992" y="1110"/>
                      </a:lnTo>
                      <a:lnTo>
                        <a:pt x="1962" y="1122"/>
                      </a:lnTo>
                      <a:close/>
                      <a:moveTo>
                        <a:pt x="1578" y="1158"/>
                      </a:moveTo>
                      <a:lnTo>
                        <a:pt x="1566" y="1152"/>
                      </a:lnTo>
                      <a:lnTo>
                        <a:pt x="1560" y="1146"/>
                      </a:lnTo>
                      <a:lnTo>
                        <a:pt x="1548" y="1140"/>
                      </a:lnTo>
                      <a:lnTo>
                        <a:pt x="1536" y="1140"/>
                      </a:lnTo>
                      <a:lnTo>
                        <a:pt x="1512" y="1164"/>
                      </a:lnTo>
                      <a:lnTo>
                        <a:pt x="1506" y="1176"/>
                      </a:lnTo>
                      <a:lnTo>
                        <a:pt x="1500" y="1182"/>
                      </a:lnTo>
                      <a:lnTo>
                        <a:pt x="1554" y="1188"/>
                      </a:lnTo>
                      <a:lnTo>
                        <a:pt x="1554" y="1212"/>
                      </a:lnTo>
                      <a:lnTo>
                        <a:pt x="1578" y="1206"/>
                      </a:lnTo>
                      <a:lnTo>
                        <a:pt x="1590" y="1188"/>
                      </a:lnTo>
                      <a:lnTo>
                        <a:pt x="1614" y="1206"/>
                      </a:lnTo>
                      <a:lnTo>
                        <a:pt x="1644" y="1170"/>
                      </a:lnTo>
                      <a:lnTo>
                        <a:pt x="1596" y="1152"/>
                      </a:lnTo>
                      <a:lnTo>
                        <a:pt x="1578" y="1158"/>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622" name="India"/>
                <p:cNvSpPr>
                  <a:spLocks noEditPoints="1"/>
                </p:cNvSpPr>
                <p:nvPr/>
              </p:nvSpPr>
              <p:spPr bwMode="gray">
                <a:xfrm>
                  <a:off x="3872" y="1568"/>
                  <a:ext cx="500" cy="603"/>
                </a:xfrm>
                <a:custGeom>
                  <a:avLst/>
                  <a:gdLst>
                    <a:gd name="T0" fmla="*/ 2147483647 w 1956"/>
                    <a:gd name="T1" fmla="*/ 2147483647 h 2358"/>
                    <a:gd name="T2" fmla="*/ 2147483647 w 1956"/>
                    <a:gd name="T3" fmla="*/ 2147483647 h 2358"/>
                    <a:gd name="T4" fmla="*/ 2147483647 w 1956"/>
                    <a:gd name="T5" fmla="*/ 2147483647 h 2358"/>
                    <a:gd name="T6" fmla="*/ 2147483647 w 1956"/>
                    <a:gd name="T7" fmla="*/ 2147483647 h 2358"/>
                    <a:gd name="T8" fmla="*/ 2147483647 w 1956"/>
                    <a:gd name="T9" fmla="*/ 2147483647 h 2358"/>
                    <a:gd name="T10" fmla="*/ 2147483647 w 1956"/>
                    <a:gd name="T11" fmla="*/ 2147483647 h 2358"/>
                    <a:gd name="T12" fmla="*/ 2147483647 w 1956"/>
                    <a:gd name="T13" fmla="*/ 2147483647 h 2358"/>
                    <a:gd name="T14" fmla="*/ 2147483647 w 1956"/>
                    <a:gd name="T15" fmla="*/ 2147483647 h 2358"/>
                    <a:gd name="T16" fmla="*/ 2147483647 w 1956"/>
                    <a:gd name="T17" fmla="*/ 2147483647 h 2358"/>
                    <a:gd name="T18" fmla="*/ 2147483647 w 1956"/>
                    <a:gd name="T19" fmla="*/ 2147483647 h 2358"/>
                    <a:gd name="T20" fmla="*/ 2147483647 w 1956"/>
                    <a:gd name="T21" fmla="*/ 2147483647 h 2358"/>
                    <a:gd name="T22" fmla="*/ 2147483647 w 1956"/>
                    <a:gd name="T23" fmla="*/ 2147483647 h 2358"/>
                    <a:gd name="T24" fmla="*/ 2147483647 w 1956"/>
                    <a:gd name="T25" fmla="*/ 2147483647 h 2358"/>
                    <a:gd name="T26" fmla="*/ 2147483647 w 1956"/>
                    <a:gd name="T27" fmla="*/ 2147483647 h 2358"/>
                    <a:gd name="T28" fmla="*/ 2147483647 w 1956"/>
                    <a:gd name="T29" fmla="*/ 2147483647 h 2358"/>
                    <a:gd name="T30" fmla="*/ 2147483647 w 1956"/>
                    <a:gd name="T31" fmla="*/ 2147483647 h 2358"/>
                    <a:gd name="T32" fmla="*/ 2147483647 w 1956"/>
                    <a:gd name="T33" fmla="*/ 2147483647 h 2358"/>
                    <a:gd name="T34" fmla="*/ 2147483647 w 1956"/>
                    <a:gd name="T35" fmla="*/ 2147483647 h 2358"/>
                    <a:gd name="T36" fmla="*/ 2147483647 w 1956"/>
                    <a:gd name="T37" fmla="*/ 2147483647 h 2358"/>
                    <a:gd name="T38" fmla="*/ 2147483647 w 1956"/>
                    <a:gd name="T39" fmla="*/ 2147483647 h 2358"/>
                    <a:gd name="T40" fmla="*/ 2147483647 w 1956"/>
                    <a:gd name="T41" fmla="*/ 2147483647 h 2358"/>
                    <a:gd name="T42" fmla="*/ 2147483647 w 1956"/>
                    <a:gd name="T43" fmla="*/ 2147483647 h 2358"/>
                    <a:gd name="T44" fmla="*/ 2147483647 w 1956"/>
                    <a:gd name="T45" fmla="*/ 2147483647 h 2358"/>
                    <a:gd name="T46" fmla="*/ 2147483647 w 1956"/>
                    <a:gd name="T47" fmla="*/ 2147483647 h 2358"/>
                    <a:gd name="T48" fmla="*/ 2147483647 w 1956"/>
                    <a:gd name="T49" fmla="*/ 2147483647 h 2358"/>
                    <a:gd name="T50" fmla="*/ 2147483647 w 1956"/>
                    <a:gd name="T51" fmla="*/ 2147483647 h 2358"/>
                    <a:gd name="T52" fmla="*/ 2147483647 w 1956"/>
                    <a:gd name="T53" fmla="*/ 2147483647 h 2358"/>
                    <a:gd name="T54" fmla="*/ 2147483647 w 1956"/>
                    <a:gd name="T55" fmla="*/ 2147483647 h 2358"/>
                    <a:gd name="T56" fmla="*/ 2147483647 w 1956"/>
                    <a:gd name="T57" fmla="*/ 2147483647 h 2358"/>
                    <a:gd name="T58" fmla="*/ 2147483647 w 1956"/>
                    <a:gd name="T59" fmla="*/ 2147483647 h 2358"/>
                    <a:gd name="T60" fmla="*/ 2147483647 w 1956"/>
                    <a:gd name="T61" fmla="*/ 2147483647 h 2358"/>
                    <a:gd name="T62" fmla="*/ 2147483647 w 1956"/>
                    <a:gd name="T63" fmla="*/ 2147483647 h 2358"/>
                    <a:gd name="T64" fmla="*/ 2147483647 w 1956"/>
                    <a:gd name="T65" fmla="*/ 2147483647 h 2358"/>
                    <a:gd name="T66" fmla="*/ 2147483647 w 1956"/>
                    <a:gd name="T67" fmla="*/ 2147483647 h 2358"/>
                    <a:gd name="T68" fmla="*/ 2147483647 w 1956"/>
                    <a:gd name="T69" fmla="*/ 2147483647 h 2358"/>
                    <a:gd name="T70" fmla="*/ 2147483647 w 1956"/>
                    <a:gd name="T71" fmla="*/ 2147483647 h 2358"/>
                    <a:gd name="T72" fmla="*/ 2147483647 w 1956"/>
                    <a:gd name="T73" fmla="*/ 2147483647 h 2358"/>
                    <a:gd name="T74" fmla="*/ 2147483647 w 1956"/>
                    <a:gd name="T75" fmla="*/ 2147483647 h 2358"/>
                    <a:gd name="T76" fmla="*/ 2147483647 w 1956"/>
                    <a:gd name="T77" fmla="*/ 2147483647 h 2358"/>
                    <a:gd name="T78" fmla="*/ 2147483647 w 1956"/>
                    <a:gd name="T79" fmla="*/ 2147483647 h 2358"/>
                    <a:gd name="T80" fmla="*/ 2147483647 w 1956"/>
                    <a:gd name="T81" fmla="*/ 2147483647 h 2358"/>
                    <a:gd name="T82" fmla="*/ 2147483647 w 1956"/>
                    <a:gd name="T83" fmla="*/ 2147483647 h 2358"/>
                    <a:gd name="T84" fmla="*/ 2147483647 w 1956"/>
                    <a:gd name="T85" fmla="*/ 2147483647 h 2358"/>
                    <a:gd name="T86" fmla="*/ 2147483647 w 1956"/>
                    <a:gd name="T87" fmla="*/ 2147483647 h 2358"/>
                    <a:gd name="T88" fmla="*/ 2147483647 w 1956"/>
                    <a:gd name="T89" fmla="*/ 2147483647 h 2358"/>
                    <a:gd name="T90" fmla="*/ 2147483647 w 1956"/>
                    <a:gd name="T91" fmla="*/ 2147483647 h 2358"/>
                    <a:gd name="T92" fmla="*/ 2147483647 w 1956"/>
                    <a:gd name="T93" fmla="*/ 2147483647 h 2358"/>
                    <a:gd name="T94" fmla="*/ 2147483647 w 1956"/>
                    <a:gd name="T95" fmla="*/ 2147483647 h 2358"/>
                    <a:gd name="T96" fmla="*/ 2147483647 w 1956"/>
                    <a:gd name="T97" fmla="*/ 2147483647 h 2358"/>
                    <a:gd name="T98" fmla="*/ 2147483647 w 1956"/>
                    <a:gd name="T99" fmla="*/ 2147483647 h 2358"/>
                    <a:gd name="T100" fmla="*/ 2147483647 w 1956"/>
                    <a:gd name="T101" fmla="*/ 2147483647 h 2358"/>
                    <a:gd name="T102" fmla="*/ 2147483647 w 1956"/>
                    <a:gd name="T103" fmla="*/ 2147483647 h 2358"/>
                    <a:gd name="T104" fmla="*/ 2147483647 w 1956"/>
                    <a:gd name="T105" fmla="*/ 2147483647 h 2358"/>
                    <a:gd name="T106" fmla="*/ 2147483647 w 1956"/>
                    <a:gd name="T107" fmla="*/ 2147483647 h 2358"/>
                    <a:gd name="T108" fmla="*/ 2147483647 w 1956"/>
                    <a:gd name="T109" fmla="*/ 2147483647 h 2358"/>
                    <a:gd name="T110" fmla="*/ 2147483647 w 1956"/>
                    <a:gd name="T111" fmla="*/ 2147483647 h 2358"/>
                    <a:gd name="T112" fmla="*/ 2147483647 w 1956"/>
                    <a:gd name="T113" fmla="*/ 2147483647 h 2358"/>
                    <a:gd name="T114" fmla="*/ 2147483647 w 1956"/>
                    <a:gd name="T115" fmla="*/ 2147483647 h 2358"/>
                    <a:gd name="T116" fmla="*/ 2147483647 w 1956"/>
                    <a:gd name="T117" fmla="*/ 2147483647 h 2358"/>
                    <a:gd name="T118" fmla="*/ 2147483647 w 1956"/>
                    <a:gd name="T119" fmla="*/ 2147483647 h 235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956"/>
                    <a:gd name="T181" fmla="*/ 0 h 2358"/>
                    <a:gd name="T182" fmla="*/ 1956 w 1956"/>
                    <a:gd name="T183" fmla="*/ 2358 h 235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956" h="2358">
                      <a:moveTo>
                        <a:pt x="1806" y="1788"/>
                      </a:moveTo>
                      <a:lnTo>
                        <a:pt x="1794" y="1800"/>
                      </a:lnTo>
                      <a:lnTo>
                        <a:pt x="1782" y="1824"/>
                      </a:lnTo>
                      <a:lnTo>
                        <a:pt x="1782" y="1884"/>
                      </a:lnTo>
                      <a:lnTo>
                        <a:pt x="1788" y="1980"/>
                      </a:lnTo>
                      <a:lnTo>
                        <a:pt x="1800" y="1950"/>
                      </a:lnTo>
                      <a:lnTo>
                        <a:pt x="1800" y="1848"/>
                      </a:lnTo>
                      <a:lnTo>
                        <a:pt x="1806" y="1836"/>
                      </a:lnTo>
                      <a:lnTo>
                        <a:pt x="1806" y="1830"/>
                      </a:lnTo>
                      <a:lnTo>
                        <a:pt x="1812" y="1818"/>
                      </a:lnTo>
                      <a:lnTo>
                        <a:pt x="1812" y="1806"/>
                      </a:lnTo>
                      <a:lnTo>
                        <a:pt x="1818" y="1800"/>
                      </a:lnTo>
                      <a:lnTo>
                        <a:pt x="1812" y="1788"/>
                      </a:lnTo>
                      <a:lnTo>
                        <a:pt x="1806" y="1788"/>
                      </a:lnTo>
                      <a:close/>
                      <a:moveTo>
                        <a:pt x="1794" y="2028"/>
                      </a:moveTo>
                      <a:lnTo>
                        <a:pt x="1788" y="2028"/>
                      </a:lnTo>
                      <a:lnTo>
                        <a:pt x="1782" y="2040"/>
                      </a:lnTo>
                      <a:lnTo>
                        <a:pt x="1782" y="2046"/>
                      </a:lnTo>
                      <a:lnTo>
                        <a:pt x="1788" y="2058"/>
                      </a:lnTo>
                      <a:lnTo>
                        <a:pt x="1788" y="2064"/>
                      </a:lnTo>
                      <a:lnTo>
                        <a:pt x="1794" y="2076"/>
                      </a:lnTo>
                      <a:lnTo>
                        <a:pt x="1800" y="2064"/>
                      </a:lnTo>
                      <a:lnTo>
                        <a:pt x="1800" y="2028"/>
                      </a:lnTo>
                      <a:lnTo>
                        <a:pt x="1794" y="2028"/>
                      </a:lnTo>
                      <a:close/>
                      <a:moveTo>
                        <a:pt x="1890" y="2310"/>
                      </a:moveTo>
                      <a:lnTo>
                        <a:pt x="1884" y="2316"/>
                      </a:lnTo>
                      <a:lnTo>
                        <a:pt x="1884" y="2334"/>
                      </a:lnTo>
                      <a:lnTo>
                        <a:pt x="1890" y="2346"/>
                      </a:lnTo>
                      <a:lnTo>
                        <a:pt x="1896" y="2352"/>
                      </a:lnTo>
                      <a:lnTo>
                        <a:pt x="1908" y="2358"/>
                      </a:lnTo>
                      <a:lnTo>
                        <a:pt x="1908" y="2346"/>
                      </a:lnTo>
                      <a:lnTo>
                        <a:pt x="1902" y="2334"/>
                      </a:lnTo>
                      <a:lnTo>
                        <a:pt x="1902" y="2322"/>
                      </a:lnTo>
                      <a:lnTo>
                        <a:pt x="1896" y="2310"/>
                      </a:lnTo>
                      <a:lnTo>
                        <a:pt x="1890" y="2310"/>
                      </a:lnTo>
                      <a:close/>
                      <a:moveTo>
                        <a:pt x="1920" y="672"/>
                      </a:moveTo>
                      <a:lnTo>
                        <a:pt x="1932" y="660"/>
                      </a:lnTo>
                      <a:lnTo>
                        <a:pt x="1944" y="654"/>
                      </a:lnTo>
                      <a:lnTo>
                        <a:pt x="1950" y="648"/>
                      </a:lnTo>
                      <a:lnTo>
                        <a:pt x="1956" y="648"/>
                      </a:lnTo>
                      <a:lnTo>
                        <a:pt x="1956" y="618"/>
                      </a:lnTo>
                      <a:lnTo>
                        <a:pt x="1950" y="618"/>
                      </a:lnTo>
                      <a:lnTo>
                        <a:pt x="1944" y="612"/>
                      </a:lnTo>
                      <a:lnTo>
                        <a:pt x="1878" y="612"/>
                      </a:lnTo>
                      <a:lnTo>
                        <a:pt x="1878" y="606"/>
                      </a:lnTo>
                      <a:lnTo>
                        <a:pt x="1890" y="594"/>
                      </a:lnTo>
                      <a:lnTo>
                        <a:pt x="1896" y="594"/>
                      </a:lnTo>
                      <a:lnTo>
                        <a:pt x="1878" y="564"/>
                      </a:lnTo>
                      <a:lnTo>
                        <a:pt x="1848" y="564"/>
                      </a:lnTo>
                      <a:lnTo>
                        <a:pt x="1842" y="558"/>
                      </a:lnTo>
                      <a:lnTo>
                        <a:pt x="1848" y="558"/>
                      </a:lnTo>
                      <a:lnTo>
                        <a:pt x="1860" y="546"/>
                      </a:lnTo>
                      <a:lnTo>
                        <a:pt x="1854" y="540"/>
                      </a:lnTo>
                      <a:lnTo>
                        <a:pt x="1818" y="522"/>
                      </a:lnTo>
                      <a:lnTo>
                        <a:pt x="1806" y="534"/>
                      </a:lnTo>
                      <a:lnTo>
                        <a:pt x="1806" y="558"/>
                      </a:lnTo>
                      <a:lnTo>
                        <a:pt x="1788" y="558"/>
                      </a:lnTo>
                      <a:lnTo>
                        <a:pt x="1770" y="546"/>
                      </a:lnTo>
                      <a:lnTo>
                        <a:pt x="1758" y="540"/>
                      </a:lnTo>
                      <a:lnTo>
                        <a:pt x="1740" y="540"/>
                      </a:lnTo>
                      <a:lnTo>
                        <a:pt x="1728" y="552"/>
                      </a:lnTo>
                      <a:lnTo>
                        <a:pt x="1716" y="558"/>
                      </a:lnTo>
                      <a:lnTo>
                        <a:pt x="1692" y="582"/>
                      </a:lnTo>
                      <a:lnTo>
                        <a:pt x="1656" y="582"/>
                      </a:lnTo>
                      <a:lnTo>
                        <a:pt x="1656" y="588"/>
                      </a:lnTo>
                      <a:lnTo>
                        <a:pt x="1662" y="594"/>
                      </a:lnTo>
                      <a:lnTo>
                        <a:pt x="1662" y="618"/>
                      </a:lnTo>
                      <a:lnTo>
                        <a:pt x="1656" y="624"/>
                      </a:lnTo>
                      <a:lnTo>
                        <a:pt x="1626" y="624"/>
                      </a:lnTo>
                      <a:lnTo>
                        <a:pt x="1632" y="636"/>
                      </a:lnTo>
                      <a:lnTo>
                        <a:pt x="1632" y="654"/>
                      </a:lnTo>
                      <a:lnTo>
                        <a:pt x="1620" y="666"/>
                      </a:lnTo>
                      <a:lnTo>
                        <a:pt x="1566" y="666"/>
                      </a:lnTo>
                      <a:lnTo>
                        <a:pt x="1566" y="684"/>
                      </a:lnTo>
                      <a:lnTo>
                        <a:pt x="1572" y="690"/>
                      </a:lnTo>
                      <a:lnTo>
                        <a:pt x="1596" y="690"/>
                      </a:lnTo>
                      <a:lnTo>
                        <a:pt x="1596" y="714"/>
                      </a:lnTo>
                      <a:lnTo>
                        <a:pt x="1608" y="726"/>
                      </a:lnTo>
                      <a:lnTo>
                        <a:pt x="1608" y="732"/>
                      </a:lnTo>
                      <a:lnTo>
                        <a:pt x="1584" y="744"/>
                      </a:lnTo>
                      <a:lnTo>
                        <a:pt x="1572" y="744"/>
                      </a:lnTo>
                      <a:lnTo>
                        <a:pt x="1566" y="738"/>
                      </a:lnTo>
                      <a:lnTo>
                        <a:pt x="1554" y="738"/>
                      </a:lnTo>
                      <a:lnTo>
                        <a:pt x="1542" y="744"/>
                      </a:lnTo>
                      <a:lnTo>
                        <a:pt x="1512" y="744"/>
                      </a:lnTo>
                      <a:lnTo>
                        <a:pt x="1500" y="738"/>
                      </a:lnTo>
                      <a:lnTo>
                        <a:pt x="1482" y="738"/>
                      </a:lnTo>
                      <a:lnTo>
                        <a:pt x="1476" y="744"/>
                      </a:lnTo>
                      <a:lnTo>
                        <a:pt x="1464" y="750"/>
                      </a:lnTo>
                      <a:lnTo>
                        <a:pt x="1440" y="750"/>
                      </a:lnTo>
                      <a:lnTo>
                        <a:pt x="1428" y="738"/>
                      </a:lnTo>
                      <a:lnTo>
                        <a:pt x="1428" y="732"/>
                      </a:lnTo>
                      <a:lnTo>
                        <a:pt x="1428" y="738"/>
                      </a:lnTo>
                      <a:lnTo>
                        <a:pt x="1416" y="738"/>
                      </a:lnTo>
                      <a:lnTo>
                        <a:pt x="1392" y="726"/>
                      </a:lnTo>
                      <a:lnTo>
                        <a:pt x="1374" y="708"/>
                      </a:lnTo>
                      <a:lnTo>
                        <a:pt x="1374" y="696"/>
                      </a:lnTo>
                      <a:lnTo>
                        <a:pt x="1380" y="696"/>
                      </a:lnTo>
                      <a:lnTo>
                        <a:pt x="1374" y="696"/>
                      </a:lnTo>
                      <a:lnTo>
                        <a:pt x="1368" y="690"/>
                      </a:lnTo>
                      <a:lnTo>
                        <a:pt x="1368" y="642"/>
                      </a:lnTo>
                      <a:lnTo>
                        <a:pt x="1362" y="636"/>
                      </a:lnTo>
                      <a:lnTo>
                        <a:pt x="1350" y="630"/>
                      </a:lnTo>
                      <a:lnTo>
                        <a:pt x="1338" y="630"/>
                      </a:lnTo>
                      <a:lnTo>
                        <a:pt x="1326" y="642"/>
                      </a:lnTo>
                      <a:lnTo>
                        <a:pt x="1314" y="648"/>
                      </a:lnTo>
                      <a:lnTo>
                        <a:pt x="1326" y="666"/>
                      </a:lnTo>
                      <a:lnTo>
                        <a:pt x="1326" y="714"/>
                      </a:lnTo>
                      <a:lnTo>
                        <a:pt x="1338" y="738"/>
                      </a:lnTo>
                      <a:lnTo>
                        <a:pt x="1338" y="774"/>
                      </a:lnTo>
                      <a:lnTo>
                        <a:pt x="1272" y="774"/>
                      </a:lnTo>
                      <a:lnTo>
                        <a:pt x="1272" y="762"/>
                      </a:lnTo>
                      <a:lnTo>
                        <a:pt x="1266" y="756"/>
                      </a:lnTo>
                      <a:lnTo>
                        <a:pt x="1260" y="756"/>
                      </a:lnTo>
                      <a:lnTo>
                        <a:pt x="1248" y="762"/>
                      </a:lnTo>
                      <a:lnTo>
                        <a:pt x="1242" y="774"/>
                      </a:lnTo>
                      <a:lnTo>
                        <a:pt x="1236" y="762"/>
                      </a:lnTo>
                      <a:lnTo>
                        <a:pt x="1224" y="756"/>
                      </a:lnTo>
                      <a:lnTo>
                        <a:pt x="1206" y="750"/>
                      </a:lnTo>
                      <a:lnTo>
                        <a:pt x="1188" y="750"/>
                      </a:lnTo>
                      <a:lnTo>
                        <a:pt x="1182" y="756"/>
                      </a:lnTo>
                      <a:lnTo>
                        <a:pt x="1152" y="738"/>
                      </a:lnTo>
                      <a:lnTo>
                        <a:pt x="1134" y="750"/>
                      </a:lnTo>
                      <a:lnTo>
                        <a:pt x="1080" y="696"/>
                      </a:lnTo>
                      <a:lnTo>
                        <a:pt x="1056" y="696"/>
                      </a:lnTo>
                      <a:lnTo>
                        <a:pt x="1056" y="690"/>
                      </a:lnTo>
                      <a:lnTo>
                        <a:pt x="1044" y="678"/>
                      </a:lnTo>
                      <a:lnTo>
                        <a:pt x="1038" y="678"/>
                      </a:lnTo>
                      <a:lnTo>
                        <a:pt x="1032" y="684"/>
                      </a:lnTo>
                      <a:lnTo>
                        <a:pt x="1032" y="702"/>
                      </a:lnTo>
                      <a:lnTo>
                        <a:pt x="1032" y="696"/>
                      </a:lnTo>
                      <a:lnTo>
                        <a:pt x="1026" y="690"/>
                      </a:lnTo>
                      <a:lnTo>
                        <a:pt x="1008" y="690"/>
                      </a:lnTo>
                      <a:lnTo>
                        <a:pt x="996" y="702"/>
                      </a:lnTo>
                      <a:lnTo>
                        <a:pt x="990" y="690"/>
                      </a:lnTo>
                      <a:lnTo>
                        <a:pt x="984" y="684"/>
                      </a:lnTo>
                      <a:lnTo>
                        <a:pt x="960" y="684"/>
                      </a:lnTo>
                      <a:lnTo>
                        <a:pt x="954" y="678"/>
                      </a:lnTo>
                      <a:lnTo>
                        <a:pt x="954" y="666"/>
                      </a:lnTo>
                      <a:lnTo>
                        <a:pt x="942" y="666"/>
                      </a:lnTo>
                      <a:lnTo>
                        <a:pt x="936" y="672"/>
                      </a:lnTo>
                      <a:lnTo>
                        <a:pt x="918" y="672"/>
                      </a:lnTo>
                      <a:lnTo>
                        <a:pt x="912" y="666"/>
                      </a:lnTo>
                      <a:lnTo>
                        <a:pt x="906" y="654"/>
                      </a:lnTo>
                      <a:lnTo>
                        <a:pt x="900" y="648"/>
                      </a:lnTo>
                      <a:lnTo>
                        <a:pt x="888" y="648"/>
                      </a:lnTo>
                      <a:lnTo>
                        <a:pt x="846" y="630"/>
                      </a:lnTo>
                      <a:lnTo>
                        <a:pt x="834" y="612"/>
                      </a:lnTo>
                      <a:lnTo>
                        <a:pt x="810" y="612"/>
                      </a:lnTo>
                      <a:lnTo>
                        <a:pt x="792" y="588"/>
                      </a:lnTo>
                      <a:lnTo>
                        <a:pt x="780" y="594"/>
                      </a:lnTo>
                      <a:lnTo>
                        <a:pt x="750" y="564"/>
                      </a:lnTo>
                      <a:lnTo>
                        <a:pt x="750" y="552"/>
                      </a:lnTo>
                      <a:lnTo>
                        <a:pt x="762" y="540"/>
                      </a:lnTo>
                      <a:lnTo>
                        <a:pt x="768" y="540"/>
                      </a:lnTo>
                      <a:lnTo>
                        <a:pt x="756" y="528"/>
                      </a:lnTo>
                      <a:lnTo>
                        <a:pt x="756" y="522"/>
                      </a:lnTo>
                      <a:lnTo>
                        <a:pt x="762" y="516"/>
                      </a:lnTo>
                      <a:lnTo>
                        <a:pt x="756" y="504"/>
                      </a:lnTo>
                      <a:lnTo>
                        <a:pt x="780" y="480"/>
                      </a:lnTo>
                      <a:lnTo>
                        <a:pt x="786" y="456"/>
                      </a:lnTo>
                      <a:lnTo>
                        <a:pt x="762" y="438"/>
                      </a:lnTo>
                      <a:lnTo>
                        <a:pt x="750" y="438"/>
                      </a:lnTo>
                      <a:lnTo>
                        <a:pt x="738" y="432"/>
                      </a:lnTo>
                      <a:lnTo>
                        <a:pt x="738" y="414"/>
                      </a:lnTo>
                      <a:lnTo>
                        <a:pt x="720" y="420"/>
                      </a:lnTo>
                      <a:lnTo>
                        <a:pt x="702" y="402"/>
                      </a:lnTo>
                      <a:lnTo>
                        <a:pt x="696" y="402"/>
                      </a:lnTo>
                      <a:lnTo>
                        <a:pt x="690" y="396"/>
                      </a:lnTo>
                      <a:lnTo>
                        <a:pt x="678" y="396"/>
                      </a:lnTo>
                      <a:lnTo>
                        <a:pt x="666" y="390"/>
                      </a:lnTo>
                      <a:lnTo>
                        <a:pt x="654" y="378"/>
                      </a:lnTo>
                      <a:lnTo>
                        <a:pt x="648" y="366"/>
                      </a:lnTo>
                      <a:lnTo>
                        <a:pt x="618" y="366"/>
                      </a:lnTo>
                      <a:lnTo>
                        <a:pt x="612" y="360"/>
                      </a:lnTo>
                      <a:lnTo>
                        <a:pt x="612" y="342"/>
                      </a:lnTo>
                      <a:lnTo>
                        <a:pt x="618" y="336"/>
                      </a:lnTo>
                      <a:lnTo>
                        <a:pt x="618" y="324"/>
                      </a:lnTo>
                      <a:lnTo>
                        <a:pt x="612" y="324"/>
                      </a:lnTo>
                      <a:lnTo>
                        <a:pt x="600" y="312"/>
                      </a:lnTo>
                      <a:lnTo>
                        <a:pt x="594" y="300"/>
                      </a:lnTo>
                      <a:lnTo>
                        <a:pt x="588" y="294"/>
                      </a:lnTo>
                      <a:lnTo>
                        <a:pt x="588" y="276"/>
                      </a:lnTo>
                      <a:lnTo>
                        <a:pt x="594" y="276"/>
                      </a:lnTo>
                      <a:lnTo>
                        <a:pt x="600" y="270"/>
                      </a:lnTo>
                      <a:lnTo>
                        <a:pt x="612" y="270"/>
                      </a:lnTo>
                      <a:lnTo>
                        <a:pt x="612" y="288"/>
                      </a:lnTo>
                      <a:lnTo>
                        <a:pt x="624" y="300"/>
                      </a:lnTo>
                      <a:lnTo>
                        <a:pt x="636" y="282"/>
                      </a:lnTo>
                      <a:lnTo>
                        <a:pt x="642" y="282"/>
                      </a:lnTo>
                      <a:lnTo>
                        <a:pt x="648" y="276"/>
                      </a:lnTo>
                      <a:lnTo>
                        <a:pt x="660" y="270"/>
                      </a:lnTo>
                      <a:lnTo>
                        <a:pt x="660" y="258"/>
                      </a:lnTo>
                      <a:lnTo>
                        <a:pt x="642" y="240"/>
                      </a:lnTo>
                      <a:lnTo>
                        <a:pt x="636" y="228"/>
                      </a:lnTo>
                      <a:lnTo>
                        <a:pt x="630" y="222"/>
                      </a:lnTo>
                      <a:lnTo>
                        <a:pt x="618" y="222"/>
                      </a:lnTo>
                      <a:lnTo>
                        <a:pt x="594" y="210"/>
                      </a:lnTo>
                      <a:lnTo>
                        <a:pt x="594" y="186"/>
                      </a:lnTo>
                      <a:lnTo>
                        <a:pt x="612" y="180"/>
                      </a:lnTo>
                      <a:lnTo>
                        <a:pt x="594" y="156"/>
                      </a:lnTo>
                      <a:lnTo>
                        <a:pt x="624" y="156"/>
                      </a:lnTo>
                      <a:lnTo>
                        <a:pt x="636" y="150"/>
                      </a:lnTo>
                      <a:lnTo>
                        <a:pt x="642" y="138"/>
                      </a:lnTo>
                      <a:lnTo>
                        <a:pt x="642" y="114"/>
                      </a:lnTo>
                      <a:lnTo>
                        <a:pt x="636" y="108"/>
                      </a:lnTo>
                      <a:lnTo>
                        <a:pt x="636" y="102"/>
                      </a:lnTo>
                      <a:lnTo>
                        <a:pt x="654" y="102"/>
                      </a:lnTo>
                      <a:lnTo>
                        <a:pt x="660" y="96"/>
                      </a:lnTo>
                      <a:lnTo>
                        <a:pt x="660" y="36"/>
                      </a:lnTo>
                      <a:lnTo>
                        <a:pt x="618" y="36"/>
                      </a:lnTo>
                      <a:lnTo>
                        <a:pt x="594" y="12"/>
                      </a:lnTo>
                      <a:lnTo>
                        <a:pt x="576" y="0"/>
                      </a:lnTo>
                      <a:lnTo>
                        <a:pt x="564" y="0"/>
                      </a:lnTo>
                      <a:lnTo>
                        <a:pt x="540" y="12"/>
                      </a:lnTo>
                      <a:lnTo>
                        <a:pt x="522" y="18"/>
                      </a:lnTo>
                      <a:lnTo>
                        <a:pt x="516" y="30"/>
                      </a:lnTo>
                      <a:lnTo>
                        <a:pt x="504" y="36"/>
                      </a:lnTo>
                      <a:lnTo>
                        <a:pt x="480" y="36"/>
                      </a:lnTo>
                      <a:lnTo>
                        <a:pt x="456" y="72"/>
                      </a:lnTo>
                      <a:lnTo>
                        <a:pt x="432" y="78"/>
                      </a:lnTo>
                      <a:lnTo>
                        <a:pt x="432" y="96"/>
                      </a:lnTo>
                      <a:lnTo>
                        <a:pt x="408" y="96"/>
                      </a:lnTo>
                      <a:lnTo>
                        <a:pt x="402" y="102"/>
                      </a:lnTo>
                      <a:lnTo>
                        <a:pt x="396" y="96"/>
                      </a:lnTo>
                      <a:lnTo>
                        <a:pt x="390" y="102"/>
                      </a:lnTo>
                      <a:lnTo>
                        <a:pt x="378" y="108"/>
                      </a:lnTo>
                      <a:lnTo>
                        <a:pt x="372" y="114"/>
                      </a:lnTo>
                      <a:lnTo>
                        <a:pt x="360" y="120"/>
                      </a:lnTo>
                      <a:lnTo>
                        <a:pt x="348" y="120"/>
                      </a:lnTo>
                      <a:lnTo>
                        <a:pt x="348" y="108"/>
                      </a:lnTo>
                      <a:lnTo>
                        <a:pt x="342" y="102"/>
                      </a:lnTo>
                      <a:lnTo>
                        <a:pt x="324" y="102"/>
                      </a:lnTo>
                      <a:lnTo>
                        <a:pt x="306" y="96"/>
                      </a:lnTo>
                      <a:lnTo>
                        <a:pt x="264" y="96"/>
                      </a:lnTo>
                      <a:lnTo>
                        <a:pt x="240" y="108"/>
                      </a:lnTo>
                      <a:lnTo>
                        <a:pt x="234" y="120"/>
                      </a:lnTo>
                      <a:lnTo>
                        <a:pt x="234" y="126"/>
                      </a:lnTo>
                      <a:lnTo>
                        <a:pt x="258" y="144"/>
                      </a:lnTo>
                      <a:lnTo>
                        <a:pt x="252" y="156"/>
                      </a:lnTo>
                      <a:lnTo>
                        <a:pt x="282" y="162"/>
                      </a:lnTo>
                      <a:lnTo>
                        <a:pt x="276" y="168"/>
                      </a:lnTo>
                      <a:lnTo>
                        <a:pt x="270" y="180"/>
                      </a:lnTo>
                      <a:lnTo>
                        <a:pt x="264" y="186"/>
                      </a:lnTo>
                      <a:lnTo>
                        <a:pt x="264" y="192"/>
                      </a:lnTo>
                      <a:lnTo>
                        <a:pt x="276" y="204"/>
                      </a:lnTo>
                      <a:lnTo>
                        <a:pt x="282" y="204"/>
                      </a:lnTo>
                      <a:lnTo>
                        <a:pt x="282" y="210"/>
                      </a:lnTo>
                      <a:lnTo>
                        <a:pt x="276" y="222"/>
                      </a:lnTo>
                      <a:lnTo>
                        <a:pt x="276" y="234"/>
                      </a:lnTo>
                      <a:lnTo>
                        <a:pt x="294" y="234"/>
                      </a:lnTo>
                      <a:lnTo>
                        <a:pt x="306" y="252"/>
                      </a:lnTo>
                      <a:lnTo>
                        <a:pt x="324" y="252"/>
                      </a:lnTo>
                      <a:lnTo>
                        <a:pt x="330" y="288"/>
                      </a:lnTo>
                      <a:lnTo>
                        <a:pt x="366" y="288"/>
                      </a:lnTo>
                      <a:lnTo>
                        <a:pt x="378" y="294"/>
                      </a:lnTo>
                      <a:lnTo>
                        <a:pt x="384" y="300"/>
                      </a:lnTo>
                      <a:lnTo>
                        <a:pt x="384" y="306"/>
                      </a:lnTo>
                      <a:lnTo>
                        <a:pt x="378" y="312"/>
                      </a:lnTo>
                      <a:lnTo>
                        <a:pt x="354" y="324"/>
                      </a:lnTo>
                      <a:lnTo>
                        <a:pt x="342" y="324"/>
                      </a:lnTo>
                      <a:lnTo>
                        <a:pt x="336" y="330"/>
                      </a:lnTo>
                      <a:lnTo>
                        <a:pt x="336" y="366"/>
                      </a:lnTo>
                      <a:lnTo>
                        <a:pt x="342" y="378"/>
                      </a:lnTo>
                      <a:lnTo>
                        <a:pt x="354" y="390"/>
                      </a:lnTo>
                      <a:lnTo>
                        <a:pt x="354" y="396"/>
                      </a:lnTo>
                      <a:lnTo>
                        <a:pt x="324" y="414"/>
                      </a:lnTo>
                      <a:lnTo>
                        <a:pt x="300" y="450"/>
                      </a:lnTo>
                      <a:lnTo>
                        <a:pt x="318" y="474"/>
                      </a:lnTo>
                      <a:lnTo>
                        <a:pt x="306" y="474"/>
                      </a:lnTo>
                      <a:lnTo>
                        <a:pt x="300" y="480"/>
                      </a:lnTo>
                      <a:lnTo>
                        <a:pt x="288" y="486"/>
                      </a:lnTo>
                      <a:lnTo>
                        <a:pt x="282" y="492"/>
                      </a:lnTo>
                      <a:lnTo>
                        <a:pt x="282" y="504"/>
                      </a:lnTo>
                      <a:lnTo>
                        <a:pt x="276" y="522"/>
                      </a:lnTo>
                      <a:lnTo>
                        <a:pt x="276" y="534"/>
                      </a:lnTo>
                      <a:lnTo>
                        <a:pt x="270" y="552"/>
                      </a:lnTo>
                      <a:lnTo>
                        <a:pt x="258" y="564"/>
                      </a:lnTo>
                      <a:lnTo>
                        <a:pt x="234" y="576"/>
                      </a:lnTo>
                      <a:lnTo>
                        <a:pt x="228" y="582"/>
                      </a:lnTo>
                      <a:lnTo>
                        <a:pt x="228" y="588"/>
                      </a:lnTo>
                      <a:lnTo>
                        <a:pt x="222" y="594"/>
                      </a:lnTo>
                      <a:lnTo>
                        <a:pt x="222" y="612"/>
                      </a:lnTo>
                      <a:lnTo>
                        <a:pt x="204" y="624"/>
                      </a:lnTo>
                      <a:lnTo>
                        <a:pt x="204" y="630"/>
                      </a:lnTo>
                      <a:lnTo>
                        <a:pt x="198" y="636"/>
                      </a:lnTo>
                      <a:lnTo>
                        <a:pt x="192" y="648"/>
                      </a:lnTo>
                      <a:lnTo>
                        <a:pt x="186" y="654"/>
                      </a:lnTo>
                      <a:lnTo>
                        <a:pt x="168" y="654"/>
                      </a:lnTo>
                      <a:lnTo>
                        <a:pt x="162" y="648"/>
                      </a:lnTo>
                      <a:lnTo>
                        <a:pt x="156" y="654"/>
                      </a:lnTo>
                      <a:lnTo>
                        <a:pt x="132" y="666"/>
                      </a:lnTo>
                      <a:lnTo>
                        <a:pt x="126" y="666"/>
                      </a:lnTo>
                      <a:lnTo>
                        <a:pt x="120" y="660"/>
                      </a:lnTo>
                      <a:lnTo>
                        <a:pt x="120" y="648"/>
                      </a:lnTo>
                      <a:lnTo>
                        <a:pt x="114" y="642"/>
                      </a:lnTo>
                      <a:lnTo>
                        <a:pt x="108" y="642"/>
                      </a:lnTo>
                      <a:lnTo>
                        <a:pt x="96" y="648"/>
                      </a:lnTo>
                      <a:lnTo>
                        <a:pt x="84" y="660"/>
                      </a:lnTo>
                      <a:lnTo>
                        <a:pt x="84" y="666"/>
                      </a:lnTo>
                      <a:lnTo>
                        <a:pt x="78" y="678"/>
                      </a:lnTo>
                      <a:lnTo>
                        <a:pt x="72" y="684"/>
                      </a:lnTo>
                      <a:lnTo>
                        <a:pt x="66" y="696"/>
                      </a:lnTo>
                      <a:lnTo>
                        <a:pt x="54" y="708"/>
                      </a:lnTo>
                      <a:lnTo>
                        <a:pt x="48" y="720"/>
                      </a:lnTo>
                      <a:lnTo>
                        <a:pt x="48" y="744"/>
                      </a:lnTo>
                      <a:lnTo>
                        <a:pt x="54" y="750"/>
                      </a:lnTo>
                      <a:lnTo>
                        <a:pt x="66" y="756"/>
                      </a:lnTo>
                      <a:lnTo>
                        <a:pt x="72" y="756"/>
                      </a:lnTo>
                      <a:lnTo>
                        <a:pt x="102" y="750"/>
                      </a:lnTo>
                      <a:lnTo>
                        <a:pt x="102" y="768"/>
                      </a:lnTo>
                      <a:lnTo>
                        <a:pt x="96" y="798"/>
                      </a:lnTo>
                      <a:lnTo>
                        <a:pt x="102" y="804"/>
                      </a:lnTo>
                      <a:lnTo>
                        <a:pt x="108" y="816"/>
                      </a:lnTo>
                      <a:lnTo>
                        <a:pt x="120" y="828"/>
                      </a:lnTo>
                      <a:lnTo>
                        <a:pt x="144" y="828"/>
                      </a:lnTo>
                      <a:lnTo>
                        <a:pt x="144" y="852"/>
                      </a:lnTo>
                      <a:lnTo>
                        <a:pt x="168" y="894"/>
                      </a:lnTo>
                      <a:lnTo>
                        <a:pt x="174" y="906"/>
                      </a:lnTo>
                      <a:lnTo>
                        <a:pt x="180" y="912"/>
                      </a:lnTo>
                      <a:lnTo>
                        <a:pt x="180" y="936"/>
                      </a:lnTo>
                      <a:lnTo>
                        <a:pt x="168" y="942"/>
                      </a:lnTo>
                      <a:lnTo>
                        <a:pt x="162" y="948"/>
                      </a:lnTo>
                      <a:lnTo>
                        <a:pt x="144" y="948"/>
                      </a:lnTo>
                      <a:lnTo>
                        <a:pt x="138" y="942"/>
                      </a:lnTo>
                      <a:lnTo>
                        <a:pt x="138" y="930"/>
                      </a:lnTo>
                      <a:lnTo>
                        <a:pt x="132" y="930"/>
                      </a:lnTo>
                      <a:lnTo>
                        <a:pt x="120" y="936"/>
                      </a:lnTo>
                      <a:lnTo>
                        <a:pt x="108" y="948"/>
                      </a:lnTo>
                      <a:lnTo>
                        <a:pt x="84" y="948"/>
                      </a:lnTo>
                      <a:lnTo>
                        <a:pt x="78" y="942"/>
                      </a:lnTo>
                      <a:lnTo>
                        <a:pt x="78" y="936"/>
                      </a:lnTo>
                      <a:lnTo>
                        <a:pt x="54" y="948"/>
                      </a:lnTo>
                      <a:lnTo>
                        <a:pt x="48" y="942"/>
                      </a:lnTo>
                      <a:lnTo>
                        <a:pt x="36" y="936"/>
                      </a:lnTo>
                      <a:lnTo>
                        <a:pt x="24" y="936"/>
                      </a:lnTo>
                      <a:lnTo>
                        <a:pt x="12" y="948"/>
                      </a:lnTo>
                      <a:lnTo>
                        <a:pt x="12" y="960"/>
                      </a:lnTo>
                      <a:lnTo>
                        <a:pt x="18" y="966"/>
                      </a:lnTo>
                      <a:lnTo>
                        <a:pt x="0" y="972"/>
                      </a:lnTo>
                      <a:lnTo>
                        <a:pt x="36" y="972"/>
                      </a:lnTo>
                      <a:lnTo>
                        <a:pt x="30" y="984"/>
                      </a:lnTo>
                      <a:lnTo>
                        <a:pt x="30" y="1014"/>
                      </a:lnTo>
                      <a:lnTo>
                        <a:pt x="36" y="1026"/>
                      </a:lnTo>
                      <a:lnTo>
                        <a:pt x="48" y="1032"/>
                      </a:lnTo>
                      <a:lnTo>
                        <a:pt x="66" y="1038"/>
                      </a:lnTo>
                      <a:lnTo>
                        <a:pt x="120" y="1038"/>
                      </a:lnTo>
                      <a:lnTo>
                        <a:pt x="132" y="1032"/>
                      </a:lnTo>
                      <a:lnTo>
                        <a:pt x="150" y="1014"/>
                      </a:lnTo>
                      <a:lnTo>
                        <a:pt x="162" y="1008"/>
                      </a:lnTo>
                      <a:lnTo>
                        <a:pt x="168" y="1020"/>
                      </a:lnTo>
                      <a:lnTo>
                        <a:pt x="168" y="1026"/>
                      </a:lnTo>
                      <a:lnTo>
                        <a:pt x="162" y="1038"/>
                      </a:lnTo>
                      <a:lnTo>
                        <a:pt x="144" y="1056"/>
                      </a:lnTo>
                      <a:lnTo>
                        <a:pt x="120" y="1068"/>
                      </a:lnTo>
                      <a:lnTo>
                        <a:pt x="114" y="1074"/>
                      </a:lnTo>
                      <a:lnTo>
                        <a:pt x="90" y="1074"/>
                      </a:lnTo>
                      <a:lnTo>
                        <a:pt x="78" y="1080"/>
                      </a:lnTo>
                      <a:lnTo>
                        <a:pt x="60" y="1086"/>
                      </a:lnTo>
                      <a:lnTo>
                        <a:pt x="48" y="1092"/>
                      </a:lnTo>
                      <a:lnTo>
                        <a:pt x="42" y="1098"/>
                      </a:lnTo>
                      <a:lnTo>
                        <a:pt x="54" y="1122"/>
                      </a:lnTo>
                      <a:lnTo>
                        <a:pt x="66" y="1128"/>
                      </a:lnTo>
                      <a:lnTo>
                        <a:pt x="78" y="1140"/>
                      </a:lnTo>
                      <a:lnTo>
                        <a:pt x="96" y="1152"/>
                      </a:lnTo>
                      <a:lnTo>
                        <a:pt x="108" y="1164"/>
                      </a:lnTo>
                      <a:lnTo>
                        <a:pt x="132" y="1182"/>
                      </a:lnTo>
                      <a:lnTo>
                        <a:pt x="162" y="1206"/>
                      </a:lnTo>
                      <a:lnTo>
                        <a:pt x="204" y="1224"/>
                      </a:lnTo>
                      <a:lnTo>
                        <a:pt x="240" y="1218"/>
                      </a:lnTo>
                      <a:lnTo>
                        <a:pt x="270" y="1200"/>
                      </a:lnTo>
                      <a:lnTo>
                        <a:pt x="294" y="1176"/>
                      </a:lnTo>
                      <a:lnTo>
                        <a:pt x="300" y="1158"/>
                      </a:lnTo>
                      <a:lnTo>
                        <a:pt x="300" y="1128"/>
                      </a:lnTo>
                      <a:lnTo>
                        <a:pt x="306" y="1116"/>
                      </a:lnTo>
                      <a:lnTo>
                        <a:pt x="318" y="1104"/>
                      </a:lnTo>
                      <a:lnTo>
                        <a:pt x="324" y="1092"/>
                      </a:lnTo>
                      <a:lnTo>
                        <a:pt x="330" y="1086"/>
                      </a:lnTo>
                      <a:lnTo>
                        <a:pt x="342" y="1086"/>
                      </a:lnTo>
                      <a:lnTo>
                        <a:pt x="348" y="1080"/>
                      </a:lnTo>
                      <a:lnTo>
                        <a:pt x="354" y="1080"/>
                      </a:lnTo>
                      <a:lnTo>
                        <a:pt x="360" y="1086"/>
                      </a:lnTo>
                      <a:lnTo>
                        <a:pt x="360" y="1098"/>
                      </a:lnTo>
                      <a:lnTo>
                        <a:pt x="348" y="1110"/>
                      </a:lnTo>
                      <a:lnTo>
                        <a:pt x="336" y="1128"/>
                      </a:lnTo>
                      <a:lnTo>
                        <a:pt x="324" y="1140"/>
                      </a:lnTo>
                      <a:lnTo>
                        <a:pt x="318" y="1152"/>
                      </a:lnTo>
                      <a:lnTo>
                        <a:pt x="318" y="1164"/>
                      </a:lnTo>
                      <a:lnTo>
                        <a:pt x="324" y="1176"/>
                      </a:lnTo>
                      <a:lnTo>
                        <a:pt x="336" y="1182"/>
                      </a:lnTo>
                      <a:lnTo>
                        <a:pt x="342" y="1182"/>
                      </a:lnTo>
                      <a:lnTo>
                        <a:pt x="354" y="1194"/>
                      </a:lnTo>
                      <a:lnTo>
                        <a:pt x="354" y="1206"/>
                      </a:lnTo>
                      <a:lnTo>
                        <a:pt x="348" y="1242"/>
                      </a:lnTo>
                      <a:lnTo>
                        <a:pt x="342" y="1284"/>
                      </a:lnTo>
                      <a:lnTo>
                        <a:pt x="336" y="1338"/>
                      </a:lnTo>
                      <a:lnTo>
                        <a:pt x="342" y="1398"/>
                      </a:lnTo>
                      <a:lnTo>
                        <a:pt x="354" y="1446"/>
                      </a:lnTo>
                      <a:lnTo>
                        <a:pt x="384" y="1536"/>
                      </a:lnTo>
                      <a:lnTo>
                        <a:pt x="402" y="1554"/>
                      </a:lnTo>
                      <a:lnTo>
                        <a:pt x="402" y="1596"/>
                      </a:lnTo>
                      <a:lnTo>
                        <a:pt x="414" y="1620"/>
                      </a:lnTo>
                      <a:lnTo>
                        <a:pt x="426" y="1626"/>
                      </a:lnTo>
                      <a:lnTo>
                        <a:pt x="438" y="1626"/>
                      </a:lnTo>
                      <a:lnTo>
                        <a:pt x="444" y="1632"/>
                      </a:lnTo>
                      <a:lnTo>
                        <a:pt x="450" y="1632"/>
                      </a:lnTo>
                      <a:lnTo>
                        <a:pt x="450" y="1644"/>
                      </a:lnTo>
                      <a:lnTo>
                        <a:pt x="456" y="1656"/>
                      </a:lnTo>
                      <a:lnTo>
                        <a:pt x="456" y="1674"/>
                      </a:lnTo>
                      <a:lnTo>
                        <a:pt x="474" y="1710"/>
                      </a:lnTo>
                      <a:lnTo>
                        <a:pt x="498" y="1722"/>
                      </a:lnTo>
                      <a:lnTo>
                        <a:pt x="504" y="1728"/>
                      </a:lnTo>
                      <a:lnTo>
                        <a:pt x="510" y="1728"/>
                      </a:lnTo>
                      <a:lnTo>
                        <a:pt x="510" y="1746"/>
                      </a:lnTo>
                      <a:lnTo>
                        <a:pt x="516" y="1782"/>
                      </a:lnTo>
                      <a:lnTo>
                        <a:pt x="522" y="1830"/>
                      </a:lnTo>
                      <a:lnTo>
                        <a:pt x="534" y="1872"/>
                      </a:lnTo>
                      <a:lnTo>
                        <a:pt x="552" y="1908"/>
                      </a:lnTo>
                      <a:lnTo>
                        <a:pt x="576" y="1944"/>
                      </a:lnTo>
                      <a:lnTo>
                        <a:pt x="600" y="1974"/>
                      </a:lnTo>
                      <a:lnTo>
                        <a:pt x="612" y="1998"/>
                      </a:lnTo>
                      <a:lnTo>
                        <a:pt x="618" y="2016"/>
                      </a:lnTo>
                      <a:lnTo>
                        <a:pt x="618" y="2070"/>
                      </a:lnTo>
                      <a:lnTo>
                        <a:pt x="624" y="2094"/>
                      </a:lnTo>
                      <a:lnTo>
                        <a:pt x="642" y="2124"/>
                      </a:lnTo>
                      <a:lnTo>
                        <a:pt x="672" y="2166"/>
                      </a:lnTo>
                      <a:lnTo>
                        <a:pt x="696" y="2202"/>
                      </a:lnTo>
                      <a:lnTo>
                        <a:pt x="714" y="2232"/>
                      </a:lnTo>
                      <a:lnTo>
                        <a:pt x="720" y="2244"/>
                      </a:lnTo>
                      <a:lnTo>
                        <a:pt x="726" y="2244"/>
                      </a:lnTo>
                      <a:lnTo>
                        <a:pt x="732" y="2238"/>
                      </a:lnTo>
                      <a:lnTo>
                        <a:pt x="744" y="2238"/>
                      </a:lnTo>
                      <a:lnTo>
                        <a:pt x="768" y="2226"/>
                      </a:lnTo>
                      <a:lnTo>
                        <a:pt x="774" y="2220"/>
                      </a:lnTo>
                      <a:lnTo>
                        <a:pt x="780" y="2208"/>
                      </a:lnTo>
                      <a:lnTo>
                        <a:pt x="780" y="2172"/>
                      </a:lnTo>
                      <a:lnTo>
                        <a:pt x="786" y="2160"/>
                      </a:lnTo>
                      <a:lnTo>
                        <a:pt x="798" y="2154"/>
                      </a:lnTo>
                      <a:lnTo>
                        <a:pt x="804" y="2154"/>
                      </a:lnTo>
                      <a:lnTo>
                        <a:pt x="810" y="2160"/>
                      </a:lnTo>
                      <a:lnTo>
                        <a:pt x="828" y="2160"/>
                      </a:lnTo>
                      <a:lnTo>
                        <a:pt x="834" y="2154"/>
                      </a:lnTo>
                      <a:lnTo>
                        <a:pt x="846" y="2148"/>
                      </a:lnTo>
                      <a:lnTo>
                        <a:pt x="852" y="2142"/>
                      </a:lnTo>
                      <a:lnTo>
                        <a:pt x="864" y="2136"/>
                      </a:lnTo>
                      <a:lnTo>
                        <a:pt x="852" y="2136"/>
                      </a:lnTo>
                      <a:lnTo>
                        <a:pt x="846" y="2130"/>
                      </a:lnTo>
                      <a:lnTo>
                        <a:pt x="846" y="2118"/>
                      </a:lnTo>
                      <a:lnTo>
                        <a:pt x="852" y="2100"/>
                      </a:lnTo>
                      <a:lnTo>
                        <a:pt x="858" y="2088"/>
                      </a:lnTo>
                      <a:lnTo>
                        <a:pt x="906" y="2064"/>
                      </a:lnTo>
                      <a:lnTo>
                        <a:pt x="918" y="2052"/>
                      </a:lnTo>
                      <a:lnTo>
                        <a:pt x="918" y="2040"/>
                      </a:lnTo>
                      <a:lnTo>
                        <a:pt x="912" y="2028"/>
                      </a:lnTo>
                      <a:lnTo>
                        <a:pt x="912" y="2010"/>
                      </a:lnTo>
                      <a:lnTo>
                        <a:pt x="900" y="1974"/>
                      </a:lnTo>
                      <a:lnTo>
                        <a:pt x="900" y="1908"/>
                      </a:lnTo>
                      <a:lnTo>
                        <a:pt x="906" y="1890"/>
                      </a:lnTo>
                      <a:lnTo>
                        <a:pt x="906" y="1884"/>
                      </a:lnTo>
                      <a:lnTo>
                        <a:pt x="912" y="1878"/>
                      </a:lnTo>
                      <a:lnTo>
                        <a:pt x="912" y="1860"/>
                      </a:lnTo>
                      <a:lnTo>
                        <a:pt x="918" y="1842"/>
                      </a:lnTo>
                      <a:lnTo>
                        <a:pt x="918" y="1800"/>
                      </a:lnTo>
                      <a:lnTo>
                        <a:pt x="906" y="1776"/>
                      </a:lnTo>
                      <a:lnTo>
                        <a:pt x="888" y="1758"/>
                      </a:lnTo>
                      <a:lnTo>
                        <a:pt x="888" y="1728"/>
                      </a:lnTo>
                      <a:lnTo>
                        <a:pt x="894" y="1722"/>
                      </a:lnTo>
                      <a:lnTo>
                        <a:pt x="900" y="1710"/>
                      </a:lnTo>
                      <a:lnTo>
                        <a:pt x="900" y="1698"/>
                      </a:lnTo>
                      <a:lnTo>
                        <a:pt x="894" y="1686"/>
                      </a:lnTo>
                      <a:lnTo>
                        <a:pt x="894" y="1644"/>
                      </a:lnTo>
                      <a:lnTo>
                        <a:pt x="918" y="1632"/>
                      </a:lnTo>
                      <a:lnTo>
                        <a:pt x="924" y="1632"/>
                      </a:lnTo>
                      <a:lnTo>
                        <a:pt x="948" y="1620"/>
                      </a:lnTo>
                      <a:lnTo>
                        <a:pt x="948" y="1596"/>
                      </a:lnTo>
                      <a:lnTo>
                        <a:pt x="954" y="1584"/>
                      </a:lnTo>
                      <a:lnTo>
                        <a:pt x="960" y="1578"/>
                      </a:lnTo>
                      <a:lnTo>
                        <a:pt x="972" y="1572"/>
                      </a:lnTo>
                      <a:lnTo>
                        <a:pt x="990" y="1572"/>
                      </a:lnTo>
                      <a:lnTo>
                        <a:pt x="996" y="1560"/>
                      </a:lnTo>
                      <a:lnTo>
                        <a:pt x="1002" y="1566"/>
                      </a:lnTo>
                      <a:lnTo>
                        <a:pt x="1032" y="1566"/>
                      </a:lnTo>
                      <a:lnTo>
                        <a:pt x="1032" y="1548"/>
                      </a:lnTo>
                      <a:lnTo>
                        <a:pt x="1038" y="1530"/>
                      </a:lnTo>
                      <a:lnTo>
                        <a:pt x="1050" y="1518"/>
                      </a:lnTo>
                      <a:lnTo>
                        <a:pt x="1056" y="1500"/>
                      </a:lnTo>
                      <a:lnTo>
                        <a:pt x="1068" y="1488"/>
                      </a:lnTo>
                      <a:lnTo>
                        <a:pt x="1074" y="1476"/>
                      </a:lnTo>
                      <a:lnTo>
                        <a:pt x="1086" y="1470"/>
                      </a:lnTo>
                      <a:lnTo>
                        <a:pt x="1092" y="1464"/>
                      </a:lnTo>
                      <a:lnTo>
                        <a:pt x="1110" y="1458"/>
                      </a:lnTo>
                      <a:lnTo>
                        <a:pt x="1116" y="1452"/>
                      </a:lnTo>
                      <a:lnTo>
                        <a:pt x="1128" y="1446"/>
                      </a:lnTo>
                      <a:lnTo>
                        <a:pt x="1134" y="1428"/>
                      </a:lnTo>
                      <a:lnTo>
                        <a:pt x="1158" y="1380"/>
                      </a:lnTo>
                      <a:lnTo>
                        <a:pt x="1176" y="1362"/>
                      </a:lnTo>
                      <a:lnTo>
                        <a:pt x="1188" y="1356"/>
                      </a:lnTo>
                      <a:lnTo>
                        <a:pt x="1206" y="1344"/>
                      </a:lnTo>
                      <a:lnTo>
                        <a:pt x="1218" y="1338"/>
                      </a:lnTo>
                      <a:lnTo>
                        <a:pt x="1236" y="1320"/>
                      </a:lnTo>
                      <a:lnTo>
                        <a:pt x="1242" y="1320"/>
                      </a:lnTo>
                      <a:lnTo>
                        <a:pt x="1230" y="1290"/>
                      </a:lnTo>
                      <a:lnTo>
                        <a:pt x="1236" y="1284"/>
                      </a:lnTo>
                      <a:lnTo>
                        <a:pt x="1260" y="1314"/>
                      </a:lnTo>
                      <a:lnTo>
                        <a:pt x="1320" y="1254"/>
                      </a:lnTo>
                      <a:lnTo>
                        <a:pt x="1332" y="1230"/>
                      </a:lnTo>
                      <a:lnTo>
                        <a:pt x="1326" y="1224"/>
                      </a:lnTo>
                      <a:lnTo>
                        <a:pt x="1320" y="1212"/>
                      </a:lnTo>
                      <a:lnTo>
                        <a:pt x="1314" y="1206"/>
                      </a:lnTo>
                      <a:lnTo>
                        <a:pt x="1308" y="1194"/>
                      </a:lnTo>
                      <a:lnTo>
                        <a:pt x="1308" y="1182"/>
                      </a:lnTo>
                      <a:lnTo>
                        <a:pt x="1320" y="1176"/>
                      </a:lnTo>
                      <a:lnTo>
                        <a:pt x="1326" y="1170"/>
                      </a:lnTo>
                      <a:lnTo>
                        <a:pt x="1338" y="1170"/>
                      </a:lnTo>
                      <a:lnTo>
                        <a:pt x="1350" y="1164"/>
                      </a:lnTo>
                      <a:lnTo>
                        <a:pt x="1362" y="1152"/>
                      </a:lnTo>
                      <a:lnTo>
                        <a:pt x="1374" y="1134"/>
                      </a:lnTo>
                      <a:lnTo>
                        <a:pt x="1374" y="1110"/>
                      </a:lnTo>
                      <a:lnTo>
                        <a:pt x="1392" y="1116"/>
                      </a:lnTo>
                      <a:lnTo>
                        <a:pt x="1398" y="1146"/>
                      </a:lnTo>
                      <a:lnTo>
                        <a:pt x="1416" y="1110"/>
                      </a:lnTo>
                      <a:lnTo>
                        <a:pt x="1416" y="1128"/>
                      </a:lnTo>
                      <a:lnTo>
                        <a:pt x="1422" y="1140"/>
                      </a:lnTo>
                      <a:lnTo>
                        <a:pt x="1422" y="1158"/>
                      </a:lnTo>
                      <a:lnTo>
                        <a:pt x="1428" y="1170"/>
                      </a:lnTo>
                      <a:lnTo>
                        <a:pt x="1434" y="1176"/>
                      </a:lnTo>
                      <a:lnTo>
                        <a:pt x="1440" y="1176"/>
                      </a:lnTo>
                      <a:lnTo>
                        <a:pt x="1446" y="1170"/>
                      </a:lnTo>
                      <a:lnTo>
                        <a:pt x="1446" y="1158"/>
                      </a:lnTo>
                      <a:lnTo>
                        <a:pt x="1452" y="1152"/>
                      </a:lnTo>
                      <a:lnTo>
                        <a:pt x="1452" y="1140"/>
                      </a:lnTo>
                      <a:lnTo>
                        <a:pt x="1458" y="1110"/>
                      </a:lnTo>
                      <a:lnTo>
                        <a:pt x="1440" y="1068"/>
                      </a:lnTo>
                      <a:lnTo>
                        <a:pt x="1440" y="1038"/>
                      </a:lnTo>
                      <a:lnTo>
                        <a:pt x="1410" y="1014"/>
                      </a:lnTo>
                      <a:lnTo>
                        <a:pt x="1398" y="984"/>
                      </a:lnTo>
                      <a:lnTo>
                        <a:pt x="1404" y="972"/>
                      </a:lnTo>
                      <a:lnTo>
                        <a:pt x="1410" y="966"/>
                      </a:lnTo>
                      <a:lnTo>
                        <a:pt x="1416" y="948"/>
                      </a:lnTo>
                      <a:lnTo>
                        <a:pt x="1416" y="942"/>
                      </a:lnTo>
                      <a:lnTo>
                        <a:pt x="1410" y="936"/>
                      </a:lnTo>
                      <a:lnTo>
                        <a:pt x="1398" y="930"/>
                      </a:lnTo>
                      <a:lnTo>
                        <a:pt x="1380" y="930"/>
                      </a:lnTo>
                      <a:lnTo>
                        <a:pt x="1368" y="924"/>
                      </a:lnTo>
                      <a:lnTo>
                        <a:pt x="1356" y="912"/>
                      </a:lnTo>
                      <a:lnTo>
                        <a:pt x="1368" y="900"/>
                      </a:lnTo>
                      <a:lnTo>
                        <a:pt x="1374" y="900"/>
                      </a:lnTo>
                      <a:lnTo>
                        <a:pt x="1374" y="870"/>
                      </a:lnTo>
                      <a:lnTo>
                        <a:pt x="1410" y="870"/>
                      </a:lnTo>
                      <a:lnTo>
                        <a:pt x="1410" y="858"/>
                      </a:lnTo>
                      <a:lnTo>
                        <a:pt x="1380" y="840"/>
                      </a:lnTo>
                      <a:lnTo>
                        <a:pt x="1374" y="840"/>
                      </a:lnTo>
                      <a:lnTo>
                        <a:pt x="1362" y="828"/>
                      </a:lnTo>
                      <a:lnTo>
                        <a:pt x="1350" y="822"/>
                      </a:lnTo>
                      <a:lnTo>
                        <a:pt x="1344" y="810"/>
                      </a:lnTo>
                      <a:lnTo>
                        <a:pt x="1344" y="804"/>
                      </a:lnTo>
                      <a:lnTo>
                        <a:pt x="1350" y="792"/>
                      </a:lnTo>
                      <a:lnTo>
                        <a:pt x="1362" y="780"/>
                      </a:lnTo>
                      <a:lnTo>
                        <a:pt x="1350" y="762"/>
                      </a:lnTo>
                      <a:lnTo>
                        <a:pt x="1368" y="762"/>
                      </a:lnTo>
                      <a:lnTo>
                        <a:pt x="1392" y="774"/>
                      </a:lnTo>
                      <a:lnTo>
                        <a:pt x="1386" y="768"/>
                      </a:lnTo>
                      <a:lnTo>
                        <a:pt x="1404" y="762"/>
                      </a:lnTo>
                      <a:lnTo>
                        <a:pt x="1410" y="774"/>
                      </a:lnTo>
                      <a:lnTo>
                        <a:pt x="1410" y="780"/>
                      </a:lnTo>
                      <a:lnTo>
                        <a:pt x="1416" y="792"/>
                      </a:lnTo>
                      <a:lnTo>
                        <a:pt x="1422" y="798"/>
                      </a:lnTo>
                      <a:lnTo>
                        <a:pt x="1434" y="798"/>
                      </a:lnTo>
                      <a:lnTo>
                        <a:pt x="1440" y="804"/>
                      </a:lnTo>
                      <a:lnTo>
                        <a:pt x="1446" y="786"/>
                      </a:lnTo>
                      <a:lnTo>
                        <a:pt x="1452" y="792"/>
                      </a:lnTo>
                      <a:lnTo>
                        <a:pt x="1458" y="792"/>
                      </a:lnTo>
                      <a:lnTo>
                        <a:pt x="1464" y="798"/>
                      </a:lnTo>
                      <a:lnTo>
                        <a:pt x="1464" y="828"/>
                      </a:lnTo>
                      <a:lnTo>
                        <a:pt x="1470" y="828"/>
                      </a:lnTo>
                      <a:lnTo>
                        <a:pt x="1470" y="864"/>
                      </a:lnTo>
                      <a:lnTo>
                        <a:pt x="1476" y="864"/>
                      </a:lnTo>
                      <a:lnTo>
                        <a:pt x="1482" y="870"/>
                      </a:lnTo>
                      <a:lnTo>
                        <a:pt x="1542" y="870"/>
                      </a:lnTo>
                      <a:lnTo>
                        <a:pt x="1554" y="876"/>
                      </a:lnTo>
                      <a:lnTo>
                        <a:pt x="1572" y="876"/>
                      </a:lnTo>
                      <a:lnTo>
                        <a:pt x="1620" y="864"/>
                      </a:lnTo>
                      <a:lnTo>
                        <a:pt x="1626" y="864"/>
                      </a:lnTo>
                      <a:lnTo>
                        <a:pt x="1650" y="888"/>
                      </a:lnTo>
                      <a:lnTo>
                        <a:pt x="1650" y="894"/>
                      </a:lnTo>
                      <a:lnTo>
                        <a:pt x="1644" y="900"/>
                      </a:lnTo>
                      <a:lnTo>
                        <a:pt x="1638" y="900"/>
                      </a:lnTo>
                      <a:lnTo>
                        <a:pt x="1638" y="912"/>
                      </a:lnTo>
                      <a:lnTo>
                        <a:pt x="1632" y="930"/>
                      </a:lnTo>
                      <a:lnTo>
                        <a:pt x="1626" y="942"/>
                      </a:lnTo>
                      <a:lnTo>
                        <a:pt x="1620" y="948"/>
                      </a:lnTo>
                      <a:lnTo>
                        <a:pt x="1614" y="948"/>
                      </a:lnTo>
                      <a:lnTo>
                        <a:pt x="1602" y="954"/>
                      </a:lnTo>
                      <a:lnTo>
                        <a:pt x="1596" y="954"/>
                      </a:lnTo>
                      <a:lnTo>
                        <a:pt x="1584" y="966"/>
                      </a:lnTo>
                      <a:lnTo>
                        <a:pt x="1578" y="978"/>
                      </a:lnTo>
                      <a:lnTo>
                        <a:pt x="1578" y="996"/>
                      </a:lnTo>
                      <a:lnTo>
                        <a:pt x="1584" y="1008"/>
                      </a:lnTo>
                      <a:lnTo>
                        <a:pt x="1602" y="1026"/>
                      </a:lnTo>
                      <a:lnTo>
                        <a:pt x="1608" y="1026"/>
                      </a:lnTo>
                      <a:lnTo>
                        <a:pt x="1626" y="1050"/>
                      </a:lnTo>
                      <a:lnTo>
                        <a:pt x="1632" y="1014"/>
                      </a:lnTo>
                      <a:lnTo>
                        <a:pt x="1632" y="990"/>
                      </a:lnTo>
                      <a:lnTo>
                        <a:pt x="1650" y="990"/>
                      </a:lnTo>
                      <a:lnTo>
                        <a:pt x="1662" y="996"/>
                      </a:lnTo>
                      <a:lnTo>
                        <a:pt x="1668" y="1002"/>
                      </a:lnTo>
                      <a:lnTo>
                        <a:pt x="1668" y="1020"/>
                      </a:lnTo>
                      <a:lnTo>
                        <a:pt x="1674" y="1032"/>
                      </a:lnTo>
                      <a:lnTo>
                        <a:pt x="1674" y="1038"/>
                      </a:lnTo>
                      <a:lnTo>
                        <a:pt x="1680" y="1050"/>
                      </a:lnTo>
                      <a:lnTo>
                        <a:pt x="1680" y="1062"/>
                      </a:lnTo>
                      <a:lnTo>
                        <a:pt x="1686" y="1074"/>
                      </a:lnTo>
                      <a:lnTo>
                        <a:pt x="1692" y="1092"/>
                      </a:lnTo>
                      <a:lnTo>
                        <a:pt x="1698" y="1104"/>
                      </a:lnTo>
                      <a:lnTo>
                        <a:pt x="1704" y="1110"/>
                      </a:lnTo>
                      <a:lnTo>
                        <a:pt x="1704" y="1116"/>
                      </a:lnTo>
                      <a:lnTo>
                        <a:pt x="1722" y="1134"/>
                      </a:lnTo>
                      <a:lnTo>
                        <a:pt x="1722" y="1110"/>
                      </a:lnTo>
                      <a:lnTo>
                        <a:pt x="1728" y="1110"/>
                      </a:lnTo>
                      <a:lnTo>
                        <a:pt x="1734" y="1116"/>
                      </a:lnTo>
                      <a:lnTo>
                        <a:pt x="1746" y="1116"/>
                      </a:lnTo>
                      <a:lnTo>
                        <a:pt x="1746" y="1104"/>
                      </a:lnTo>
                      <a:lnTo>
                        <a:pt x="1728" y="1086"/>
                      </a:lnTo>
                      <a:lnTo>
                        <a:pt x="1728" y="1062"/>
                      </a:lnTo>
                      <a:lnTo>
                        <a:pt x="1722" y="1050"/>
                      </a:lnTo>
                      <a:lnTo>
                        <a:pt x="1740" y="1032"/>
                      </a:lnTo>
                      <a:lnTo>
                        <a:pt x="1746" y="1032"/>
                      </a:lnTo>
                      <a:lnTo>
                        <a:pt x="1740" y="984"/>
                      </a:lnTo>
                      <a:lnTo>
                        <a:pt x="1722" y="966"/>
                      </a:lnTo>
                      <a:lnTo>
                        <a:pt x="1716" y="966"/>
                      </a:lnTo>
                      <a:lnTo>
                        <a:pt x="1770" y="966"/>
                      </a:lnTo>
                      <a:lnTo>
                        <a:pt x="1782" y="972"/>
                      </a:lnTo>
                      <a:lnTo>
                        <a:pt x="1794" y="972"/>
                      </a:lnTo>
                      <a:lnTo>
                        <a:pt x="1794" y="936"/>
                      </a:lnTo>
                      <a:lnTo>
                        <a:pt x="1812" y="882"/>
                      </a:lnTo>
                      <a:lnTo>
                        <a:pt x="1806" y="876"/>
                      </a:lnTo>
                      <a:lnTo>
                        <a:pt x="1800" y="864"/>
                      </a:lnTo>
                      <a:lnTo>
                        <a:pt x="1800" y="846"/>
                      </a:lnTo>
                      <a:lnTo>
                        <a:pt x="1812" y="840"/>
                      </a:lnTo>
                      <a:lnTo>
                        <a:pt x="1818" y="834"/>
                      </a:lnTo>
                      <a:lnTo>
                        <a:pt x="1836" y="804"/>
                      </a:lnTo>
                      <a:lnTo>
                        <a:pt x="1836" y="792"/>
                      </a:lnTo>
                      <a:lnTo>
                        <a:pt x="1830" y="786"/>
                      </a:lnTo>
                      <a:lnTo>
                        <a:pt x="1830" y="780"/>
                      </a:lnTo>
                      <a:lnTo>
                        <a:pt x="1824" y="774"/>
                      </a:lnTo>
                      <a:lnTo>
                        <a:pt x="1824" y="750"/>
                      </a:lnTo>
                      <a:lnTo>
                        <a:pt x="1830" y="750"/>
                      </a:lnTo>
                      <a:lnTo>
                        <a:pt x="1836" y="744"/>
                      </a:lnTo>
                      <a:lnTo>
                        <a:pt x="1848" y="744"/>
                      </a:lnTo>
                      <a:lnTo>
                        <a:pt x="1860" y="738"/>
                      </a:lnTo>
                      <a:lnTo>
                        <a:pt x="1872" y="726"/>
                      </a:lnTo>
                      <a:lnTo>
                        <a:pt x="1872" y="708"/>
                      </a:lnTo>
                      <a:lnTo>
                        <a:pt x="1878" y="708"/>
                      </a:lnTo>
                      <a:lnTo>
                        <a:pt x="1890" y="702"/>
                      </a:lnTo>
                      <a:lnTo>
                        <a:pt x="1926" y="702"/>
                      </a:lnTo>
                      <a:lnTo>
                        <a:pt x="1932" y="708"/>
                      </a:lnTo>
                      <a:lnTo>
                        <a:pt x="1950" y="708"/>
                      </a:lnTo>
                      <a:lnTo>
                        <a:pt x="1950" y="702"/>
                      </a:lnTo>
                      <a:lnTo>
                        <a:pt x="1944" y="696"/>
                      </a:lnTo>
                      <a:lnTo>
                        <a:pt x="1932" y="690"/>
                      </a:lnTo>
                      <a:lnTo>
                        <a:pt x="1926" y="684"/>
                      </a:lnTo>
                      <a:lnTo>
                        <a:pt x="1920" y="672"/>
                      </a:lnTo>
                      <a:close/>
                    </a:path>
                  </a:pathLst>
                </a:custGeom>
                <a:solidFill>
                  <a:schemeClr val="accent1"/>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623" name="Iceland"/>
                <p:cNvSpPr>
                  <a:spLocks/>
                </p:cNvSpPr>
                <p:nvPr/>
              </p:nvSpPr>
              <p:spPr bwMode="gray">
                <a:xfrm>
                  <a:off x="2363" y="968"/>
                  <a:ext cx="146" cy="57"/>
                </a:xfrm>
                <a:custGeom>
                  <a:avLst/>
                  <a:gdLst>
                    <a:gd name="T0" fmla="*/ 2147483647 w 570"/>
                    <a:gd name="T1" fmla="*/ 2147483647 h 222"/>
                    <a:gd name="T2" fmla="*/ 2147483647 w 570"/>
                    <a:gd name="T3" fmla="*/ 2147483647 h 222"/>
                    <a:gd name="T4" fmla="*/ 2147483647 w 570"/>
                    <a:gd name="T5" fmla="*/ 2147483647 h 222"/>
                    <a:gd name="T6" fmla="*/ 2147483647 w 570"/>
                    <a:gd name="T7" fmla="*/ 2147483647 h 222"/>
                    <a:gd name="T8" fmla="*/ 2147483647 w 570"/>
                    <a:gd name="T9" fmla="*/ 2147483647 h 222"/>
                    <a:gd name="T10" fmla="*/ 2147483647 w 570"/>
                    <a:gd name="T11" fmla="*/ 2147483647 h 222"/>
                    <a:gd name="T12" fmla="*/ 2147483647 w 570"/>
                    <a:gd name="T13" fmla="*/ 2147483647 h 222"/>
                    <a:gd name="T14" fmla="*/ 2147483647 w 570"/>
                    <a:gd name="T15" fmla="*/ 2147483647 h 222"/>
                    <a:gd name="T16" fmla="*/ 2147483647 w 570"/>
                    <a:gd name="T17" fmla="*/ 2147483647 h 222"/>
                    <a:gd name="T18" fmla="*/ 2147483647 w 570"/>
                    <a:gd name="T19" fmla="*/ 2147483647 h 222"/>
                    <a:gd name="T20" fmla="*/ 2147483647 w 570"/>
                    <a:gd name="T21" fmla="*/ 2147483647 h 222"/>
                    <a:gd name="T22" fmla="*/ 2147483647 w 570"/>
                    <a:gd name="T23" fmla="*/ 2147483647 h 222"/>
                    <a:gd name="T24" fmla="*/ 2147483647 w 570"/>
                    <a:gd name="T25" fmla="*/ 2147483647 h 222"/>
                    <a:gd name="T26" fmla="*/ 2147483647 w 570"/>
                    <a:gd name="T27" fmla="*/ 2147483647 h 222"/>
                    <a:gd name="T28" fmla="*/ 2147483647 w 570"/>
                    <a:gd name="T29" fmla="*/ 2147483647 h 222"/>
                    <a:gd name="T30" fmla="*/ 2147483647 w 570"/>
                    <a:gd name="T31" fmla="*/ 2147483647 h 222"/>
                    <a:gd name="T32" fmla="*/ 2147483647 w 570"/>
                    <a:gd name="T33" fmla="*/ 2147483647 h 222"/>
                    <a:gd name="T34" fmla="*/ 2147483647 w 570"/>
                    <a:gd name="T35" fmla="*/ 2147483647 h 222"/>
                    <a:gd name="T36" fmla="*/ 2147483647 w 570"/>
                    <a:gd name="T37" fmla="*/ 2147483647 h 222"/>
                    <a:gd name="T38" fmla="*/ 2147483647 w 570"/>
                    <a:gd name="T39" fmla="*/ 2147483647 h 222"/>
                    <a:gd name="T40" fmla="*/ 2147483647 w 570"/>
                    <a:gd name="T41" fmla="*/ 2147483647 h 222"/>
                    <a:gd name="T42" fmla="*/ 2147483647 w 570"/>
                    <a:gd name="T43" fmla="*/ 2147483647 h 222"/>
                    <a:gd name="T44" fmla="*/ 2147483647 w 570"/>
                    <a:gd name="T45" fmla="*/ 2147483647 h 222"/>
                    <a:gd name="T46" fmla="*/ 2147483647 w 570"/>
                    <a:gd name="T47" fmla="*/ 2147483647 h 222"/>
                    <a:gd name="T48" fmla="*/ 2147483647 w 570"/>
                    <a:gd name="T49" fmla="*/ 2147483647 h 222"/>
                    <a:gd name="T50" fmla="*/ 2147483647 w 570"/>
                    <a:gd name="T51" fmla="*/ 2147483647 h 222"/>
                    <a:gd name="T52" fmla="*/ 2147483647 w 570"/>
                    <a:gd name="T53" fmla="*/ 2147483647 h 222"/>
                    <a:gd name="T54" fmla="*/ 2147483647 w 570"/>
                    <a:gd name="T55" fmla="*/ 2147483647 h 222"/>
                    <a:gd name="T56" fmla="*/ 2147483647 w 570"/>
                    <a:gd name="T57" fmla="*/ 2147483647 h 222"/>
                    <a:gd name="T58" fmla="*/ 2147483647 w 570"/>
                    <a:gd name="T59" fmla="*/ 2147483647 h 222"/>
                    <a:gd name="T60" fmla="*/ 2147483647 w 570"/>
                    <a:gd name="T61" fmla="*/ 2147483647 h 222"/>
                    <a:gd name="T62" fmla="*/ 2147483647 w 570"/>
                    <a:gd name="T63" fmla="*/ 2147483647 h 222"/>
                    <a:gd name="T64" fmla="*/ 2147483647 w 570"/>
                    <a:gd name="T65" fmla="*/ 2147483647 h 222"/>
                    <a:gd name="T66" fmla="*/ 0 w 570"/>
                    <a:gd name="T67" fmla="*/ 2147483647 h 222"/>
                    <a:gd name="T68" fmla="*/ 2147483647 w 570"/>
                    <a:gd name="T69" fmla="*/ 2147483647 h 222"/>
                    <a:gd name="T70" fmla="*/ 2147483647 w 570"/>
                    <a:gd name="T71" fmla="*/ 2147483647 h 222"/>
                    <a:gd name="T72" fmla="*/ 2147483647 w 570"/>
                    <a:gd name="T73" fmla="*/ 2147483647 h 222"/>
                    <a:gd name="T74" fmla="*/ 2147483647 w 570"/>
                    <a:gd name="T75" fmla="*/ 2147483647 h 222"/>
                    <a:gd name="T76" fmla="*/ 2147483647 w 570"/>
                    <a:gd name="T77" fmla="*/ 2147483647 h 222"/>
                    <a:gd name="T78" fmla="*/ 2147483647 w 570"/>
                    <a:gd name="T79" fmla="*/ 2147483647 h 222"/>
                    <a:gd name="T80" fmla="*/ 2147483647 w 570"/>
                    <a:gd name="T81" fmla="*/ 2147483647 h 222"/>
                    <a:gd name="T82" fmla="*/ 2147483647 w 570"/>
                    <a:gd name="T83" fmla="*/ 2147483647 h 222"/>
                    <a:gd name="T84" fmla="*/ 2147483647 w 570"/>
                    <a:gd name="T85" fmla="*/ 2147483647 h 222"/>
                    <a:gd name="T86" fmla="*/ 2147483647 w 570"/>
                    <a:gd name="T87" fmla="*/ 2147483647 h 222"/>
                    <a:gd name="T88" fmla="*/ 2147483647 w 570"/>
                    <a:gd name="T89" fmla="*/ 2147483647 h 222"/>
                    <a:gd name="T90" fmla="*/ 2147483647 w 570"/>
                    <a:gd name="T91" fmla="*/ 2147483647 h 222"/>
                    <a:gd name="T92" fmla="*/ 2147483647 w 570"/>
                    <a:gd name="T93" fmla="*/ 2147483647 h 22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70"/>
                    <a:gd name="T142" fmla="*/ 0 h 222"/>
                    <a:gd name="T143" fmla="*/ 570 w 570"/>
                    <a:gd name="T144" fmla="*/ 222 h 22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70" h="222">
                      <a:moveTo>
                        <a:pt x="252" y="222"/>
                      </a:moveTo>
                      <a:lnTo>
                        <a:pt x="270" y="216"/>
                      </a:lnTo>
                      <a:lnTo>
                        <a:pt x="306" y="216"/>
                      </a:lnTo>
                      <a:lnTo>
                        <a:pt x="312" y="204"/>
                      </a:lnTo>
                      <a:lnTo>
                        <a:pt x="312" y="192"/>
                      </a:lnTo>
                      <a:lnTo>
                        <a:pt x="324" y="198"/>
                      </a:lnTo>
                      <a:lnTo>
                        <a:pt x="330" y="198"/>
                      </a:lnTo>
                      <a:lnTo>
                        <a:pt x="342" y="204"/>
                      </a:lnTo>
                      <a:lnTo>
                        <a:pt x="348" y="204"/>
                      </a:lnTo>
                      <a:lnTo>
                        <a:pt x="360" y="192"/>
                      </a:lnTo>
                      <a:lnTo>
                        <a:pt x="360" y="186"/>
                      </a:lnTo>
                      <a:lnTo>
                        <a:pt x="372" y="186"/>
                      </a:lnTo>
                      <a:lnTo>
                        <a:pt x="378" y="192"/>
                      </a:lnTo>
                      <a:lnTo>
                        <a:pt x="390" y="192"/>
                      </a:lnTo>
                      <a:lnTo>
                        <a:pt x="414" y="180"/>
                      </a:lnTo>
                      <a:lnTo>
                        <a:pt x="432" y="168"/>
                      </a:lnTo>
                      <a:lnTo>
                        <a:pt x="456" y="156"/>
                      </a:lnTo>
                      <a:lnTo>
                        <a:pt x="474" y="156"/>
                      </a:lnTo>
                      <a:lnTo>
                        <a:pt x="480" y="162"/>
                      </a:lnTo>
                      <a:lnTo>
                        <a:pt x="492" y="162"/>
                      </a:lnTo>
                      <a:lnTo>
                        <a:pt x="504" y="156"/>
                      </a:lnTo>
                      <a:lnTo>
                        <a:pt x="510" y="144"/>
                      </a:lnTo>
                      <a:lnTo>
                        <a:pt x="510" y="138"/>
                      </a:lnTo>
                      <a:lnTo>
                        <a:pt x="516" y="126"/>
                      </a:lnTo>
                      <a:lnTo>
                        <a:pt x="528" y="126"/>
                      </a:lnTo>
                      <a:lnTo>
                        <a:pt x="552" y="114"/>
                      </a:lnTo>
                      <a:lnTo>
                        <a:pt x="564" y="102"/>
                      </a:lnTo>
                      <a:lnTo>
                        <a:pt x="570" y="102"/>
                      </a:lnTo>
                      <a:lnTo>
                        <a:pt x="552" y="102"/>
                      </a:lnTo>
                      <a:lnTo>
                        <a:pt x="570" y="84"/>
                      </a:lnTo>
                      <a:lnTo>
                        <a:pt x="570" y="78"/>
                      </a:lnTo>
                      <a:lnTo>
                        <a:pt x="564" y="72"/>
                      </a:lnTo>
                      <a:lnTo>
                        <a:pt x="552" y="66"/>
                      </a:lnTo>
                      <a:lnTo>
                        <a:pt x="540" y="66"/>
                      </a:lnTo>
                      <a:lnTo>
                        <a:pt x="534" y="72"/>
                      </a:lnTo>
                      <a:lnTo>
                        <a:pt x="528" y="72"/>
                      </a:lnTo>
                      <a:lnTo>
                        <a:pt x="534" y="60"/>
                      </a:lnTo>
                      <a:lnTo>
                        <a:pt x="504" y="60"/>
                      </a:lnTo>
                      <a:lnTo>
                        <a:pt x="522" y="36"/>
                      </a:lnTo>
                      <a:lnTo>
                        <a:pt x="504" y="36"/>
                      </a:lnTo>
                      <a:lnTo>
                        <a:pt x="510" y="18"/>
                      </a:lnTo>
                      <a:lnTo>
                        <a:pt x="480" y="24"/>
                      </a:lnTo>
                      <a:lnTo>
                        <a:pt x="474" y="18"/>
                      </a:lnTo>
                      <a:lnTo>
                        <a:pt x="462" y="12"/>
                      </a:lnTo>
                      <a:lnTo>
                        <a:pt x="456" y="6"/>
                      </a:lnTo>
                      <a:lnTo>
                        <a:pt x="444" y="0"/>
                      </a:lnTo>
                      <a:lnTo>
                        <a:pt x="432" y="0"/>
                      </a:lnTo>
                      <a:lnTo>
                        <a:pt x="432" y="24"/>
                      </a:lnTo>
                      <a:lnTo>
                        <a:pt x="414" y="30"/>
                      </a:lnTo>
                      <a:lnTo>
                        <a:pt x="408" y="30"/>
                      </a:lnTo>
                      <a:lnTo>
                        <a:pt x="402" y="24"/>
                      </a:lnTo>
                      <a:lnTo>
                        <a:pt x="378" y="24"/>
                      </a:lnTo>
                      <a:lnTo>
                        <a:pt x="372" y="30"/>
                      </a:lnTo>
                      <a:lnTo>
                        <a:pt x="366" y="42"/>
                      </a:lnTo>
                      <a:lnTo>
                        <a:pt x="360" y="36"/>
                      </a:lnTo>
                      <a:lnTo>
                        <a:pt x="348" y="30"/>
                      </a:lnTo>
                      <a:lnTo>
                        <a:pt x="342" y="24"/>
                      </a:lnTo>
                      <a:lnTo>
                        <a:pt x="336" y="24"/>
                      </a:lnTo>
                      <a:lnTo>
                        <a:pt x="330" y="30"/>
                      </a:lnTo>
                      <a:lnTo>
                        <a:pt x="330" y="60"/>
                      </a:lnTo>
                      <a:lnTo>
                        <a:pt x="324" y="48"/>
                      </a:lnTo>
                      <a:lnTo>
                        <a:pt x="318" y="42"/>
                      </a:lnTo>
                      <a:lnTo>
                        <a:pt x="306" y="36"/>
                      </a:lnTo>
                      <a:lnTo>
                        <a:pt x="300" y="24"/>
                      </a:lnTo>
                      <a:lnTo>
                        <a:pt x="288" y="24"/>
                      </a:lnTo>
                      <a:lnTo>
                        <a:pt x="288" y="30"/>
                      </a:lnTo>
                      <a:lnTo>
                        <a:pt x="270" y="30"/>
                      </a:lnTo>
                      <a:lnTo>
                        <a:pt x="264" y="36"/>
                      </a:lnTo>
                      <a:lnTo>
                        <a:pt x="264" y="54"/>
                      </a:lnTo>
                      <a:lnTo>
                        <a:pt x="252" y="54"/>
                      </a:lnTo>
                      <a:lnTo>
                        <a:pt x="240" y="42"/>
                      </a:lnTo>
                      <a:lnTo>
                        <a:pt x="228" y="36"/>
                      </a:lnTo>
                      <a:lnTo>
                        <a:pt x="222" y="30"/>
                      </a:lnTo>
                      <a:lnTo>
                        <a:pt x="216" y="30"/>
                      </a:lnTo>
                      <a:lnTo>
                        <a:pt x="216" y="48"/>
                      </a:lnTo>
                      <a:lnTo>
                        <a:pt x="210" y="60"/>
                      </a:lnTo>
                      <a:lnTo>
                        <a:pt x="210" y="72"/>
                      </a:lnTo>
                      <a:lnTo>
                        <a:pt x="204" y="72"/>
                      </a:lnTo>
                      <a:lnTo>
                        <a:pt x="192" y="60"/>
                      </a:lnTo>
                      <a:lnTo>
                        <a:pt x="186" y="60"/>
                      </a:lnTo>
                      <a:lnTo>
                        <a:pt x="162" y="84"/>
                      </a:lnTo>
                      <a:lnTo>
                        <a:pt x="162" y="90"/>
                      </a:lnTo>
                      <a:lnTo>
                        <a:pt x="156" y="84"/>
                      </a:lnTo>
                      <a:lnTo>
                        <a:pt x="144" y="60"/>
                      </a:lnTo>
                      <a:lnTo>
                        <a:pt x="162" y="42"/>
                      </a:lnTo>
                      <a:lnTo>
                        <a:pt x="162" y="36"/>
                      </a:lnTo>
                      <a:lnTo>
                        <a:pt x="156" y="30"/>
                      </a:lnTo>
                      <a:lnTo>
                        <a:pt x="108" y="6"/>
                      </a:lnTo>
                      <a:lnTo>
                        <a:pt x="96" y="6"/>
                      </a:lnTo>
                      <a:lnTo>
                        <a:pt x="96" y="36"/>
                      </a:lnTo>
                      <a:lnTo>
                        <a:pt x="90" y="36"/>
                      </a:lnTo>
                      <a:lnTo>
                        <a:pt x="84" y="30"/>
                      </a:lnTo>
                      <a:lnTo>
                        <a:pt x="78" y="30"/>
                      </a:lnTo>
                      <a:lnTo>
                        <a:pt x="66" y="24"/>
                      </a:lnTo>
                      <a:lnTo>
                        <a:pt x="54" y="24"/>
                      </a:lnTo>
                      <a:lnTo>
                        <a:pt x="42" y="30"/>
                      </a:lnTo>
                      <a:lnTo>
                        <a:pt x="30" y="42"/>
                      </a:lnTo>
                      <a:lnTo>
                        <a:pt x="48" y="54"/>
                      </a:lnTo>
                      <a:lnTo>
                        <a:pt x="30" y="54"/>
                      </a:lnTo>
                      <a:lnTo>
                        <a:pt x="18" y="60"/>
                      </a:lnTo>
                      <a:lnTo>
                        <a:pt x="12" y="66"/>
                      </a:lnTo>
                      <a:lnTo>
                        <a:pt x="0" y="66"/>
                      </a:lnTo>
                      <a:lnTo>
                        <a:pt x="6" y="72"/>
                      </a:lnTo>
                      <a:lnTo>
                        <a:pt x="18" y="78"/>
                      </a:lnTo>
                      <a:lnTo>
                        <a:pt x="30" y="78"/>
                      </a:lnTo>
                      <a:lnTo>
                        <a:pt x="54" y="66"/>
                      </a:lnTo>
                      <a:lnTo>
                        <a:pt x="66" y="66"/>
                      </a:lnTo>
                      <a:lnTo>
                        <a:pt x="72" y="60"/>
                      </a:lnTo>
                      <a:lnTo>
                        <a:pt x="78" y="60"/>
                      </a:lnTo>
                      <a:lnTo>
                        <a:pt x="126" y="72"/>
                      </a:lnTo>
                      <a:lnTo>
                        <a:pt x="90" y="90"/>
                      </a:lnTo>
                      <a:lnTo>
                        <a:pt x="102" y="90"/>
                      </a:lnTo>
                      <a:lnTo>
                        <a:pt x="108" y="96"/>
                      </a:lnTo>
                      <a:lnTo>
                        <a:pt x="114" y="96"/>
                      </a:lnTo>
                      <a:lnTo>
                        <a:pt x="120" y="102"/>
                      </a:lnTo>
                      <a:lnTo>
                        <a:pt x="114" y="102"/>
                      </a:lnTo>
                      <a:lnTo>
                        <a:pt x="108" y="108"/>
                      </a:lnTo>
                      <a:lnTo>
                        <a:pt x="6" y="108"/>
                      </a:lnTo>
                      <a:lnTo>
                        <a:pt x="0" y="114"/>
                      </a:lnTo>
                      <a:lnTo>
                        <a:pt x="12" y="120"/>
                      </a:lnTo>
                      <a:lnTo>
                        <a:pt x="60" y="120"/>
                      </a:lnTo>
                      <a:lnTo>
                        <a:pt x="84" y="132"/>
                      </a:lnTo>
                      <a:lnTo>
                        <a:pt x="90" y="138"/>
                      </a:lnTo>
                      <a:lnTo>
                        <a:pt x="126" y="132"/>
                      </a:lnTo>
                      <a:lnTo>
                        <a:pt x="108" y="150"/>
                      </a:lnTo>
                      <a:lnTo>
                        <a:pt x="120" y="156"/>
                      </a:lnTo>
                      <a:lnTo>
                        <a:pt x="114" y="162"/>
                      </a:lnTo>
                      <a:lnTo>
                        <a:pt x="114" y="168"/>
                      </a:lnTo>
                      <a:lnTo>
                        <a:pt x="108" y="174"/>
                      </a:lnTo>
                      <a:lnTo>
                        <a:pt x="90" y="174"/>
                      </a:lnTo>
                      <a:lnTo>
                        <a:pt x="78" y="180"/>
                      </a:lnTo>
                      <a:lnTo>
                        <a:pt x="54" y="180"/>
                      </a:lnTo>
                      <a:lnTo>
                        <a:pt x="54" y="186"/>
                      </a:lnTo>
                      <a:lnTo>
                        <a:pt x="66" y="192"/>
                      </a:lnTo>
                      <a:lnTo>
                        <a:pt x="120" y="192"/>
                      </a:lnTo>
                      <a:lnTo>
                        <a:pt x="132" y="186"/>
                      </a:lnTo>
                      <a:lnTo>
                        <a:pt x="138" y="180"/>
                      </a:lnTo>
                      <a:lnTo>
                        <a:pt x="168" y="198"/>
                      </a:lnTo>
                      <a:lnTo>
                        <a:pt x="180" y="186"/>
                      </a:lnTo>
                      <a:lnTo>
                        <a:pt x="180" y="198"/>
                      </a:lnTo>
                      <a:lnTo>
                        <a:pt x="228" y="222"/>
                      </a:lnTo>
                      <a:lnTo>
                        <a:pt x="252" y="222"/>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624" name="Hungary"/>
                <p:cNvSpPr>
                  <a:spLocks/>
                </p:cNvSpPr>
                <p:nvPr/>
              </p:nvSpPr>
              <p:spPr bwMode="gray">
                <a:xfrm>
                  <a:off x="2934" y="1312"/>
                  <a:ext cx="109" cy="57"/>
                </a:xfrm>
                <a:custGeom>
                  <a:avLst/>
                  <a:gdLst>
                    <a:gd name="T0" fmla="*/ 2147483647 w 426"/>
                    <a:gd name="T1" fmla="*/ 2147483647 h 222"/>
                    <a:gd name="T2" fmla="*/ 2147483647 w 426"/>
                    <a:gd name="T3" fmla="*/ 2147483647 h 222"/>
                    <a:gd name="T4" fmla="*/ 2147483647 w 426"/>
                    <a:gd name="T5" fmla="*/ 2147483647 h 222"/>
                    <a:gd name="T6" fmla="*/ 0 w 426"/>
                    <a:gd name="T7" fmla="*/ 2147483647 h 222"/>
                    <a:gd name="T8" fmla="*/ 2147483647 w 426"/>
                    <a:gd name="T9" fmla="*/ 2147483647 h 222"/>
                    <a:gd name="T10" fmla="*/ 2147483647 w 426"/>
                    <a:gd name="T11" fmla="*/ 2147483647 h 222"/>
                    <a:gd name="T12" fmla="*/ 2147483647 w 426"/>
                    <a:gd name="T13" fmla="*/ 2147483647 h 222"/>
                    <a:gd name="T14" fmla="*/ 2147483647 w 426"/>
                    <a:gd name="T15" fmla="*/ 2147483647 h 222"/>
                    <a:gd name="T16" fmla="*/ 2147483647 w 426"/>
                    <a:gd name="T17" fmla="*/ 2147483647 h 222"/>
                    <a:gd name="T18" fmla="*/ 2147483647 w 426"/>
                    <a:gd name="T19" fmla="*/ 2147483647 h 222"/>
                    <a:gd name="T20" fmla="*/ 2147483647 w 426"/>
                    <a:gd name="T21" fmla="*/ 2147483647 h 222"/>
                    <a:gd name="T22" fmla="*/ 2147483647 w 426"/>
                    <a:gd name="T23" fmla="*/ 2147483647 h 222"/>
                    <a:gd name="T24" fmla="*/ 2147483647 w 426"/>
                    <a:gd name="T25" fmla="*/ 2147483647 h 222"/>
                    <a:gd name="T26" fmla="*/ 2147483647 w 426"/>
                    <a:gd name="T27" fmla="*/ 2147483647 h 222"/>
                    <a:gd name="T28" fmla="*/ 2147483647 w 426"/>
                    <a:gd name="T29" fmla="*/ 2147483647 h 222"/>
                    <a:gd name="T30" fmla="*/ 2147483647 w 426"/>
                    <a:gd name="T31" fmla="*/ 2147483647 h 222"/>
                    <a:gd name="T32" fmla="*/ 2147483647 w 426"/>
                    <a:gd name="T33" fmla="*/ 2147483647 h 222"/>
                    <a:gd name="T34" fmla="*/ 2147483647 w 426"/>
                    <a:gd name="T35" fmla="*/ 2147483647 h 222"/>
                    <a:gd name="T36" fmla="*/ 2147483647 w 426"/>
                    <a:gd name="T37" fmla="*/ 2147483647 h 222"/>
                    <a:gd name="T38" fmla="*/ 2147483647 w 426"/>
                    <a:gd name="T39" fmla="*/ 2147483647 h 222"/>
                    <a:gd name="T40" fmla="*/ 2147483647 w 426"/>
                    <a:gd name="T41" fmla="*/ 2147483647 h 222"/>
                    <a:gd name="T42" fmla="*/ 2147483647 w 426"/>
                    <a:gd name="T43" fmla="*/ 2147483647 h 222"/>
                    <a:gd name="T44" fmla="*/ 2147483647 w 426"/>
                    <a:gd name="T45" fmla="*/ 2147483647 h 222"/>
                    <a:gd name="T46" fmla="*/ 2147483647 w 426"/>
                    <a:gd name="T47" fmla="*/ 2147483647 h 222"/>
                    <a:gd name="T48" fmla="*/ 2147483647 w 426"/>
                    <a:gd name="T49" fmla="*/ 0 h 222"/>
                    <a:gd name="T50" fmla="*/ 2147483647 w 426"/>
                    <a:gd name="T51" fmla="*/ 2147483647 h 222"/>
                    <a:gd name="T52" fmla="*/ 2147483647 w 426"/>
                    <a:gd name="T53" fmla="*/ 0 h 222"/>
                    <a:gd name="T54" fmla="*/ 2147483647 w 426"/>
                    <a:gd name="T55" fmla="*/ 2147483647 h 222"/>
                    <a:gd name="T56" fmla="*/ 2147483647 w 426"/>
                    <a:gd name="T57" fmla="*/ 2147483647 h 222"/>
                    <a:gd name="T58" fmla="*/ 2147483647 w 426"/>
                    <a:gd name="T59" fmla="*/ 2147483647 h 222"/>
                    <a:gd name="T60" fmla="*/ 2147483647 w 426"/>
                    <a:gd name="T61" fmla="*/ 2147483647 h 222"/>
                    <a:gd name="T62" fmla="*/ 2147483647 w 426"/>
                    <a:gd name="T63" fmla="*/ 2147483647 h 222"/>
                    <a:gd name="T64" fmla="*/ 2147483647 w 426"/>
                    <a:gd name="T65" fmla="*/ 2147483647 h 222"/>
                    <a:gd name="T66" fmla="*/ 2147483647 w 426"/>
                    <a:gd name="T67" fmla="*/ 2147483647 h 222"/>
                    <a:gd name="T68" fmla="*/ 2147483647 w 426"/>
                    <a:gd name="T69" fmla="*/ 2147483647 h 222"/>
                    <a:gd name="T70" fmla="*/ 2147483647 w 426"/>
                    <a:gd name="T71" fmla="*/ 2147483647 h 22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26"/>
                    <a:gd name="T109" fmla="*/ 0 h 222"/>
                    <a:gd name="T110" fmla="*/ 426 w 426"/>
                    <a:gd name="T111" fmla="*/ 222 h 222"/>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26" h="222">
                      <a:moveTo>
                        <a:pt x="42" y="66"/>
                      </a:moveTo>
                      <a:lnTo>
                        <a:pt x="24" y="66"/>
                      </a:lnTo>
                      <a:lnTo>
                        <a:pt x="18" y="78"/>
                      </a:lnTo>
                      <a:lnTo>
                        <a:pt x="30" y="78"/>
                      </a:lnTo>
                      <a:lnTo>
                        <a:pt x="18" y="96"/>
                      </a:lnTo>
                      <a:lnTo>
                        <a:pt x="18" y="120"/>
                      </a:lnTo>
                      <a:lnTo>
                        <a:pt x="0" y="120"/>
                      </a:lnTo>
                      <a:lnTo>
                        <a:pt x="0" y="126"/>
                      </a:lnTo>
                      <a:lnTo>
                        <a:pt x="6" y="132"/>
                      </a:lnTo>
                      <a:lnTo>
                        <a:pt x="12" y="150"/>
                      </a:lnTo>
                      <a:lnTo>
                        <a:pt x="30" y="162"/>
                      </a:lnTo>
                      <a:lnTo>
                        <a:pt x="42" y="168"/>
                      </a:lnTo>
                      <a:lnTo>
                        <a:pt x="48" y="174"/>
                      </a:lnTo>
                      <a:lnTo>
                        <a:pt x="48" y="180"/>
                      </a:lnTo>
                      <a:lnTo>
                        <a:pt x="60" y="192"/>
                      </a:lnTo>
                      <a:lnTo>
                        <a:pt x="72" y="198"/>
                      </a:lnTo>
                      <a:lnTo>
                        <a:pt x="78" y="204"/>
                      </a:lnTo>
                      <a:lnTo>
                        <a:pt x="90" y="210"/>
                      </a:lnTo>
                      <a:lnTo>
                        <a:pt x="108" y="210"/>
                      </a:lnTo>
                      <a:lnTo>
                        <a:pt x="114" y="222"/>
                      </a:lnTo>
                      <a:lnTo>
                        <a:pt x="156" y="216"/>
                      </a:lnTo>
                      <a:lnTo>
                        <a:pt x="168" y="210"/>
                      </a:lnTo>
                      <a:lnTo>
                        <a:pt x="174" y="204"/>
                      </a:lnTo>
                      <a:lnTo>
                        <a:pt x="198" y="204"/>
                      </a:lnTo>
                      <a:lnTo>
                        <a:pt x="216" y="186"/>
                      </a:lnTo>
                      <a:lnTo>
                        <a:pt x="240" y="186"/>
                      </a:lnTo>
                      <a:lnTo>
                        <a:pt x="258" y="198"/>
                      </a:lnTo>
                      <a:lnTo>
                        <a:pt x="288" y="192"/>
                      </a:lnTo>
                      <a:lnTo>
                        <a:pt x="288" y="174"/>
                      </a:lnTo>
                      <a:lnTo>
                        <a:pt x="306" y="180"/>
                      </a:lnTo>
                      <a:lnTo>
                        <a:pt x="312" y="174"/>
                      </a:lnTo>
                      <a:lnTo>
                        <a:pt x="324" y="168"/>
                      </a:lnTo>
                      <a:lnTo>
                        <a:pt x="330" y="162"/>
                      </a:lnTo>
                      <a:lnTo>
                        <a:pt x="330" y="144"/>
                      </a:lnTo>
                      <a:lnTo>
                        <a:pt x="336" y="138"/>
                      </a:lnTo>
                      <a:lnTo>
                        <a:pt x="348" y="132"/>
                      </a:lnTo>
                      <a:lnTo>
                        <a:pt x="366" y="114"/>
                      </a:lnTo>
                      <a:lnTo>
                        <a:pt x="366" y="72"/>
                      </a:lnTo>
                      <a:lnTo>
                        <a:pt x="378" y="60"/>
                      </a:lnTo>
                      <a:lnTo>
                        <a:pt x="408" y="60"/>
                      </a:lnTo>
                      <a:lnTo>
                        <a:pt x="426" y="42"/>
                      </a:lnTo>
                      <a:lnTo>
                        <a:pt x="420" y="36"/>
                      </a:lnTo>
                      <a:lnTo>
                        <a:pt x="408" y="36"/>
                      </a:lnTo>
                      <a:lnTo>
                        <a:pt x="402" y="30"/>
                      </a:lnTo>
                      <a:lnTo>
                        <a:pt x="396" y="30"/>
                      </a:lnTo>
                      <a:lnTo>
                        <a:pt x="372" y="6"/>
                      </a:lnTo>
                      <a:lnTo>
                        <a:pt x="348" y="6"/>
                      </a:lnTo>
                      <a:lnTo>
                        <a:pt x="336" y="12"/>
                      </a:lnTo>
                      <a:lnTo>
                        <a:pt x="324" y="12"/>
                      </a:lnTo>
                      <a:lnTo>
                        <a:pt x="324" y="0"/>
                      </a:lnTo>
                      <a:lnTo>
                        <a:pt x="312" y="0"/>
                      </a:lnTo>
                      <a:lnTo>
                        <a:pt x="312" y="18"/>
                      </a:lnTo>
                      <a:lnTo>
                        <a:pt x="294" y="12"/>
                      </a:lnTo>
                      <a:lnTo>
                        <a:pt x="294" y="0"/>
                      </a:lnTo>
                      <a:lnTo>
                        <a:pt x="270" y="0"/>
                      </a:lnTo>
                      <a:lnTo>
                        <a:pt x="264" y="12"/>
                      </a:lnTo>
                      <a:lnTo>
                        <a:pt x="252" y="24"/>
                      </a:lnTo>
                      <a:lnTo>
                        <a:pt x="246" y="24"/>
                      </a:lnTo>
                      <a:lnTo>
                        <a:pt x="234" y="30"/>
                      </a:lnTo>
                      <a:lnTo>
                        <a:pt x="210" y="30"/>
                      </a:lnTo>
                      <a:lnTo>
                        <a:pt x="204" y="42"/>
                      </a:lnTo>
                      <a:lnTo>
                        <a:pt x="168" y="36"/>
                      </a:lnTo>
                      <a:lnTo>
                        <a:pt x="156" y="60"/>
                      </a:lnTo>
                      <a:lnTo>
                        <a:pt x="144" y="60"/>
                      </a:lnTo>
                      <a:lnTo>
                        <a:pt x="126" y="66"/>
                      </a:lnTo>
                      <a:lnTo>
                        <a:pt x="84" y="66"/>
                      </a:lnTo>
                      <a:lnTo>
                        <a:pt x="78" y="60"/>
                      </a:lnTo>
                      <a:lnTo>
                        <a:pt x="72" y="48"/>
                      </a:lnTo>
                      <a:lnTo>
                        <a:pt x="66" y="42"/>
                      </a:lnTo>
                      <a:lnTo>
                        <a:pt x="54" y="60"/>
                      </a:lnTo>
                      <a:lnTo>
                        <a:pt x="42" y="54"/>
                      </a:lnTo>
                      <a:lnTo>
                        <a:pt x="42" y="66"/>
                      </a:lnTo>
                      <a:close/>
                    </a:path>
                  </a:pathLst>
                </a:custGeom>
                <a:solidFill>
                  <a:schemeClr val="accent1"/>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625" name="Honduras"/>
                <p:cNvSpPr>
                  <a:spLocks/>
                </p:cNvSpPr>
                <p:nvPr/>
              </p:nvSpPr>
              <p:spPr bwMode="gray">
                <a:xfrm>
                  <a:off x="1042" y="1980"/>
                  <a:ext cx="114" cy="63"/>
                </a:xfrm>
                <a:custGeom>
                  <a:avLst/>
                  <a:gdLst>
                    <a:gd name="T0" fmla="*/ 2147483647 w 444"/>
                    <a:gd name="T1" fmla="*/ 2147483647 h 246"/>
                    <a:gd name="T2" fmla="*/ 2147483647 w 444"/>
                    <a:gd name="T3" fmla="*/ 2147483647 h 246"/>
                    <a:gd name="T4" fmla="*/ 2147483647 w 444"/>
                    <a:gd name="T5" fmla="*/ 2147483647 h 246"/>
                    <a:gd name="T6" fmla="*/ 2147483647 w 444"/>
                    <a:gd name="T7" fmla="*/ 2147483647 h 246"/>
                    <a:gd name="T8" fmla="*/ 2147483647 w 444"/>
                    <a:gd name="T9" fmla="*/ 2147483647 h 246"/>
                    <a:gd name="T10" fmla="*/ 2147483647 w 444"/>
                    <a:gd name="T11" fmla="*/ 2147483647 h 246"/>
                    <a:gd name="T12" fmla="*/ 2147483647 w 444"/>
                    <a:gd name="T13" fmla="*/ 2147483647 h 246"/>
                    <a:gd name="T14" fmla="*/ 2147483647 w 444"/>
                    <a:gd name="T15" fmla="*/ 2147483647 h 246"/>
                    <a:gd name="T16" fmla="*/ 2147483647 w 444"/>
                    <a:gd name="T17" fmla="*/ 2147483647 h 246"/>
                    <a:gd name="T18" fmla="*/ 2147483647 w 444"/>
                    <a:gd name="T19" fmla="*/ 2147483647 h 246"/>
                    <a:gd name="T20" fmla="*/ 2147483647 w 444"/>
                    <a:gd name="T21" fmla="*/ 2147483647 h 246"/>
                    <a:gd name="T22" fmla="*/ 2147483647 w 444"/>
                    <a:gd name="T23" fmla="*/ 2147483647 h 246"/>
                    <a:gd name="T24" fmla="*/ 2147483647 w 444"/>
                    <a:gd name="T25" fmla="*/ 2147483647 h 246"/>
                    <a:gd name="T26" fmla="*/ 2147483647 w 444"/>
                    <a:gd name="T27" fmla="*/ 2147483647 h 246"/>
                    <a:gd name="T28" fmla="*/ 2147483647 w 444"/>
                    <a:gd name="T29" fmla="*/ 2147483647 h 246"/>
                    <a:gd name="T30" fmla="*/ 2147483647 w 444"/>
                    <a:gd name="T31" fmla="*/ 2147483647 h 246"/>
                    <a:gd name="T32" fmla="*/ 2147483647 w 444"/>
                    <a:gd name="T33" fmla="*/ 2147483647 h 246"/>
                    <a:gd name="T34" fmla="*/ 2147483647 w 444"/>
                    <a:gd name="T35" fmla="*/ 2147483647 h 246"/>
                    <a:gd name="T36" fmla="*/ 2147483647 w 444"/>
                    <a:gd name="T37" fmla="*/ 2147483647 h 246"/>
                    <a:gd name="T38" fmla="*/ 2147483647 w 444"/>
                    <a:gd name="T39" fmla="*/ 0 h 246"/>
                    <a:gd name="T40" fmla="*/ 2147483647 w 444"/>
                    <a:gd name="T41" fmla="*/ 2147483647 h 246"/>
                    <a:gd name="T42" fmla="*/ 2147483647 w 444"/>
                    <a:gd name="T43" fmla="*/ 2147483647 h 246"/>
                    <a:gd name="T44" fmla="*/ 2147483647 w 444"/>
                    <a:gd name="T45" fmla="*/ 0 h 246"/>
                    <a:gd name="T46" fmla="*/ 2147483647 w 444"/>
                    <a:gd name="T47" fmla="*/ 2147483647 h 246"/>
                    <a:gd name="T48" fmla="*/ 2147483647 w 444"/>
                    <a:gd name="T49" fmla="*/ 2147483647 h 246"/>
                    <a:gd name="T50" fmla="*/ 2147483647 w 444"/>
                    <a:gd name="T51" fmla="*/ 2147483647 h 246"/>
                    <a:gd name="T52" fmla="*/ 2147483647 w 444"/>
                    <a:gd name="T53" fmla="*/ 2147483647 h 246"/>
                    <a:gd name="T54" fmla="*/ 2147483647 w 444"/>
                    <a:gd name="T55" fmla="*/ 2147483647 h 246"/>
                    <a:gd name="T56" fmla="*/ 2147483647 w 444"/>
                    <a:gd name="T57" fmla="*/ 2147483647 h 246"/>
                    <a:gd name="T58" fmla="*/ 2147483647 w 444"/>
                    <a:gd name="T59" fmla="*/ 2147483647 h 246"/>
                    <a:gd name="T60" fmla="*/ 2147483647 w 444"/>
                    <a:gd name="T61" fmla="*/ 0 h 246"/>
                    <a:gd name="T62" fmla="*/ 2147483647 w 444"/>
                    <a:gd name="T63" fmla="*/ 2147483647 h 246"/>
                    <a:gd name="T64" fmla="*/ 2147483647 w 444"/>
                    <a:gd name="T65" fmla="*/ 2147483647 h 246"/>
                    <a:gd name="T66" fmla="*/ 2147483647 w 444"/>
                    <a:gd name="T67" fmla="*/ 2147483647 h 246"/>
                    <a:gd name="T68" fmla="*/ 2147483647 w 444"/>
                    <a:gd name="T69" fmla="*/ 2147483647 h 246"/>
                    <a:gd name="T70" fmla="*/ 2147483647 w 444"/>
                    <a:gd name="T71" fmla="*/ 2147483647 h 246"/>
                    <a:gd name="T72" fmla="*/ 0 w 444"/>
                    <a:gd name="T73" fmla="*/ 2147483647 h 246"/>
                    <a:gd name="T74" fmla="*/ 2147483647 w 444"/>
                    <a:gd name="T75" fmla="*/ 2147483647 h 246"/>
                    <a:gd name="T76" fmla="*/ 2147483647 w 444"/>
                    <a:gd name="T77" fmla="*/ 2147483647 h 246"/>
                    <a:gd name="T78" fmla="*/ 2147483647 w 444"/>
                    <a:gd name="T79" fmla="*/ 2147483647 h 246"/>
                    <a:gd name="T80" fmla="*/ 2147483647 w 444"/>
                    <a:gd name="T81" fmla="*/ 2147483647 h 246"/>
                    <a:gd name="T82" fmla="*/ 2147483647 w 444"/>
                    <a:gd name="T83" fmla="*/ 2147483647 h 246"/>
                    <a:gd name="T84" fmla="*/ 2147483647 w 444"/>
                    <a:gd name="T85" fmla="*/ 2147483647 h 246"/>
                    <a:gd name="T86" fmla="*/ 2147483647 w 444"/>
                    <a:gd name="T87" fmla="*/ 2147483647 h 24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44"/>
                    <a:gd name="T133" fmla="*/ 0 h 246"/>
                    <a:gd name="T134" fmla="*/ 444 w 444"/>
                    <a:gd name="T135" fmla="*/ 246 h 24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44" h="246">
                      <a:moveTo>
                        <a:pt x="156" y="240"/>
                      </a:moveTo>
                      <a:lnTo>
                        <a:pt x="156" y="222"/>
                      </a:lnTo>
                      <a:lnTo>
                        <a:pt x="174" y="222"/>
                      </a:lnTo>
                      <a:lnTo>
                        <a:pt x="168" y="216"/>
                      </a:lnTo>
                      <a:lnTo>
                        <a:pt x="168" y="204"/>
                      </a:lnTo>
                      <a:lnTo>
                        <a:pt x="162" y="198"/>
                      </a:lnTo>
                      <a:lnTo>
                        <a:pt x="162" y="186"/>
                      </a:lnTo>
                      <a:lnTo>
                        <a:pt x="168" y="180"/>
                      </a:lnTo>
                      <a:lnTo>
                        <a:pt x="204" y="180"/>
                      </a:lnTo>
                      <a:lnTo>
                        <a:pt x="210" y="168"/>
                      </a:lnTo>
                      <a:lnTo>
                        <a:pt x="216" y="162"/>
                      </a:lnTo>
                      <a:lnTo>
                        <a:pt x="228" y="162"/>
                      </a:lnTo>
                      <a:lnTo>
                        <a:pt x="228" y="168"/>
                      </a:lnTo>
                      <a:lnTo>
                        <a:pt x="234" y="174"/>
                      </a:lnTo>
                      <a:lnTo>
                        <a:pt x="252" y="174"/>
                      </a:lnTo>
                      <a:lnTo>
                        <a:pt x="276" y="150"/>
                      </a:lnTo>
                      <a:lnTo>
                        <a:pt x="288" y="126"/>
                      </a:lnTo>
                      <a:lnTo>
                        <a:pt x="306" y="126"/>
                      </a:lnTo>
                      <a:lnTo>
                        <a:pt x="306" y="108"/>
                      </a:lnTo>
                      <a:lnTo>
                        <a:pt x="318" y="96"/>
                      </a:lnTo>
                      <a:lnTo>
                        <a:pt x="330" y="96"/>
                      </a:lnTo>
                      <a:lnTo>
                        <a:pt x="348" y="114"/>
                      </a:lnTo>
                      <a:lnTo>
                        <a:pt x="360" y="114"/>
                      </a:lnTo>
                      <a:lnTo>
                        <a:pt x="372" y="102"/>
                      </a:lnTo>
                      <a:lnTo>
                        <a:pt x="372" y="96"/>
                      </a:lnTo>
                      <a:lnTo>
                        <a:pt x="420" y="96"/>
                      </a:lnTo>
                      <a:lnTo>
                        <a:pt x="426" y="90"/>
                      </a:lnTo>
                      <a:lnTo>
                        <a:pt x="432" y="90"/>
                      </a:lnTo>
                      <a:lnTo>
                        <a:pt x="444" y="84"/>
                      </a:lnTo>
                      <a:lnTo>
                        <a:pt x="444" y="78"/>
                      </a:lnTo>
                      <a:lnTo>
                        <a:pt x="426" y="60"/>
                      </a:lnTo>
                      <a:lnTo>
                        <a:pt x="402" y="48"/>
                      </a:lnTo>
                      <a:lnTo>
                        <a:pt x="396" y="48"/>
                      </a:lnTo>
                      <a:lnTo>
                        <a:pt x="390" y="42"/>
                      </a:lnTo>
                      <a:lnTo>
                        <a:pt x="384" y="30"/>
                      </a:lnTo>
                      <a:lnTo>
                        <a:pt x="372" y="24"/>
                      </a:lnTo>
                      <a:lnTo>
                        <a:pt x="366" y="18"/>
                      </a:lnTo>
                      <a:lnTo>
                        <a:pt x="348" y="18"/>
                      </a:lnTo>
                      <a:lnTo>
                        <a:pt x="342" y="6"/>
                      </a:lnTo>
                      <a:lnTo>
                        <a:pt x="336" y="0"/>
                      </a:lnTo>
                      <a:lnTo>
                        <a:pt x="312" y="0"/>
                      </a:lnTo>
                      <a:lnTo>
                        <a:pt x="300" y="6"/>
                      </a:lnTo>
                      <a:lnTo>
                        <a:pt x="294" y="12"/>
                      </a:lnTo>
                      <a:lnTo>
                        <a:pt x="282" y="12"/>
                      </a:lnTo>
                      <a:lnTo>
                        <a:pt x="270" y="0"/>
                      </a:lnTo>
                      <a:lnTo>
                        <a:pt x="252" y="0"/>
                      </a:lnTo>
                      <a:lnTo>
                        <a:pt x="240" y="6"/>
                      </a:lnTo>
                      <a:lnTo>
                        <a:pt x="234" y="18"/>
                      </a:lnTo>
                      <a:lnTo>
                        <a:pt x="222" y="24"/>
                      </a:lnTo>
                      <a:lnTo>
                        <a:pt x="186" y="24"/>
                      </a:lnTo>
                      <a:lnTo>
                        <a:pt x="174" y="18"/>
                      </a:lnTo>
                      <a:lnTo>
                        <a:pt x="168" y="12"/>
                      </a:lnTo>
                      <a:lnTo>
                        <a:pt x="156" y="12"/>
                      </a:lnTo>
                      <a:lnTo>
                        <a:pt x="150" y="18"/>
                      </a:lnTo>
                      <a:lnTo>
                        <a:pt x="144" y="18"/>
                      </a:lnTo>
                      <a:lnTo>
                        <a:pt x="138" y="24"/>
                      </a:lnTo>
                      <a:lnTo>
                        <a:pt x="132" y="24"/>
                      </a:lnTo>
                      <a:lnTo>
                        <a:pt x="132" y="18"/>
                      </a:lnTo>
                      <a:lnTo>
                        <a:pt x="126" y="12"/>
                      </a:lnTo>
                      <a:lnTo>
                        <a:pt x="126" y="6"/>
                      </a:lnTo>
                      <a:lnTo>
                        <a:pt x="120" y="0"/>
                      </a:lnTo>
                      <a:lnTo>
                        <a:pt x="114" y="0"/>
                      </a:lnTo>
                      <a:lnTo>
                        <a:pt x="96" y="18"/>
                      </a:lnTo>
                      <a:lnTo>
                        <a:pt x="90" y="18"/>
                      </a:lnTo>
                      <a:lnTo>
                        <a:pt x="84" y="30"/>
                      </a:lnTo>
                      <a:lnTo>
                        <a:pt x="72" y="36"/>
                      </a:lnTo>
                      <a:lnTo>
                        <a:pt x="60" y="48"/>
                      </a:lnTo>
                      <a:lnTo>
                        <a:pt x="48" y="54"/>
                      </a:lnTo>
                      <a:lnTo>
                        <a:pt x="36" y="66"/>
                      </a:lnTo>
                      <a:lnTo>
                        <a:pt x="24" y="72"/>
                      </a:lnTo>
                      <a:lnTo>
                        <a:pt x="18" y="84"/>
                      </a:lnTo>
                      <a:lnTo>
                        <a:pt x="18" y="102"/>
                      </a:lnTo>
                      <a:lnTo>
                        <a:pt x="12" y="114"/>
                      </a:lnTo>
                      <a:lnTo>
                        <a:pt x="0" y="126"/>
                      </a:lnTo>
                      <a:lnTo>
                        <a:pt x="6" y="138"/>
                      </a:lnTo>
                      <a:lnTo>
                        <a:pt x="18" y="150"/>
                      </a:lnTo>
                      <a:lnTo>
                        <a:pt x="42" y="150"/>
                      </a:lnTo>
                      <a:lnTo>
                        <a:pt x="42" y="168"/>
                      </a:lnTo>
                      <a:lnTo>
                        <a:pt x="48" y="174"/>
                      </a:lnTo>
                      <a:lnTo>
                        <a:pt x="60" y="174"/>
                      </a:lnTo>
                      <a:lnTo>
                        <a:pt x="66" y="168"/>
                      </a:lnTo>
                      <a:lnTo>
                        <a:pt x="102" y="168"/>
                      </a:lnTo>
                      <a:lnTo>
                        <a:pt x="102" y="210"/>
                      </a:lnTo>
                      <a:lnTo>
                        <a:pt x="126" y="222"/>
                      </a:lnTo>
                      <a:lnTo>
                        <a:pt x="132" y="228"/>
                      </a:lnTo>
                      <a:lnTo>
                        <a:pt x="132" y="246"/>
                      </a:lnTo>
                      <a:lnTo>
                        <a:pt x="144" y="246"/>
                      </a:lnTo>
                      <a:lnTo>
                        <a:pt x="156" y="24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626" name="Haiti"/>
                <p:cNvSpPr>
                  <a:spLocks/>
                </p:cNvSpPr>
                <p:nvPr/>
              </p:nvSpPr>
              <p:spPr bwMode="gray">
                <a:xfrm>
                  <a:off x="1322" y="1900"/>
                  <a:ext cx="50" cy="40"/>
                </a:xfrm>
                <a:custGeom>
                  <a:avLst/>
                  <a:gdLst>
                    <a:gd name="T0" fmla="*/ 2147483647 w 198"/>
                    <a:gd name="T1" fmla="*/ 2147483647 h 156"/>
                    <a:gd name="T2" fmla="*/ 2147483647 w 198"/>
                    <a:gd name="T3" fmla="*/ 2147483647 h 156"/>
                    <a:gd name="T4" fmla="*/ 2147483647 w 198"/>
                    <a:gd name="T5" fmla="*/ 2147483647 h 156"/>
                    <a:gd name="T6" fmla="*/ 2147483647 w 198"/>
                    <a:gd name="T7" fmla="*/ 2147483647 h 156"/>
                    <a:gd name="T8" fmla="*/ 2147483647 w 198"/>
                    <a:gd name="T9" fmla="*/ 2147483647 h 156"/>
                    <a:gd name="T10" fmla="*/ 2147483647 w 198"/>
                    <a:gd name="T11" fmla="*/ 2147483647 h 156"/>
                    <a:gd name="T12" fmla="*/ 2147483647 w 198"/>
                    <a:gd name="T13" fmla="*/ 2147483647 h 156"/>
                    <a:gd name="T14" fmla="*/ 2147483647 w 198"/>
                    <a:gd name="T15" fmla="*/ 2147483647 h 156"/>
                    <a:gd name="T16" fmla="*/ 2147483647 w 198"/>
                    <a:gd name="T17" fmla="*/ 2147483647 h 156"/>
                    <a:gd name="T18" fmla="*/ 2147483647 w 198"/>
                    <a:gd name="T19" fmla="*/ 2147483647 h 156"/>
                    <a:gd name="T20" fmla="*/ 2147483647 w 198"/>
                    <a:gd name="T21" fmla="*/ 2147483647 h 156"/>
                    <a:gd name="T22" fmla="*/ 2147483647 w 198"/>
                    <a:gd name="T23" fmla="*/ 2147483647 h 156"/>
                    <a:gd name="T24" fmla="*/ 2147483647 w 198"/>
                    <a:gd name="T25" fmla="*/ 2147483647 h 156"/>
                    <a:gd name="T26" fmla="*/ 2147483647 w 198"/>
                    <a:gd name="T27" fmla="*/ 2147483647 h 156"/>
                    <a:gd name="T28" fmla="*/ 2147483647 w 198"/>
                    <a:gd name="T29" fmla="*/ 2147483647 h 156"/>
                    <a:gd name="T30" fmla="*/ 2147483647 w 198"/>
                    <a:gd name="T31" fmla="*/ 2147483647 h 156"/>
                    <a:gd name="T32" fmla="*/ 2147483647 w 198"/>
                    <a:gd name="T33" fmla="*/ 2147483647 h 156"/>
                    <a:gd name="T34" fmla="*/ 2147483647 w 198"/>
                    <a:gd name="T35" fmla="*/ 0 h 156"/>
                    <a:gd name="T36" fmla="*/ 2147483647 w 198"/>
                    <a:gd name="T37" fmla="*/ 0 h 156"/>
                    <a:gd name="T38" fmla="*/ 2147483647 w 198"/>
                    <a:gd name="T39" fmla="*/ 2147483647 h 156"/>
                    <a:gd name="T40" fmla="*/ 2147483647 w 198"/>
                    <a:gd name="T41" fmla="*/ 2147483647 h 156"/>
                    <a:gd name="T42" fmla="*/ 2147483647 w 198"/>
                    <a:gd name="T43" fmla="*/ 2147483647 h 156"/>
                    <a:gd name="T44" fmla="*/ 2147483647 w 198"/>
                    <a:gd name="T45" fmla="*/ 2147483647 h 156"/>
                    <a:gd name="T46" fmla="*/ 2147483647 w 198"/>
                    <a:gd name="T47" fmla="*/ 2147483647 h 156"/>
                    <a:gd name="T48" fmla="*/ 2147483647 w 198"/>
                    <a:gd name="T49" fmla="*/ 2147483647 h 156"/>
                    <a:gd name="T50" fmla="*/ 2147483647 w 198"/>
                    <a:gd name="T51" fmla="*/ 2147483647 h 156"/>
                    <a:gd name="T52" fmla="*/ 2147483647 w 198"/>
                    <a:gd name="T53" fmla="*/ 2147483647 h 156"/>
                    <a:gd name="T54" fmla="*/ 2147483647 w 198"/>
                    <a:gd name="T55" fmla="*/ 2147483647 h 156"/>
                    <a:gd name="T56" fmla="*/ 2147483647 w 198"/>
                    <a:gd name="T57" fmla="*/ 2147483647 h 156"/>
                    <a:gd name="T58" fmla="*/ 2147483647 w 198"/>
                    <a:gd name="T59" fmla="*/ 2147483647 h 156"/>
                    <a:gd name="T60" fmla="*/ 2147483647 w 198"/>
                    <a:gd name="T61" fmla="*/ 2147483647 h 156"/>
                    <a:gd name="T62" fmla="*/ 2147483647 w 198"/>
                    <a:gd name="T63" fmla="*/ 2147483647 h 156"/>
                    <a:gd name="T64" fmla="*/ 2147483647 w 198"/>
                    <a:gd name="T65" fmla="*/ 2147483647 h 156"/>
                    <a:gd name="T66" fmla="*/ 2147483647 w 198"/>
                    <a:gd name="T67" fmla="*/ 2147483647 h 156"/>
                    <a:gd name="T68" fmla="*/ 2147483647 w 198"/>
                    <a:gd name="T69" fmla="*/ 2147483647 h 156"/>
                    <a:gd name="T70" fmla="*/ 2147483647 w 198"/>
                    <a:gd name="T71" fmla="*/ 2147483647 h 156"/>
                    <a:gd name="T72" fmla="*/ 2147483647 w 198"/>
                    <a:gd name="T73" fmla="*/ 2147483647 h 156"/>
                    <a:gd name="T74" fmla="*/ 2147483647 w 198"/>
                    <a:gd name="T75" fmla="*/ 2147483647 h 156"/>
                    <a:gd name="T76" fmla="*/ 2147483647 w 198"/>
                    <a:gd name="T77" fmla="*/ 2147483647 h 156"/>
                    <a:gd name="T78" fmla="*/ 2147483647 w 198"/>
                    <a:gd name="T79" fmla="*/ 2147483647 h 156"/>
                    <a:gd name="T80" fmla="*/ 2147483647 w 198"/>
                    <a:gd name="T81" fmla="*/ 2147483647 h 156"/>
                    <a:gd name="T82" fmla="*/ 0 w 198"/>
                    <a:gd name="T83" fmla="*/ 2147483647 h 156"/>
                    <a:gd name="T84" fmla="*/ 0 w 198"/>
                    <a:gd name="T85" fmla="*/ 2147483647 h 156"/>
                    <a:gd name="T86" fmla="*/ 2147483647 w 198"/>
                    <a:gd name="T87" fmla="*/ 2147483647 h 156"/>
                    <a:gd name="T88" fmla="*/ 2147483647 w 198"/>
                    <a:gd name="T89" fmla="*/ 2147483647 h 156"/>
                    <a:gd name="T90" fmla="*/ 2147483647 w 198"/>
                    <a:gd name="T91" fmla="*/ 2147483647 h 156"/>
                    <a:gd name="T92" fmla="*/ 2147483647 w 198"/>
                    <a:gd name="T93" fmla="*/ 2147483647 h 156"/>
                    <a:gd name="T94" fmla="*/ 2147483647 w 198"/>
                    <a:gd name="T95" fmla="*/ 2147483647 h 156"/>
                    <a:gd name="T96" fmla="*/ 2147483647 w 198"/>
                    <a:gd name="T97" fmla="*/ 2147483647 h 156"/>
                    <a:gd name="T98" fmla="*/ 2147483647 w 198"/>
                    <a:gd name="T99" fmla="*/ 2147483647 h 156"/>
                    <a:gd name="T100" fmla="*/ 2147483647 w 198"/>
                    <a:gd name="T101" fmla="*/ 2147483647 h 156"/>
                    <a:gd name="T102" fmla="*/ 2147483647 w 198"/>
                    <a:gd name="T103" fmla="*/ 2147483647 h 156"/>
                    <a:gd name="T104" fmla="*/ 2147483647 w 198"/>
                    <a:gd name="T105" fmla="*/ 2147483647 h 156"/>
                    <a:gd name="T106" fmla="*/ 2147483647 w 198"/>
                    <a:gd name="T107" fmla="*/ 2147483647 h 156"/>
                    <a:gd name="T108" fmla="*/ 2147483647 w 198"/>
                    <a:gd name="T109" fmla="*/ 2147483647 h 156"/>
                    <a:gd name="T110" fmla="*/ 2147483647 w 198"/>
                    <a:gd name="T111" fmla="*/ 2147483647 h 156"/>
                    <a:gd name="T112" fmla="*/ 2147483647 w 198"/>
                    <a:gd name="T113" fmla="*/ 2147483647 h 15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98"/>
                    <a:gd name="T172" fmla="*/ 0 h 156"/>
                    <a:gd name="T173" fmla="*/ 198 w 198"/>
                    <a:gd name="T174" fmla="*/ 156 h 15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98" h="156">
                      <a:moveTo>
                        <a:pt x="168" y="114"/>
                      </a:moveTo>
                      <a:lnTo>
                        <a:pt x="168" y="108"/>
                      </a:lnTo>
                      <a:lnTo>
                        <a:pt x="174" y="102"/>
                      </a:lnTo>
                      <a:lnTo>
                        <a:pt x="180" y="90"/>
                      </a:lnTo>
                      <a:lnTo>
                        <a:pt x="180" y="78"/>
                      </a:lnTo>
                      <a:lnTo>
                        <a:pt x="186" y="72"/>
                      </a:lnTo>
                      <a:lnTo>
                        <a:pt x="192" y="60"/>
                      </a:lnTo>
                      <a:lnTo>
                        <a:pt x="198" y="54"/>
                      </a:lnTo>
                      <a:lnTo>
                        <a:pt x="198" y="42"/>
                      </a:lnTo>
                      <a:lnTo>
                        <a:pt x="186" y="6"/>
                      </a:lnTo>
                      <a:lnTo>
                        <a:pt x="180" y="12"/>
                      </a:lnTo>
                      <a:lnTo>
                        <a:pt x="180" y="18"/>
                      </a:lnTo>
                      <a:lnTo>
                        <a:pt x="174" y="18"/>
                      </a:lnTo>
                      <a:lnTo>
                        <a:pt x="168" y="12"/>
                      </a:lnTo>
                      <a:lnTo>
                        <a:pt x="156" y="12"/>
                      </a:lnTo>
                      <a:lnTo>
                        <a:pt x="144" y="6"/>
                      </a:lnTo>
                      <a:lnTo>
                        <a:pt x="126" y="6"/>
                      </a:lnTo>
                      <a:lnTo>
                        <a:pt x="114" y="0"/>
                      </a:lnTo>
                      <a:lnTo>
                        <a:pt x="84" y="0"/>
                      </a:lnTo>
                      <a:lnTo>
                        <a:pt x="72" y="6"/>
                      </a:lnTo>
                      <a:lnTo>
                        <a:pt x="66" y="12"/>
                      </a:lnTo>
                      <a:lnTo>
                        <a:pt x="66" y="18"/>
                      </a:lnTo>
                      <a:lnTo>
                        <a:pt x="72" y="24"/>
                      </a:lnTo>
                      <a:lnTo>
                        <a:pt x="108" y="24"/>
                      </a:lnTo>
                      <a:lnTo>
                        <a:pt x="114" y="30"/>
                      </a:lnTo>
                      <a:lnTo>
                        <a:pt x="120" y="42"/>
                      </a:lnTo>
                      <a:lnTo>
                        <a:pt x="126" y="48"/>
                      </a:lnTo>
                      <a:lnTo>
                        <a:pt x="114" y="54"/>
                      </a:lnTo>
                      <a:lnTo>
                        <a:pt x="108" y="60"/>
                      </a:lnTo>
                      <a:lnTo>
                        <a:pt x="108" y="72"/>
                      </a:lnTo>
                      <a:lnTo>
                        <a:pt x="114" y="84"/>
                      </a:lnTo>
                      <a:lnTo>
                        <a:pt x="114" y="96"/>
                      </a:lnTo>
                      <a:lnTo>
                        <a:pt x="120" y="102"/>
                      </a:lnTo>
                      <a:lnTo>
                        <a:pt x="114" y="108"/>
                      </a:lnTo>
                      <a:lnTo>
                        <a:pt x="96" y="108"/>
                      </a:lnTo>
                      <a:lnTo>
                        <a:pt x="78" y="102"/>
                      </a:lnTo>
                      <a:lnTo>
                        <a:pt x="66" y="102"/>
                      </a:lnTo>
                      <a:lnTo>
                        <a:pt x="54" y="96"/>
                      </a:lnTo>
                      <a:lnTo>
                        <a:pt x="36" y="96"/>
                      </a:lnTo>
                      <a:lnTo>
                        <a:pt x="24" y="102"/>
                      </a:lnTo>
                      <a:lnTo>
                        <a:pt x="6" y="102"/>
                      </a:lnTo>
                      <a:lnTo>
                        <a:pt x="0" y="108"/>
                      </a:lnTo>
                      <a:lnTo>
                        <a:pt x="0" y="114"/>
                      </a:lnTo>
                      <a:lnTo>
                        <a:pt x="6" y="120"/>
                      </a:lnTo>
                      <a:lnTo>
                        <a:pt x="12" y="132"/>
                      </a:lnTo>
                      <a:lnTo>
                        <a:pt x="24" y="138"/>
                      </a:lnTo>
                      <a:lnTo>
                        <a:pt x="30" y="150"/>
                      </a:lnTo>
                      <a:lnTo>
                        <a:pt x="36" y="156"/>
                      </a:lnTo>
                      <a:lnTo>
                        <a:pt x="42" y="156"/>
                      </a:lnTo>
                      <a:lnTo>
                        <a:pt x="48" y="150"/>
                      </a:lnTo>
                      <a:lnTo>
                        <a:pt x="54" y="138"/>
                      </a:lnTo>
                      <a:lnTo>
                        <a:pt x="60" y="132"/>
                      </a:lnTo>
                      <a:lnTo>
                        <a:pt x="138" y="132"/>
                      </a:lnTo>
                      <a:lnTo>
                        <a:pt x="156" y="126"/>
                      </a:lnTo>
                      <a:lnTo>
                        <a:pt x="168" y="126"/>
                      </a:lnTo>
                      <a:lnTo>
                        <a:pt x="180" y="144"/>
                      </a:lnTo>
                      <a:lnTo>
                        <a:pt x="168" y="114"/>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627" name="Guyane (French Guiana)"/>
                <p:cNvSpPr>
                  <a:spLocks/>
                </p:cNvSpPr>
                <p:nvPr/>
              </p:nvSpPr>
              <p:spPr bwMode="gray">
                <a:xfrm>
                  <a:off x="1658" y="2191"/>
                  <a:ext cx="52" cy="76"/>
                </a:xfrm>
                <a:custGeom>
                  <a:avLst/>
                  <a:gdLst>
                    <a:gd name="T0" fmla="*/ 2147483647 w 52"/>
                    <a:gd name="T1" fmla="*/ 2147483647 h 76"/>
                    <a:gd name="T2" fmla="*/ 2147483647 w 52"/>
                    <a:gd name="T3" fmla="*/ 2147483647 h 76"/>
                    <a:gd name="T4" fmla="*/ 2147483647 w 52"/>
                    <a:gd name="T5" fmla="*/ 2147483647 h 76"/>
                    <a:gd name="T6" fmla="*/ 2147483647 w 52"/>
                    <a:gd name="T7" fmla="*/ 2147483647 h 76"/>
                    <a:gd name="T8" fmla="*/ 2147483647 w 52"/>
                    <a:gd name="T9" fmla="*/ 2147483647 h 76"/>
                    <a:gd name="T10" fmla="*/ 2147483647 w 52"/>
                    <a:gd name="T11" fmla="*/ 2147483647 h 76"/>
                    <a:gd name="T12" fmla="*/ 2147483647 w 52"/>
                    <a:gd name="T13" fmla="*/ 2147483647 h 76"/>
                    <a:gd name="T14" fmla="*/ 2147483647 w 52"/>
                    <a:gd name="T15" fmla="*/ 2147483647 h 76"/>
                    <a:gd name="T16" fmla="*/ 2147483647 w 52"/>
                    <a:gd name="T17" fmla="*/ 2147483647 h 76"/>
                    <a:gd name="T18" fmla="*/ 2147483647 w 52"/>
                    <a:gd name="T19" fmla="*/ 2147483647 h 76"/>
                    <a:gd name="T20" fmla="*/ 2147483647 w 52"/>
                    <a:gd name="T21" fmla="*/ 2147483647 h 76"/>
                    <a:gd name="T22" fmla="*/ 2147483647 w 52"/>
                    <a:gd name="T23" fmla="*/ 0 h 76"/>
                    <a:gd name="T24" fmla="*/ 2147483647 w 52"/>
                    <a:gd name="T25" fmla="*/ 2147483647 h 76"/>
                    <a:gd name="T26" fmla="*/ 2147483647 w 52"/>
                    <a:gd name="T27" fmla="*/ 2147483647 h 76"/>
                    <a:gd name="T28" fmla="*/ 2147483647 w 52"/>
                    <a:gd name="T29" fmla="*/ 2147483647 h 76"/>
                    <a:gd name="T30" fmla="*/ 2147483647 w 52"/>
                    <a:gd name="T31" fmla="*/ 2147483647 h 76"/>
                    <a:gd name="T32" fmla="*/ 2147483647 w 52"/>
                    <a:gd name="T33" fmla="*/ 2147483647 h 76"/>
                    <a:gd name="T34" fmla="*/ 2147483647 w 52"/>
                    <a:gd name="T35" fmla="*/ 2147483647 h 76"/>
                    <a:gd name="T36" fmla="*/ 2147483647 w 52"/>
                    <a:gd name="T37" fmla="*/ 2147483647 h 76"/>
                    <a:gd name="T38" fmla="*/ 2147483647 w 52"/>
                    <a:gd name="T39" fmla="*/ 2147483647 h 76"/>
                    <a:gd name="T40" fmla="*/ 2147483647 w 52"/>
                    <a:gd name="T41" fmla="*/ 2147483647 h 76"/>
                    <a:gd name="T42" fmla="*/ 2147483647 w 52"/>
                    <a:gd name="T43" fmla="*/ 2147483647 h 76"/>
                    <a:gd name="T44" fmla="*/ 2147483647 w 52"/>
                    <a:gd name="T45" fmla="*/ 2147483647 h 76"/>
                    <a:gd name="T46" fmla="*/ 2147483647 w 52"/>
                    <a:gd name="T47" fmla="*/ 2147483647 h 76"/>
                    <a:gd name="T48" fmla="*/ 2147483647 w 52"/>
                    <a:gd name="T49" fmla="*/ 2147483647 h 76"/>
                    <a:gd name="T50" fmla="*/ 2147483647 w 52"/>
                    <a:gd name="T51" fmla="*/ 2147483647 h 76"/>
                    <a:gd name="T52" fmla="*/ 2147483647 w 52"/>
                    <a:gd name="T53" fmla="*/ 2147483647 h 76"/>
                    <a:gd name="T54" fmla="*/ 2147483647 w 52"/>
                    <a:gd name="T55" fmla="*/ 2147483647 h 76"/>
                    <a:gd name="T56" fmla="*/ 2147483647 w 52"/>
                    <a:gd name="T57" fmla="*/ 2147483647 h 76"/>
                    <a:gd name="T58" fmla="*/ 2147483647 w 52"/>
                    <a:gd name="T59" fmla="*/ 2147483647 h 76"/>
                    <a:gd name="T60" fmla="*/ 2147483647 w 52"/>
                    <a:gd name="T61" fmla="*/ 2147483647 h 76"/>
                    <a:gd name="T62" fmla="*/ 2147483647 w 52"/>
                    <a:gd name="T63" fmla="*/ 2147483647 h 76"/>
                    <a:gd name="T64" fmla="*/ 0 w 52"/>
                    <a:gd name="T65" fmla="*/ 2147483647 h 76"/>
                    <a:gd name="T66" fmla="*/ 0 w 52"/>
                    <a:gd name="T67" fmla="*/ 2147483647 h 76"/>
                    <a:gd name="T68" fmla="*/ 2147483647 w 52"/>
                    <a:gd name="T69" fmla="*/ 2147483647 h 76"/>
                    <a:gd name="T70" fmla="*/ 2147483647 w 52"/>
                    <a:gd name="T71" fmla="*/ 2147483647 h 76"/>
                    <a:gd name="T72" fmla="*/ 2147483647 w 52"/>
                    <a:gd name="T73" fmla="*/ 2147483647 h 76"/>
                    <a:gd name="T74" fmla="*/ 2147483647 w 52"/>
                    <a:gd name="T75" fmla="*/ 2147483647 h 76"/>
                    <a:gd name="T76" fmla="*/ 2147483647 w 52"/>
                    <a:gd name="T77" fmla="*/ 2147483647 h 76"/>
                    <a:gd name="T78" fmla="*/ 2147483647 w 52"/>
                    <a:gd name="T79" fmla="*/ 2147483647 h 76"/>
                    <a:gd name="T80" fmla="*/ 2147483647 w 52"/>
                    <a:gd name="T81" fmla="*/ 2147483647 h 76"/>
                    <a:gd name="T82" fmla="*/ 2147483647 w 52"/>
                    <a:gd name="T83" fmla="*/ 2147483647 h 76"/>
                    <a:gd name="T84" fmla="*/ 2147483647 w 52"/>
                    <a:gd name="T85" fmla="*/ 2147483647 h 76"/>
                    <a:gd name="T86" fmla="*/ 2147483647 w 52"/>
                    <a:gd name="T87" fmla="*/ 2147483647 h 76"/>
                    <a:gd name="T88" fmla="*/ 2147483647 w 52"/>
                    <a:gd name="T89" fmla="*/ 2147483647 h 76"/>
                    <a:gd name="T90" fmla="*/ 2147483647 w 52"/>
                    <a:gd name="T91" fmla="*/ 2147483647 h 76"/>
                    <a:gd name="T92" fmla="*/ 2147483647 w 52"/>
                    <a:gd name="T93" fmla="*/ 2147483647 h 76"/>
                    <a:gd name="T94" fmla="*/ 2147483647 w 52"/>
                    <a:gd name="T95" fmla="*/ 2147483647 h 76"/>
                    <a:gd name="T96" fmla="*/ 2147483647 w 52"/>
                    <a:gd name="T97" fmla="*/ 2147483647 h 76"/>
                    <a:gd name="T98" fmla="*/ 2147483647 w 52"/>
                    <a:gd name="T99" fmla="*/ 2147483647 h 76"/>
                    <a:gd name="T100" fmla="*/ 2147483647 w 52"/>
                    <a:gd name="T101" fmla="*/ 2147483647 h 76"/>
                    <a:gd name="T102" fmla="*/ 2147483647 w 52"/>
                    <a:gd name="T103" fmla="*/ 2147483647 h 76"/>
                    <a:gd name="T104" fmla="*/ 2147483647 w 52"/>
                    <a:gd name="T105" fmla="*/ 2147483647 h 76"/>
                    <a:gd name="T106" fmla="*/ 2147483647 w 52"/>
                    <a:gd name="T107" fmla="*/ 2147483647 h 76"/>
                    <a:gd name="T108" fmla="*/ 2147483647 w 52"/>
                    <a:gd name="T109" fmla="*/ 2147483647 h 76"/>
                    <a:gd name="T110" fmla="*/ 2147483647 w 52"/>
                    <a:gd name="T111" fmla="*/ 2147483647 h 76"/>
                    <a:gd name="T112" fmla="*/ 2147483647 w 52"/>
                    <a:gd name="T113" fmla="*/ 2147483647 h 76"/>
                    <a:gd name="T114" fmla="*/ 2147483647 w 52"/>
                    <a:gd name="T115" fmla="*/ 2147483647 h 7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52"/>
                    <a:gd name="T175" fmla="*/ 0 h 76"/>
                    <a:gd name="T176" fmla="*/ 52 w 52"/>
                    <a:gd name="T177" fmla="*/ 76 h 7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52" h="76">
                      <a:moveTo>
                        <a:pt x="52" y="32"/>
                      </a:moveTo>
                      <a:lnTo>
                        <a:pt x="50" y="26"/>
                      </a:lnTo>
                      <a:lnTo>
                        <a:pt x="48" y="24"/>
                      </a:lnTo>
                      <a:lnTo>
                        <a:pt x="46" y="22"/>
                      </a:lnTo>
                      <a:lnTo>
                        <a:pt x="46" y="20"/>
                      </a:lnTo>
                      <a:lnTo>
                        <a:pt x="40" y="20"/>
                      </a:lnTo>
                      <a:lnTo>
                        <a:pt x="32" y="6"/>
                      </a:lnTo>
                      <a:lnTo>
                        <a:pt x="24" y="6"/>
                      </a:lnTo>
                      <a:lnTo>
                        <a:pt x="22" y="4"/>
                      </a:lnTo>
                      <a:lnTo>
                        <a:pt x="20" y="4"/>
                      </a:lnTo>
                      <a:lnTo>
                        <a:pt x="16" y="2"/>
                      </a:lnTo>
                      <a:lnTo>
                        <a:pt x="14" y="0"/>
                      </a:lnTo>
                      <a:lnTo>
                        <a:pt x="12" y="4"/>
                      </a:lnTo>
                      <a:lnTo>
                        <a:pt x="12" y="10"/>
                      </a:lnTo>
                      <a:lnTo>
                        <a:pt x="10" y="10"/>
                      </a:lnTo>
                      <a:lnTo>
                        <a:pt x="8" y="12"/>
                      </a:lnTo>
                      <a:lnTo>
                        <a:pt x="6" y="14"/>
                      </a:lnTo>
                      <a:lnTo>
                        <a:pt x="4" y="16"/>
                      </a:lnTo>
                      <a:lnTo>
                        <a:pt x="2" y="20"/>
                      </a:lnTo>
                      <a:lnTo>
                        <a:pt x="2" y="28"/>
                      </a:lnTo>
                      <a:lnTo>
                        <a:pt x="4" y="32"/>
                      </a:lnTo>
                      <a:lnTo>
                        <a:pt x="4" y="36"/>
                      </a:lnTo>
                      <a:lnTo>
                        <a:pt x="6" y="40"/>
                      </a:lnTo>
                      <a:lnTo>
                        <a:pt x="10" y="44"/>
                      </a:lnTo>
                      <a:lnTo>
                        <a:pt x="12" y="46"/>
                      </a:lnTo>
                      <a:lnTo>
                        <a:pt x="12" y="48"/>
                      </a:lnTo>
                      <a:lnTo>
                        <a:pt x="6" y="54"/>
                      </a:lnTo>
                      <a:lnTo>
                        <a:pt x="8" y="62"/>
                      </a:lnTo>
                      <a:lnTo>
                        <a:pt x="6" y="64"/>
                      </a:lnTo>
                      <a:lnTo>
                        <a:pt x="4" y="64"/>
                      </a:lnTo>
                      <a:lnTo>
                        <a:pt x="4" y="66"/>
                      </a:lnTo>
                      <a:lnTo>
                        <a:pt x="2" y="68"/>
                      </a:lnTo>
                      <a:lnTo>
                        <a:pt x="0" y="72"/>
                      </a:lnTo>
                      <a:lnTo>
                        <a:pt x="4" y="76"/>
                      </a:lnTo>
                      <a:lnTo>
                        <a:pt x="10" y="76"/>
                      </a:lnTo>
                      <a:lnTo>
                        <a:pt x="12" y="74"/>
                      </a:lnTo>
                      <a:lnTo>
                        <a:pt x="12" y="72"/>
                      </a:lnTo>
                      <a:lnTo>
                        <a:pt x="14" y="72"/>
                      </a:lnTo>
                      <a:lnTo>
                        <a:pt x="16" y="72"/>
                      </a:lnTo>
                      <a:lnTo>
                        <a:pt x="18" y="72"/>
                      </a:lnTo>
                      <a:lnTo>
                        <a:pt x="20" y="72"/>
                      </a:lnTo>
                      <a:lnTo>
                        <a:pt x="22" y="72"/>
                      </a:lnTo>
                      <a:lnTo>
                        <a:pt x="26" y="74"/>
                      </a:lnTo>
                      <a:lnTo>
                        <a:pt x="30" y="74"/>
                      </a:lnTo>
                      <a:lnTo>
                        <a:pt x="32" y="72"/>
                      </a:lnTo>
                      <a:lnTo>
                        <a:pt x="40" y="64"/>
                      </a:lnTo>
                      <a:lnTo>
                        <a:pt x="40" y="60"/>
                      </a:lnTo>
                      <a:lnTo>
                        <a:pt x="44" y="50"/>
                      </a:lnTo>
                      <a:lnTo>
                        <a:pt x="46" y="46"/>
                      </a:lnTo>
                      <a:lnTo>
                        <a:pt x="48" y="44"/>
                      </a:lnTo>
                      <a:lnTo>
                        <a:pt x="50" y="42"/>
                      </a:lnTo>
                      <a:lnTo>
                        <a:pt x="50" y="40"/>
                      </a:lnTo>
                      <a:lnTo>
                        <a:pt x="52" y="38"/>
                      </a:lnTo>
                      <a:lnTo>
                        <a:pt x="52" y="36"/>
                      </a:lnTo>
                      <a:lnTo>
                        <a:pt x="52" y="34"/>
                      </a:lnTo>
                      <a:lnTo>
                        <a:pt x="52" y="32"/>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628" name="Guyana"/>
                <p:cNvSpPr>
                  <a:spLocks/>
                </p:cNvSpPr>
                <p:nvPr/>
              </p:nvSpPr>
              <p:spPr bwMode="gray">
                <a:xfrm>
                  <a:off x="1536" y="2136"/>
                  <a:ext cx="83" cy="149"/>
                </a:xfrm>
                <a:custGeom>
                  <a:avLst/>
                  <a:gdLst>
                    <a:gd name="T0" fmla="*/ 2147483647 w 324"/>
                    <a:gd name="T1" fmla="*/ 2147483647 h 582"/>
                    <a:gd name="T2" fmla="*/ 2147483647 w 324"/>
                    <a:gd name="T3" fmla="*/ 2147483647 h 582"/>
                    <a:gd name="T4" fmla="*/ 2147483647 w 324"/>
                    <a:gd name="T5" fmla="*/ 2147483647 h 582"/>
                    <a:gd name="T6" fmla="*/ 2147483647 w 324"/>
                    <a:gd name="T7" fmla="*/ 2147483647 h 582"/>
                    <a:gd name="T8" fmla="*/ 2147483647 w 324"/>
                    <a:gd name="T9" fmla="*/ 2147483647 h 582"/>
                    <a:gd name="T10" fmla="*/ 2147483647 w 324"/>
                    <a:gd name="T11" fmla="*/ 2147483647 h 582"/>
                    <a:gd name="T12" fmla="*/ 2147483647 w 324"/>
                    <a:gd name="T13" fmla="*/ 2147483647 h 582"/>
                    <a:gd name="T14" fmla="*/ 2147483647 w 324"/>
                    <a:gd name="T15" fmla="*/ 2147483647 h 582"/>
                    <a:gd name="T16" fmla="*/ 0 w 324"/>
                    <a:gd name="T17" fmla="*/ 2147483647 h 582"/>
                    <a:gd name="T18" fmla="*/ 2147483647 w 324"/>
                    <a:gd name="T19" fmla="*/ 2147483647 h 582"/>
                    <a:gd name="T20" fmla="*/ 2147483647 w 324"/>
                    <a:gd name="T21" fmla="*/ 2147483647 h 582"/>
                    <a:gd name="T22" fmla="*/ 2147483647 w 324"/>
                    <a:gd name="T23" fmla="*/ 2147483647 h 582"/>
                    <a:gd name="T24" fmla="*/ 2147483647 w 324"/>
                    <a:gd name="T25" fmla="*/ 2147483647 h 582"/>
                    <a:gd name="T26" fmla="*/ 2147483647 w 324"/>
                    <a:gd name="T27" fmla="*/ 2147483647 h 582"/>
                    <a:gd name="T28" fmla="*/ 2147483647 w 324"/>
                    <a:gd name="T29" fmla="*/ 2147483647 h 582"/>
                    <a:gd name="T30" fmla="*/ 2147483647 w 324"/>
                    <a:gd name="T31" fmla="*/ 2147483647 h 582"/>
                    <a:gd name="T32" fmla="*/ 2147483647 w 324"/>
                    <a:gd name="T33" fmla="*/ 2147483647 h 582"/>
                    <a:gd name="T34" fmla="*/ 2147483647 w 324"/>
                    <a:gd name="T35" fmla="*/ 2147483647 h 582"/>
                    <a:gd name="T36" fmla="*/ 2147483647 w 324"/>
                    <a:gd name="T37" fmla="*/ 2147483647 h 582"/>
                    <a:gd name="T38" fmla="*/ 2147483647 w 324"/>
                    <a:gd name="T39" fmla="*/ 2147483647 h 582"/>
                    <a:gd name="T40" fmla="*/ 2147483647 w 324"/>
                    <a:gd name="T41" fmla="*/ 2147483647 h 582"/>
                    <a:gd name="T42" fmla="*/ 2147483647 w 324"/>
                    <a:gd name="T43" fmla="*/ 2147483647 h 582"/>
                    <a:gd name="T44" fmla="*/ 2147483647 w 324"/>
                    <a:gd name="T45" fmla="*/ 2147483647 h 582"/>
                    <a:gd name="T46" fmla="*/ 2147483647 w 324"/>
                    <a:gd name="T47" fmla="*/ 2147483647 h 582"/>
                    <a:gd name="T48" fmla="*/ 2147483647 w 324"/>
                    <a:gd name="T49" fmla="*/ 2147483647 h 582"/>
                    <a:gd name="T50" fmla="*/ 2147483647 w 324"/>
                    <a:gd name="T51" fmla="*/ 2147483647 h 582"/>
                    <a:gd name="T52" fmla="*/ 2147483647 w 324"/>
                    <a:gd name="T53" fmla="*/ 2147483647 h 582"/>
                    <a:gd name="T54" fmla="*/ 2147483647 w 324"/>
                    <a:gd name="T55" fmla="*/ 2147483647 h 582"/>
                    <a:gd name="T56" fmla="*/ 2147483647 w 324"/>
                    <a:gd name="T57" fmla="*/ 2147483647 h 582"/>
                    <a:gd name="T58" fmla="*/ 2147483647 w 324"/>
                    <a:gd name="T59" fmla="*/ 2147483647 h 582"/>
                    <a:gd name="T60" fmla="*/ 2147483647 w 324"/>
                    <a:gd name="T61" fmla="*/ 2147483647 h 582"/>
                    <a:gd name="T62" fmla="*/ 2147483647 w 324"/>
                    <a:gd name="T63" fmla="*/ 2147483647 h 582"/>
                    <a:gd name="T64" fmla="*/ 2147483647 w 324"/>
                    <a:gd name="T65" fmla="*/ 2147483647 h 582"/>
                    <a:gd name="T66" fmla="*/ 2147483647 w 324"/>
                    <a:gd name="T67" fmla="*/ 2147483647 h 582"/>
                    <a:gd name="T68" fmla="*/ 2147483647 w 324"/>
                    <a:gd name="T69" fmla="*/ 2147483647 h 582"/>
                    <a:gd name="T70" fmla="*/ 2147483647 w 324"/>
                    <a:gd name="T71" fmla="*/ 2147483647 h 582"/>
                    <a:gd name="T72" fmla="*/ 2147483647 w 324"/>
                    <a:gd name="T73" fmla="*/ 2147483647 h 582"/>
                    <a:gd name="T74" fmla="*/ 2147483647 w 324"/>
                    <a:gd name="T75" fmla="*/ 2147483647 h 582"/>
                    <a:gd name="T76" fmla="*/ 2147483647 w 324"/>
                    <a:gd name="T77" fmla="*/ 2147483647 h 582"/>
                    <a:gd name="T78" fmla="*/ 2147483647 w 324"/>
                    <a:gd name="T79" fmla="*/ 2147483647 h 582"/>
                    <a:gd name="T80" fmla="*/ 2147483647 w 324"/>
                    <a:gd name="T81" fmla="*/ 2147483647 h 582"/>
                    <a:gd name="T82" fmla="*/ 2147483647 w 324"/>
                    <a:gd name="T83" fmla="*/ 2147483647 h 582"/>
                    <a:gd name="T84" fmla="*/ 2147483647 w 324"/>
                    <a:gd name="T85" fmla="*/ 2147483647 h 582"/>
                    <a:gd name="T86" fmla="*/ 2147483647 w 324"/>
                    <a:gd name="T87" fmla="*/ 2147483647 h 582"/>
                    <a:gd name="T88" fmla="*/ 2147483647 w 324"/>
                    <a:gd name="T89" fmla="*/ 2147483647 h 582"/>
                    <a:gd name="T90" fmla="*/ 2147483647 w 324"/>
                    <a:gd name="T91" fmla="*/ 2147483647 h 582"/>
                    <a:gd name="T92" fmla="*/ 2147483647 w 324"/>
                    <a:gd name="T93" fmla="*/ 2147483647 h 582"/>
                    <a:gd name="T94" fmla="*/ 2147483647 w 324"/>
                    <a:gd name="T95" fmla="*/ 2147483647 h 582"/>
                    <a:gd name="T96" fmla="*/ 2147483647 w 324"/>
                    <a:gd name="T97" fmla="*/ 2147483647 h 582"/>
                    <a:gd name="T98" fmla="*/ 2147483647 w 324"/>
                    <a:gd name="T99" fmla="*/ 2147483647 h 582"/>
                    <a:gd name="T100" fmla="*/ 2147483647 w 324"/>
                    <a:gd name="T101" fmla="*/ 2147483647 h 582"/>
                    <a:gd name="T102" fmla="*/ 2147483647 w 324"/>
                    <a:gd name="T103" fmla="*/ 2147483647 h 582"/>
                    <a:gd name="T104" fmla="*/ 2147483647 w 324"/>
                    <a:gd name="T105" fmla="*/ 2147483647 h 582"/>
                    <a:gd name="T106" fmla="*/ 2147483647 w 324"/>
                    <a:gd name="T107" fmla="*/ 2147483647 h 582"/>
                    <a:gd name="T108" fmla="*/ 2147483647 w 324"/>
                    <a:gd name="T109" fmla="*/ 2147483647 h 582"/>
                    <a:gd name="T110" fmla="*/ 2147483647 w 324"/>
                    <a:gd name="T111" fmla="*/ 2147483647 h 582"/>
                    <a:gd name="T112" fmla="*/ 2147483647 w 324"/>
                    <a:gd name="T113" fmla="*/ 2147483647 h 582"/>
                    <a:gd name="T114" fmla="*/ 2147483647 w 324"/>
                    <a:gd name="T115" fmla="*/ 2147483647 h 582"/>
                    <a:gd name="T116" fmla="*/ 2147483647 w 324"/>
                    <a:gd name="T117" fmla="*/ 2147483647 h 582"/>
                    <a:gd name="T118" fmla="*/ 2147483647 w 324"/>
                    <a:gd name="T119" fmla="*/ 2147483647 h 582"/>
                    <a:gd name="T120" fmla="*/ 2147483647 w 324"/>
                    <a:gd name="T121" fmla="*/ 2147483647 h 582"/>
                    <a:gd name="T122" fmla="*/ 2147483647 w 324"/>
                    <a:gd name="T123" fmla="*/ 0 h 582"/>
                    <a:gd name="T124" fmla="*/ 2147483647 w 324"/>
                    <a:gd name="T125" fmla="*/ 2147483647 h 58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24"/>
                    <a:gd name="T190" fmla="*/ 0 h 582"/>
                    <a:gd name="T191" fmla="*/ 324 w 324"/>
                    <a:gd name="T192" fmla="*/ 582 h 58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24" h="582">
                      <a:moveTo>
                        <a:pt x="90" y="42"/>
                      </a:moveTo>
                      <a:lnTo>
                        <a:pt x="84" y="48"/>
                      </a:lnTo>
                      <a:lnTo>
                        <a:pt x="72" y="48"/>
                      </a:lnTo>
                      <a:lnTo>
                        <a:pt x="60" y="60"/>
                      </a:lnTo>
                      <a:lnTo>
                        <a:pt x="60" y="102"/>
                      </a:lnTo>
                      <a:lnTo>
                        <a:pt x="84" y="102"/>
                      </a:lnTo>
                      <a:lnTo>
                        <a:pt x="84" y="120"/>
                      </a:lnTo>
                      <a:lnTo>
                        <a:pt x="78" y="126"/>
                      </a:lnTo>
                      <a:lnTo>
                        <a:pt x="66" y="132"/>
                      </a:lnTo>
                      <a:lnTo>
                        <a:pt x="54" y="132"/>
                      </a:lnTo>
                      <a:lnTo>
                        <a:pt x="42" y="138"/>
                      </a:lnTo>
                      <a:lnTo>
                        <a:pt x="12" y="138"/>
                      </a:lnTo>
                      <a:lnTo>
                        <a:pt x="12" y="144"/>
                      </a:lnTo>
                      <a:lnTo>
                        <a:pt x="30" y="162"/>
                      </a:lnTo>
                      <a:lnTo>
                        <a:pt x="30" y="180"/>
                      </a:lnTo>
                      <a:lnTo>
                        <a:pt x="18" y="186"/>
                      </a:lnTo>
                      <a:lnTo>
                        <a:pt x="12" y="186"/>
                      </a:lnTo>
                      <a:lnTo>
                        <a:pt x="0" y="192"/>
                      </a:lnTo>
                      <a:lnTo>
                        <a:pt x="0" y="204"/>
                      </a:lnTo>
                      <a:lnTo>
                        <a:pt x="6" y="210"/>
                      </a:lnTo>
                      <a:lnTo>
                        <a:pt x="12" y="222"/>
                      </a:lnTo>
                      <a:lnTo>
                        <a:pt x="48" y="258"/>
                      </a:lnTo>
                      <a:lnTo>
                        <a:pt x="72" y="264"/>
                      </a:lnTo>
                      <a:lnTo>
                        <a:pt x="78" y="252"/>
                      </a:lnTo>
                      <a:lnTo>
                        <a:pt x="90" y="264"/>
                      </a:lnTo>
                      <a:lnTo>
                        <a:pt x="96" y="276"/>
                      </a:lnTo>
                      <a:lnTo>
                        <a:pt x="96" y="294"/>
                      </a:lnTo>
                      <a:lnTo>
                        <a:pt x="90" y="306"/>
                      </a:lnTo>
                      <a:lnTo>
                        <a:pt x="84" y="312"/>
                      </a:lnTo>
                      <a:lnTo>
                        <a:pt x="84" y="318"/>
                      </a:lnTo>
                      <a:lnTo>
                        <a:pt x="90" y="324"/>
                      </a:lnTo>
                      <a:lnTo>
                        <a:pt x="96" y="324"/>
                      </a:lnTo>
                      <a:lnTo>
                        <a:pt x="108" y="318"/>
                      </a:lnTo>
                      <a:lnTo>
                        <a:pt x="114" y="318"/>
                      </a:lnTo>
                      <a:lnTo>
                        <a:pt x="114" y="348"/>
                      </a:lnTo>
                      <a:lnTo>
                        <a:pt x="120" y="354"/>
                      </a:lnTo>
                      <a:lnTo>
                        <a:pt x="126" y="354"/>
                      </a:lnTo>
                      <a:lnTo>
                        <a:pt x="126" y="366"/>
                      </a:lnTo>
                      <a:lnTo>
                        <a:pt x="120" y="378"/>
                      </a:lnTo>
                      <a:lnTo>
                        <a:pt x="108" y="390"/>
                      </a:lnTo>
                      <a:lnTo>
                        <a:pt x="96" y="432"/>
                      </a:lnTo>
                      <a:lnTo>
                        <a:pt x="90" y="444"/>
                      </a:lnTo>
                      <a:lnTo>
                        <a:pt x="90" y="450"/>
                      </a:lnTo>
                      <a:lnTo>
                        <a:pt x="84" y="462"/>
                      </a:lnTo>
                      <a:lnTo>
                        <a:pt x="84" y="468"/>
                      </a:lnTo>
                      <a:lnTo>
                        <a:pt x="90" y="480"/>
                      </a:lnTo>
                      <a:lnTo>
                        <a:pt x="114" y="504"/>
                      </a:lnTo>
                      <a:lnTo>
                        <a:pt x="114" y="534"/>
                      </a:lnTo>
                      <a:lnTo>
                        <a:pt x="144" y="570"/>
                      </a:lnTo>
                      <a:lnTo>
                        <a:pt x="156" y="570"/>
                      </a:lnTo>
                      <a:lnTo>
                        <a:pt x="162" y="582"/>
                      </a:lnTo>
                      <a:lnTo>
                        <a:pt x="198" y="582"/>
                      </a:lnTo>
                      <a:lnTo>
                        <a:pt x="204" y="576"/>
                      </a:lnTo>
                      <a:lnTo>
                        <a:pt x="204" y="564"/>
                      </a:lnTo>
                      <a:lnTo>
                        <a:pt x="216" y="552"/>
                      </a:lnTo>
                      <a:lnTo>
                        <a:pt x="234" y="552"/>
                      </a:lnTo>
                      <a:lnTo>
                        <a:pt x="240" y="540"/>
                      </a:lnTo>
                      <a:lnTo>
                        <a:pt x="270" y="540"/>
                      </a:lnTo>
                      <a:lnTo>
                        <a:pt x="270" y="534"/>
                      </a:lnTo>
                      <a:lnTo>
                        <a:pt x="288" y="516"/>
                      </a:lnTo>
                      <a:lnTo>
                        <a:pt x="300" y="516"/>
                      </a:lnTo>
                      <a:lnTo>
                        <a:pt x="312" y="528"/>
                      </a:lnTo>
                      <a:lnTo>
                        <a:pt x="318" y="528"/>
                      </a:lnTo>
                      <a:lnTo>
                        <a:pt x="324" y="522"/>
                      </a:lnTo>
                      <a:lnTo>
                        <a:pt x="324" y="510"/>
                      </a:lnTo>
                      <a:lnTo>
                        <a:pt x="318" y="504"/>
                      </a:lnTo>
                      <a:lnTo>
                        <a:pt x="312" y="492"/>
                      </a:lnTo>
                      <a:lnTo>
                        <a:pt x="306" y="474"/>
                      </a:lnTo>
                      <a:lnTo>
                        <a:pt x="288" y="456"/>
                      </a:lnTo>
                      <a:lnTo>
                        <a:pt x="282" y="444"/>
                      </a:lnTo>
                      <a:lnTo>
                        <a:pt x="282" y="420"/>
                      </a:lnTo>
                      <a:lnTo>
                        <a:pt x="288" y="414"/>
                      </a:lnTo>
                      <a:lnTo>
                        <a:pt x="288" y="396"/>
                      </a:lnTo>
                      <a:lnTo>
                        <a:pt x="276" y="408"/>
                      </a:lnTo>
                      <a:lnTo>
                        <a:pt x="276" y="414"/>
                      </a:lnTo>
                      <a:lnTo>
                        <a:pt x="264" y="414"/>
                      </a:lnTo>
                      <a:lnTo>
                        <a:pt x="258" y="402"/>
                      </a:lnTo>
                      <a:lnTo>
                        <a:pt x="252" y="396"/>
                      </a:lnTo>
                      <a:lnTo>
                        <a:pt x="246" y="384"/>
                      </a:lnTo>
                      <a:lnTo>
                        <a:pt x="246" y="372"/>
                      </a:lnTo>
                      <a:lnTo>
                        <a:pt x="240" y="372"/>
                      </a:lnTo>
                      <a:lnTo>
                        <a:pt x="240" y="366"/>
                      </a:lnTo>
                      <a:lnTo>
                        <a:pt x="234" y="360"/>
                      </a:lnTo>
                      <a:lnTo>
                        <a:pt x="234" y="348"/>
                      </a:lnTo>
                      <a:lnTo>
                        <a:pt x="240" y="336"/>
                      </a:lnTo>
                      <a:lnTo>
                        <a:pt x="246" y="330"/>
                      </a:lnTo>
                      <a:lnTo>
                        <a:pt x="246" y="288"/>
                      </a:lnTo>
                      <a:lnTo>
                        <a:pt x="252" y="282"/>
                      </a:lnTo>
                      <a:lnTo>
                        <a:pt x="264" y="276"/>
                      </a:lnTo>
                      <a:lnTo>
                        <a:pt x="294" y="276"/>
                      </a:lnTo>
                      <a:lnTo>
                        <a:pt x="300" y="270"/>
                      </a:lnTo>
                      <a:lnTo>
                        <a:pt x="300" y="258"/>
                      </a:lnTo>
                      <a:lnTo>
                        <a:pt x="288" y="246"/>
                      </a:lnTo>
                      <a:lnTo>
                        <a:pt x="288" y="234"/>
                      </a:lnTo>
                      <a:lnTo>
                        <a:pt x="294" y="222"/>
                      </a:lnTo>
                      <a:lnTo>
                        <a:pt x="300" y="216"/>
                      </a:lnTo>
                      <a:lnTo>
                        <a:pt x="306" y="204"/>
                      </a:lnTo>
                      <a:lnTo>
                        <a:pt x="306" y="192"/>
                      </a:lnTo>
                      <a:lnTo>
                        <a:pt x="300" y="180"/>
                      </a:lnTo>
                      <a:lnTo>
                        <a:pt x="294" y="174"/>
                      </a:lnTo>
                      <a:lnTo>
                        <a:pt x="276" y="174"/>
                      </a:lnTo>
                      <a:lnTo>
                        <a:pt x="270" y="180"/>
                      </a:lnTo>
                      <a:lnTo>
                        <a:pt x="270" y="156"/>
                      </a:lnTo>
                      <a:lnTo>
                        <a:pt x="258" y="150"/>
                      </a:lnTo>
                      <a:lnTo>
                        <a:pt x="252" y="138"/>
                      </a:lnTo>
                      <a:lnTo>
                        <a:pt x="234" y="132"/>
                      </a:lnTo>
                      <a:lnTo>
                        <a:pt x="216" y="132"/>
                      </a:lnTo>
                      <a:lnTo>
                        <a:pt x="204" y="138"/>
                      </a:lnTo>
                      <a:lnTo>
                        <a:pt x="198" y="150"/>
                      </a:lnTo>
                      <a:lnTo>
                        <a:pt x="198" y="156"/>
                      </a:lnTo>
                      <a:lnTo>
                        <a:pt x="192" y="162"/>
                      </a:lnTo>
                      <a:lnTo>
                        <a:pt x="192" y="168"/>
                      </a:lnTo>
                      <a:lnTo>
                        <a:pt x="192" y="162"/>
                      </a:lnTo>
                      <a:lnTo>
                        <a:pt x="198" y="156"/>
                      </a:lnTo>
                      <a:lnTo>
                        <a:pt x="198" y="144"/>
                      </a:lnTo>
                      <a:lnTo>
                        <a:pt x="204" y="132"/>
                      </a:lnTo>
                      <a:lnTo>
                        <a:pt x="204" y="114"/>
                      </a:lnTo>
                      <a:lnTo>
                        <a:pt x="210" y="102"/>
                      </a:lnTo>
                      <a:lnTo>
                        <a:pt x="210" y="78"/>
                      </a:lnTo>
                      <a:lnTo>
                        <a:pt x="192" y="42"/>
                      </a:lnTo>
                      <a:lnTo>
                        <a:pt x="180" y="30"/>
                      </a:lnTo>
                      <a:lnTo>
                        <a:pt x="132" y="6"/>
                      </a:lnTo>
                      <a:lnTo>
                        <a:pt x="126" y="0"/>
                      </a:lnTo>
                      <a:lnTo>
                        <a:pt x="120" y="0"/>
                      </a:lnTo>
                      <a:lnTo>
                        <a:pt x="102" y="36"/>
                      </a:lnTo>
                      <a:lnTo>
                        <a:pt x="96" y="42"/>
                      </a:lnTo>
                      <a:lnTo>
                        <a:pt x="90" y="42"/>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629" name="Guinea-Bissau"/>
                <p:cNvSpPr>
                  <a:spLocks/>
                </p:cNvSpPr>
                <p:nvPr/>
              </p:nvSpPr>
              <p:spPr bwMode="gray">
                <a:xfrm>
                  <a:off x="2359" y="2047"/>
                  <a:ext cx="47" cy="40"/>
                </a:xfrm>
                <a:custGeom>
                  <a:avLst/>
                  <a:gdLst>
                    <a:gd name="T0" fmla="*/ 2147483647 w 186"/>
                    <a:gd name="T1" fmla="*/ 2147483647 h 156"/>
                    <a:gd name="T2" fmla="*/ 2147483647 w 186"/>
                    <a:gd name="T3" fmla="*/ 2147483647 h 156"/>
                    <a:gd name="T4" fmla="*/ 2147483647 w 186"/>
                    <a:gd name="T5" fmla="*/ 2147483647 h 156"/>
                    <a:gd name="T6" fmla="*/ 2147483647 w 186"/>
                    <a:gd name="T7" fmla="*/ 2147483647 h 156"/>
                    <a:gd name="T8" fmla="*/ 2147483647 w 186"/>
                    <a:gd name="T9" fmla="*/ 2147483647 h 156"/>
                    <a:gd name="T10" fmla="*/ 2147483647 w 186"/>
                    <a:gd name="T11" fmla="*/ 2147483647 h 156"/>
                    <a:gd name="T12" fmla="*/ 2147483647 w 186"/>
                    <a:gd name="T13" fmla="*/ 2147483647 h 156"/>
                    <a:gd name="T14" fmla="*/ 2147483647 w 186"/>
                    <a:gd name="T15" fmla="*/ 2147483647 h 156"/>
                    <a:gd name="T16" fmla="*/ 2147483647 w 186"/>
                    <a:gd name="T17" fmla="*/ 2147483647 h 156"/>
                    <a:gd name="T18" fmla="*/ 2147483647 w 186"/>
                    <a:gd name="T19" fmla="*/ 2147483647 h 156"/>
                    <a:gd name="T20" fmla="*/ 2147483647 w 186"/>
                    <a:gd name="T21" fmla="*/ 2147483647 h 156"/>
                    <a:gd name="T22" fmla="*/ 2147483647 w 186"/>
                    <a:gd name="T23" fmla="*/ 2147483647 h 156"/>
                    <a:gd name="T24" fmla="*/ 2147483647 w 186"/>
                    <a:gd name="T25" fmla="*/ 2147483647 h 156"/>
                    <a:gd name="T26" fmla="*/ 2147483647 w 186"/>
                    <a:gd name="T27" fmla="*/ 2147483647 h 156"/>
                    <a:gd name="T28" fmla="*/ 2147483647 w 186"/>
                    <a:gd name="T29" fmla="*/ 0 h 156"/>
                    <a:gd name="T30" fmla="*/ 2147483647 w 186"/>
                    <a:gd name="T31" fmla="*/ 2147483647 h 156"/>
                    <a:gd name="T32" fmla="*/ 2147483647 w 186"/>
                    <a:gd name="T33" fmla="*/ 2147483647 h 156"/>
                    <a:gd name="T34" fmla="*/ 2147483647 w 186"/>
                    <a:gd name="T35" fmla="*/ 2147483647 h 156"/>
                    <a:gd name="T36" fmla="*/ 0 w 186"/>
                    <a:gd name="T37" fmla="*/ 2147483647 h 156"/>
                    <a:gd name="T38" fmla="*/ 2147483647 w 186"/>
                    <a:gd name="T39" fmla="*/ 2147483647 h 156"/>
                    <a:gd name="T40" fmla="*/ 2147483647 w 186"/>
                    <a:gd name="T41" fmla="*/ 2147483647 h 156"/>
                    <a:gd name="T42" fmla="*/ 2147483647 w 186"/>
                    <a:gd name="T43" fmla="*/ 2147483647 h 156"/>
                    <a:gd name="T44" fmla="*/ 2147483647 w 186"/>
                    <a:gd name="T45" fmla="*/ 2147483647 h 156"/>
                    <a:gd name="T46" fmla="*/ 2147483647 w 186"/>
                    <a:gd name="T47" fmla="*/ 2147483647 h 156"/>
                    <a:gd name="T48" fmla="*/ 2147483647 w 186"/>
                    <a:gd name="T49" fmla="*/ 2147483647 h 156"/>
                    <a:gd name="T50" fmla="*/ 2147483647 w 186"/>
                    <a:gd name="T51" fmla="*/ 2147483647 h 156"/>
                    <a:gd name="T52" fmla="*/ 2147483647 w 186"/>
                    <a:gd name="T53" fmla="*/ 2147483647 h 156"/>
                    <a:gd name="T54" fmla="*/ 2147483647 w 186"/>
                    <a:gd name="T55" fmla="*/ 2147483647 h 156"/>
                    <a:gd name="T56" fmla="*/ 2147483647 w 186"/>
                    <a:gd name="T57" fmla="*/ 2147483647 h 156"/>
                    <a:gd name="T58" fmla="*/ 2147483647 w 186"/>
                    <a:gd name="T59" fmla="*/ 2147483647 h 156"/>
                    <a:gd name="T60" fmla="*/ 2147483647 w 186"/>
                    <a:gd name="T61" fmla="*/ 2147483647 h 156"/>
                    <a:gd name="T62" fmla="*/ 2147483647 w 186"/>
                    <a:gd name="T63" fmla="*/ 2147483647 h 156"/>
                    <a:gd name="T64" fmla="*/ 2147483647 w 186"/>
                    <a:gd name="T65" fmla="*/ 2147483647 h 156"/>
                    <a:gd name="T66" fmla="*/ 2147483647 w 186"/>
                    <a:gd name="T67" fmla="*/ 2147483647 h 156"/>
                    <a:gd name="T68" fmla="*/ 2147483647 w 186"/>
                    <a:gd name="T69" fmla="*/ 2147483647 h 156"/>
                    <a:gd name="T70" fmla="*/ 2147483647 w 186"/>
                    <a:gd name="T71" fmla="*/ 2147483647 h 156"/>
                    <a:gd name="T72" fmla="*/ 2147483647 w 186"/>
                    <a:gd name="T73" fmla="*/ 2147483647 h 15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86"/>
                    <a:gd name="T112" fmla="*/ 0 h 156"/>
                    <a:gd name="T113" fmla="*/ 186 w 186"/>
                    <a:gd name="T114" fmla="*/ 156 h 15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86" h="156">
                      <a:moveTo>
                        <a:pt x="126" y="102"/>
                      </a:moveTo>
                      <a:lnTo>
                        <a:pt x="132" y="96"/>
                      </a:lnTo>
                      <a:lnTo>
                        <a:pt x="144" y="90"/>
                      </a:lnTo>
                      <a:lnTo>
                        <a:pt x="174" y="90"/>
                      </a:lnTo>
                      <a:lnTo>
                        <a:pt x="180" y="84"/>
                      </a:lnTo>
                      <a:lnTo>
                        <a:pt x="186" y="72"/>
                      </a:lnTo>
                      <a:lnTo>
                        <a:pt x="186" y="66"/>
                      </a:lnTo>
                      <a:lnTo>
                        <a:pt x="180" y="60"/>
                      </a:lnTo>
                      <a:lnTo>
                        <a:pt x="168" y="54"/>
                      </a:lnTo>
                      <a:lnTo>
                        <a:pt x="162" y="48"/>
                      </a:lnTo>
                      <a:lnTo>
                        <a:pt x="162" y="36"/>
                      </a:lnTo>
                      <a:lnTo>
                        <a:pt x="168" y="30"/>
                      </a:lnTo>
                      <a:lnTo>
                        <a:pt x="186" y="30"/>
                      </a:lnTo>
                      <a:lnTo>
                        <a:pt x="186" y="6"/>
                      </a:lnTo>
                      <a:lnTo>
                        <a:pt x="84" y="0"/>
                      </a:lnTo>
                      <a:lnTo>
                        <a:pt x="54" y="24"/>
                      </a:lnTo>
                      <a:lnTo>
                        <a:pt x="18" y="24"/>
                      </a:lnTo>
                      <a:lnTo>
                        <a:pt x="6" y="36"/>
                      </a:lnTo>
                      <a:lnTo>
                        <a:pt x="0" y="72"/>
                      </a:lnTo>
                      <a:lnTo>
                        <a:pt x="6" y="78"/>
                      </a:lnTo>
                      <a:lnTo>
                        <a:pt x="18" y="78"/>
                      </a:lnTo>
                      <a:lnTo>
                        <a:pt x="42" y="66"/>
                      </a:lnTo>
                      <a:lnTo>
                        <a:pt x="66" y="66"/>
                      </a:lnTo>
                      <a:lnTo>
                        <a:pt x="90" y="60"/>
                      </a:lnTo>
                      <a:lnTo>
                        <a:pt x="90" y="84"/>
                      </a:lnTo>
                      <a:lnTo>
                        <a:pt x="78" y="78"/>
                      </a:lnTo>
                      <a:lnTo>
                        <a:pt x="72" y="78"/>
                      </a:lnTo>
                      <a:lnTo>
                        <a:pt x="66" y="72"/>
                      </a:lnTo>
                      <a:lnTo>
                        <a:pt x="54" y="72"/>
                      </a:lnTo>
                      <a:lnTo>
                        <a:pt x="54" y="96"/>
                      </a:lnTo>
                      <a:lnTo>
                        <a:pt x="60" y="102"/>
                      </a:lnTo>
                      <a:lnTo>
                        <a:pt x="90" y="96"/>
                      </a:lnTo>
                      <a:lnTo>
                        <a:pt x="54" y="114"/>
                      </a:lnTo>
                      <a:lnTo>
                        <a:pt x="84" y="156"/>
                      </a:lnTo>
                      <a:lnTo>
                        <a:pt x="90" y="132"/>
                      </a:lnTo>
                      <a:lnTo>
                        <a:pt x="108" y="102"/>
                      </a:lnTo>
                      <a:lnTo>
                        <a:pt x="126" y="102"/>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630" name="Guinea"/>
                <p:cNvSpPr>
                  <a:spLocks/>
                </p:cNvSpPr>
                <p:nvPr/>
              </p:nvSpPr>
              <p:spPr bwMode="gray">
                <a:xfrm>
                  <a:off x="2382" y="2049"/>
                  <a:ext cx="133" cy="113"/>
                </a:xfrm>
                <a:custGeom>
                  <a:avLst/>
                  <a:gdLst>
                    <a:gd name="T0" fmla="*/ 2147483647 w 522"/>
                    <a:gd name="T1" fmla="*/ 2147483647 h 444"/>
                    <a:gd name="T2" fmla="*/ 2147483647 w 522"/>
                    <a:gd name="T3" fmla="*/ 2147483647 h 444"/>
                    <a:gd name="T4" fmla="*/ 2147483647 w 522"/>
                    <a:gd name="T5" fmla="*/ 2147483647 h 444"/>
                    <a:gd name="T6" fmla="*/ 2147483647 w 522"/>
                    <a:gd name="T7" fmla="*/ 2147483647 h 444"/>
                    <a:gd name="T8" fmla="*/ 2147483647 w 522"/>
                    <a:gd name="T9" fmla="*/ 2147483647 h 444"/>
                    <a:gd name="T10" fmla="*/ 2147483647 w 522"/>
                    <a:gd name="T11" fmla="*/ 2147483647 h 444"/>
                    <a:gd name="T12" fmla="*/ 2147483647 w 522"/>
                    <a:gd name="T13" fmla="*/ 2147483647 h 444"/>
                    <a:gd name="T14" fmla="*/ 2147483647 w 522"/>
                    <a:gd name="T15" fmla="*/ 2147483647 h 444"/>
                    <a:gd name="T16" fmla="*/ 2147483647 w 522"/>
                    <a:gd name="T17" fmla="*/ 2147483647 h 444"/>
                    <a:gd name="T18" fmla="*/ 2147483647 w 522"/>
                    <a:gd name="T19" fmla="*/ 2147483647 h 444"/>
                    <a:gd name="T20" fmla="*/ 2147483647 w 522"/>
                    <a:gd name="T21" fmla="*/ 2147483647 h 444"/>
                    <a:gd name="T22" fmla="*/ 2147483647 w 522"/>
                    <a:gd name="T23" fmla="*/ 2147483647 h 444"/>
                    <a:gd name="T24" fmla="*/ 2147483647 w 522"/>
                    <a:gd name="T25" fmla="*/ 2147483647 h 444"/>
                    <a:gd name="T26" fmla="*/ 2147483647 w 522"/>
                    <a:gd name="T27" fmla="*/ 2147483647 h 444"/>
                    <a:gd name="T28" fmla="*/ 2147483647 w 522"/>
                    <a:gd name="T29" fmla="*/ 2147483647 h 444"/>
                    <a:gd name="T30" fmla="*/ 2147483647 w 522"/>
                    <a:gd name="T31" fmla="*/ 2147483647 h 444"/>
                    <a:gd name="T32" fmla="*/ 2147483647 w 522"/>
                    <a:gd name="T33" fmla="*/ 2147483647 h 444"/>
                    <a:gd name="T34" fmla="*/ 2147483647 w 522"/>
                    <a:gd name="T35" fmla="*/ 2147483647 h 444"/>
                    <a:gd name="T36" fmla="*/ 2147483647 w 522"/>
                    <a:gd name="T37" fmla="*/ 2147483647 h 444"/>
                    <a:gd name="T38" fmla="*/ 2147483647 w 522"/>
                    <a:gd name="T39" fmla="*/ 2147483647 h 444"/>
                    <a:gd name="T40" fmla="*/ 2147483647 w 522"/>
                    <a:gd name="T41" fmla="*/ 2147483647 h 444"/>
                    <a:gd name="T42" fmla="*/ 2147483647 w 522"/>
                    <a:gd name="T43" fmla="*/ 2147483647 h 444"/>
                    <a:gd name="T44" fmla="*/ 2147483647 w 522"/>
                    <a:gd name="T45" fmla="*/ 2147483647 h 444"/>
                    <a:gd name="T46" fmla="*/ 2147483647 w 522"/>
                    <a:gd name="T47" fmla="*/ 2147483647 h 444"/>
                    <a:gd name="T48" fmla="*/ 2147483647 w 522"/>
                    <a:gd name="T49" fmla="*/ 2147483647 h 444"/>
                    <a:gd name="T50" fmla="*/ 2147483647 w 522"/>
                    <a:gd name="T51" fmla="*/ 2147483647 h 444"/>
                    <a:gd name="T52" fmla="*/ 2147483647 w 522"/>
                    <a:gd name="T53" fmla="*/ 2147483647 h 444"/>
                    <a:gd name="T54" fmla="*/ 2147483647 w 522"/>
                    <a:gd name="T55" fmla="*/ 2147483647 h 444"/>
                    <a:gd name="T56" fmla="*/ 2147483647 w 522"/>
                    <a:gd name="T57" fmla="*/ 2147483647 h 444"/>
                    <a:gd name="T58" fmla="*/ 2147483647 w 522"/>
                    <a:gd name="T59" fmla="*/ 2147483647 h 444"/>
                    <a:gd name="T60" fmla="*/ 2147483647 w 522"/>
                    <a:gd name="T61" fmla="*/ 2147483647 h 444"/>
                    <a:gd name="T62" fmla="*/ 2147483647 w 522"/>
                    <a:gd name="T63" fmla="*/ 2147483647 h 444"/>
                    <a:gd name="T64" fmla="*/ 2147483647 w 522"/>
                    <a:gd name="T65" fmla="*/ 2147483647 h 444"/>
                    <a:gd name="T66" fmla="*/ 2147483647 w 522"/>
                    <a:gd name="T67" fmla="*/ 2147483647 h 444"/>
                    <a:gd name="T68" fmla="*/ 2147483647 w 522"/>
                    <a:gd name="T69" fmla="*/ 2147483647 h 444"/>
                    <a:gd name="T70" fmla="*/ 2147483647 w 522"/>
                    <a:gd name="T71" fmla="*/ 2147483647 h 444"/>
                    <a:gd name="T72" fmla="*/ 2147483647 w 522"/>
                    <a:gd name="T73" fmla="*/ 2147483647 h 444"/>
                    <a:gd name="T74" fmla="*/ 2147483647 w 522"/>
                    <a:gd name="T75" fmla="*/ 2147483647 h 444"/>
                    <a:gd name="T76" fmla="*/ 2147483647 w 522"/>
                    <a:gd name="T77" fmla="*/ 2147483647 h 444"/>
                    <a:gd name="T78" fmla="*/ 2147483647 w 522"/>
                    <a:gd name="T79" fmla="*/ 2147483647 h 444"/>
                    <a:gd name="T80" fmla="*/ 2147483647 w 522"/>
                    <a:gd name="T81" fmla="*/ 2147483647 h 444"/>
                    <a:gd name="T82" fmla="*/ 2147483647 w 522"/>
                    <a:gd name="T83" fmla="*/ 2147483647 h 444"/>
                    <a:gd name="T84" fmla="*/ 2147483647 w 522"/>
                    <a:gd name="T85" fmla="*/ 2147483647 h 444"/>
                    <a:gd name="T86" fmla="*/ 2147483647 w 522"/>
                    <a:gd name="T87" fmla="*/ 2147483647 h 444"/>
                    <a:gd name="T88" fmla="*/ 2147483647 w 522"/>
                    <a:gd name="T89" fmla="*/ 2147483647 h 444"/>
                    <a:gd name="T90" fmla="*/ 2147483647 w 522"/>
                    <a:gd name="T91" fmla="*/ 2147483647 h 444"/>
                    <a:gd name="T92" fmla="*/ 2147483647 w 522"/>
                    <a:gd name="T93" fmla="*/ 2147483647 h 44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22"/>
                    <a:gd name="T142" fmla="*/ 0 h 444"/>
                    <a:gd name="T143" fmla="*/ 522 w 522"/>
                    <a:gd name="T144" fmla="*/ 444 h 44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22" h="444">
                      <a:moveTo>
                        <a:pt x="96" y="0"/>
                      </a:moveTo>
                      <a:lnTo>
                        <a:pt x="96" y="24"/>
                      </a:lnTo>
                      <a:lnTo>
                        <a:pt x="78" y="24"/>
                      </a:lnTo>
                      <a:lnTo>
                        <a:pt x="72" y="30"/>
                      </a:lnTo>
                      <a:lnTo>
                        <a:pt x="72" y="42"/>
                      </a:lnTo>
                      <a:lnTo>
                        <a:pt x="78" y="48"/>
                      </a:lnTo>
                      <a:lnTo>
                        <a:pt x="90" y="54"/>
                      </a:lnTo>
                      <a:lnTo>
                        <a:pt x="96" y="60"/>
                      </a:lnTo>
                      <a:lnTo>
                        <a:pt x="96" y="66"/>
                      </a:lnTo>
                      <a:lnTo>
                        <a:pt x="90" y="78"/>
                      </a:lnTo>
                      <a:lnTo>
                        <a:pt x="84" y="84"/>
                      </a:lnTo>
                      <a:lnTo>
                        <a:pt x="54" y="84"/>
                      </a:lnTo>
                      <a:lnTo>
                        <a:pt x="42" y="90"/>
                      </a:lnTo>
                      <a:lnTo>
                        <a:pt x="36" y="96"/>
                      </a:lnTo>
                      <a:lnTo>
                        <a:pt x="18" y="96"/>
                      </a:lnTo>
                      <a:lnTo>
                        <a:pt x="0" y="126"/>
                      </a:lnTo>
                      <a:lnTo>
                        <a:pt x="0" y="132"/>
                      </a:lnTo>
                      <a:lnTo>
                        <a:pt x="18" y="150"/>
                      </a:lnTo>
                      <a:lnTo>
                        <a:pt x="30" y="150"/>
                      </a:lnTo>
                      <a:lnTo>
                        <a:pt x="30" y="162"/>
                      </a:lnTo>
                      <a:lnTo>
                        <a:pt x="24" y="168"/>
                      </a:lnTo>
                      <a:lnTo>
                        <a:pt x="30" y="180"/>
                      </a:lnTo>
                      <a:lnTo>
                        <a:pt x="30" y="192"/>
                      </a:lnTo>
                      <a:lnTo>
                        <a:pt x="54" y="204"/>
                      </a:lnTo>
                      <a:lnTo>
                        <a:pt x="72" y="204"/>
                      </a:lnTo>
                      <a:lnTo>
                        <a:pt x="72" y="228"/>
                      </a:lnTo>
                      <a:lnTo>
                        <a:pt x="84" y="228"/>
                      </a:lnTo>
                      <a:lnTo>
                        <a:pt x="90" y="222"/>
                      </a:lnTo>
                      <a:lnTo>
                        <a:pt x="90" y="234"/>
                      </a:lnTo>
                      <a:lnTo>
                        <a:pt x="96" y="246"/>
                      </a:lnTo>
                      <a:lnTo>
                        <a:pt x="96" y="258"/>
                      </a:lnTo>
                      <a:lnTo>
                        <a:pt x="114" y="276"/>
                      </a:lnTo>
                      <a:lnTo>
                        <a:pt x="126" y="282"/>
                      </a:lnTo>
                      <a:lnTo>
                        <a:pt x="132" y="288"/>
                      </a:lnTo>
                      <a:lnTo>
                        <a:pt x="138" y="282"/>
                      </a:lnTo>
                      <a:lnTo>
                        <a:pt x="150" y="276"/>
                      </a:lnTo>
                      <a:lnTo>
                        <a:pt x="156" y="264"/>
                      </a:lnTo>
                      <a:lnTo>
                        <a:pt x="168" y="252"/>
                      </a:lnTo>
                      <a:lnTo>
                        <a:pt x="174" y="240"/>
                      </a:lnTo>
                      <a:lnTo>
                        <a:pt x="180" y="234"/>
                      </a:lnTo>
                      <a:lnTo>
                        <a:pt x="180" y="228"/>
                      </a:lnTo>
                      <a:lnTo>
                        <a:pt x="216" y="228"/>
                      </a:lnTo>
                      <a:lnTo>
                        <a:pt x="222" y="210"/>
                      </a:lnTo>
                      <a:lnTo>
                        <a:pt x="258" y="210"/>
                      </a:lnTo>
                      <a:lnTo>
                        <a:pt x="300" y="270"/>
                      </a:lnTo>
                      <a:lnTo>
                        <a:pt x="300" y="288"/>
                      </a:lnTo>
                      <a:lnTo>
                        <a:pt x="312" y="300"/>
                      </a:lnTo>
                      <a:lnTo>
                        <a:pt x="312" y="318"/>
                      </a:lnTo>
                      <a:lnTo>
                        <a:pt x="306" y="330"/>
                      </a:lnTo>
                      <a:lnTo>
                        <a:pt x="300" y="336"/>
                      </a:lnTo>
                      <a:lnTo>
                        <a:pt x="294" y="354"/>
                      </a:lnTo>
                      <a:lnTo>
                        <a:pt x="324" y="342"/>
                      </a:lnTo>
                      <a:lnTo>
                        <a:pt x="348" y="348"/>
                      </a:lnTo>
                      <a:lnTo>
                        <a:pt x="348" y="336"/>
                      </a:lnTo>
                      <a:lnTo>
                        <a:pt x="354" y="330"/>
                      </a:lnTo>
                      <a:lnTo>
                        <a:pt x="360" y="330"/>
                      </a:lnTo>
                      <a:lnTo>
                        <a:pt x="372" y="336"/>
                      </a:lnTo>
                      <a:lnTo>
                        <a:pt x="384" y="348"/>
                      </a:lnTo>
                      <a:lnTo>
                        <a:pt x="390" y="366"/>
                      </a:lnTo>
                      <a:lnTo>
                        <a:pt x="390" y="426"/>
                      </a:lnTo>
                      <a:lnTo>
                        <a:pt x="402" y="426"/>
                      </a:lnTo>
                      <a:lnTo>
                        <a:pt x="402" y="432"/>
                      </a:lnTo>
                      <a:lnTo>
                        <a:pt x="414" y="444"/>
                      </a:lnTo>
                      <a:lnTo>
                        <a:pt x="420" y="444"/>
                      </a:lnTo>
                      <a:lnTo>
                        <a:pt x="432" y="432"/>
                      </a:lnTo>
                      <a:lnTo>
                        <a:pt x="432" y="420"/>
                      </a:lnTo>
                      <a:lnTo>
                        <a:pt x="438" y="408"/>
                      </a:lnTo>
                      <a:lnTo>
                        <a:pt x="444" y="402"/>
                      </a:lnTo>
                      <a:lnTo>
                        <a:pt x="456" y="402"/>
                      </a:lnTo>
                      <a:lnTo>
                        <a:pt x="468" y="408"/>
                      </a:lnTo>
                      <a:lnTo>
                        <a:pt x="474" y="414"/>
                      </a:lnTo>
                      <a:lnTo>
                        <a:pt x="480" y="414"/>
                      </a:lnTo>
                      <a:lnTo>
                        <a:pt x="486" y="408"/>
                      </a:lnTo>
                      <a:lnTo>
                        <a:pt x="486" y="390"/>
                      </a:lnTo>
                      <a:lnTo>
                        <a:pt x="480" y="384"/>
                      </a:lnTo>
                      <a:lnTo>
                        <a:pt x="480" y="378"/>
                      </a:lnTo>
                      <a:lnTo>
                        <a:pt x="498" y="378"/>
                      </a:lnTo>
                      <a:lnTo>
                        <a:pt x="492" y="366"/>
                      </a:lnTo>
                      <a:lnTo>
                        <a:pt x="480" y="360"/>
                      </a:lnTo>
                      <a:lnTo>
                        <a:pt x="474" y="348"/>
                      </a:lnTo>
                      <a:lnTo>
                        <a:pt x="474" y="336"/>
                      </a:lnTo>
                      <a:lnTo>
                        <a:pt x="492" y="336"/>
                      </a:lnTo>
                      <a:lnTo>
                        <a:pt x="498" y="342"/>
                      </a:lnTo>
                      <a:lnTo>
                        <a:pt x="510" y="342"/>
                      </a:lnTo>
                      <a:lnTo>
                        <a:pt x="516" y="348"/>
                      </a:lnTo>
                      <a:lnTo>
                        <a:pt x="516" y="342"/>
                      </a:lnTo>
                      <a:lnTo>
                        <a:pt x="522" y="336"/>
                      </a:lnTo>
                      <a:lnTo>
                        <a:pt x="522" y="324"/>
                      </a:lnTo>
                      <a:lnTo>
                        <a:pt x="516" y="324"/>
                      </a:lnTo>
                      <a:lnTo>
                        <a:pt x="504" y="318"/>
                      </a:lnTo>
                      <a:lnTo>
                        <a:pt x="498" y="318"/>
                      </a:lnTo>
                      <a:lnTo>
                        <a:pt x="498" y="306"/>
                      </a:lnTo>
                      <a:lnTo>
                        <a:pt x="504" y="294"/>
                      </a:lnTo>
                      <a:lnTo>
                        <a:pt x="510" y="288"/>
                      </a:lnTo>
                      <a:lnTo>
                        <a:pt x="492" y="282"/>
                      </a:lnTo>
                      <a:lnTo>
                        <a:pt x="504" y="264"/>
                      </a:lnTo>
                      <a:lnTo>
                        <a:pt x="486" y="258"/>
                      </a:lnTo>
                      <a:lnTo>
                        <a:pt x="480" y="222"/>
                      </a:lnTo>
                      <a:lnTo>
                        <a:pt x="498" y="198"/>
                      </a:lnTo>
                      <a:lnTo>
                        <a:pt x="468" y="168"/>
                      </a:lnTo>
                      <a:lnTo>
                        <a:pt x="468" y="132"/>
                      </a:lnTo>
                      <a:lnTo>
                        <a:pt x="444" y="132"/>
                      </a:lnTo>
                      <a:lnTo>
                        <a:pt x="468" y="96"/>
                      </a:lnTo>
                      <a:lnTo>
                        <a:pt x="432" y="78"/>
                      </a:lnTo>
                      <a:lnTo>
                        <a:pt x="444" y="48"/>
                      </a:lnTo>
                      <a:lnTo>
                        <a:pt x="426" y="36"/>
                      </a:lnTo>
                      <a:lnTo>
                        <a:pt x="426" y="18"/>
                      </a:lnTo>
                      <a:lnTo>
                        <a:pt x="414" y="12"/>
                      </a:lnTo>
                      <a:lnTo>
                        <a:pt x="402" y="12"/>
                      </a:lnTo>
                      <a:lnTo>
                        <a:pt x="396" y="18"/>
                      </a:lnTo>
                      <a:lnTo>
                        <a:pt x="396" y="36"/>
                      </a:lnTo>
                      <a:lnTo>
                        <a:pt x="378" y="54"/>
                      </a:lnTo>
                      <a:lnTo>
                        <a:pt x="366" y="48"/>
                      </a:lnTo>
                      <a:lnTo>
                        <a:pt x="360" y="42"/>
                      </a:lnTo>
                      <a:lnTo>
                        <a:pt x="348" y="36"/>
                      </a:lnTo>
                      <a:lnTo>
                        <a:pt x="342" y="36"/>
                      </a:lnTo>
                      <a:lnTo>
                        <a:pt x="336" y="30"/>
                      </a:lnTo>
                      <a:lnTo>
                        <a:pt x="330" y="30"/>
                      </a:lnTo>
                      <a:lnTo>
                        <a:pt x="324" y="42"/>
                      </a:lnTo>
                      <a:lnTo>
                        <a:pt x="312" y="54"/>
                      </a:lnTo>
                      <a:lnTo>
                        <a:pt x="306" y="66"/>
                      </a:lnTo>
                      <a:lnTo>
                        <a:pt x="306" y="54"/>
                      </a:lnTo>
                      <a:lnTo>
                        <a:pt x="300" y="42"/>
                      </a:lnTo>
                      <a:lnTo>
                        <a:pt x="288" y="30"/>
                      </a:lnTo>
                      <a:lnTo>
                        <a:pt x="276" y="42"/>
                      </a:lnTo>
                      <a:lnTo>
                        <a:pt x="270" y="54"/>
                      </a:lnTo>
                      <a:lnTo>
                        <a:pt x="264" y="60"/>
                      </a:lnTo>
                      <a:lnTo>
                        <a:pt x="258" y="54"/>
                      </a:lnTo>
                      <a:lnTo>
                        <a:pt x="258" y="48"/>
                      </a:lnTo>
                      <a:lnTo>
                        <a:pt x="252" y="36"/>
                      </a:lnTo>
                      <a:lnTo>
                        <a:pt x="252" y="24"/>
                      </a:lnTo>
                      <a:lnTo>
                        <a:pt x="210" y="24"/>
                      </a:lnTo>
                      <a:lnTo>
                        <a:pt x="204" y="30"/>
                      </a:lnTo>
                      <a:lnTo>
                        <a:pt x="192" y="36"/>
                      </a:lnTo>
                      <a:lnTo>
                        <a:pt x="180" y="36"/>
                      </a:lnTo>
                      <a:lnTo>
                        <a:pt x="174" y="30"/>
                      </a:lnTo>
                      <a:lnTo>
                        <a:pt x="168" y="18"/>
                      </a:lnTo>
                      <a:lnTo>
                        <a:pt x="162" y="12"/>
                      </a:lnTo>
                      <a:lnTo>
                        <a:pt x="156" y="18"/>
                      </a:lnTo>
                      <a:lnTo>
                        <a:pt x="138" y="18"/>
                      </a:lnTo>
                      <a:lnTo>
                        <a:pt x="132" y="6"/>
                      </a:lnTo>
                      <a:lnTo>
                        <a:pt x="132" y="0"/>
                      </a:lnTo>
                      <a:lnTo>
                        <a:pt x="96" y="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631" name="Guatemala"/>
                <p:cNvSpPr>
                  <a:spLocks/>
                </p:cNvSpPr>
                <p:nvPr/>
              </p:nvSpPr>
              <p:spPr bwMode="gray">
                <a:xfrm>
                  <a:off x="989" y="1941"/>
                  <a:ext cx="76" cy="86"/>
                </a:xfrm>
                <a:custGeom>
                  <a:avLst/>
                  <a:gdLst>
                    <a:gd name="T0" fmla="*/ 2147483647 w 300"/>
                    <a:gd name="T1" fmla="*/ 2147483647 h 336"/>
                    <a:gd name="T2" fmla="*/ 2147483647 w 300"/>
                    <a:gd name="T3" fmla="*/ 2147483647 h 336"/>
                    <a:gd name="T4" fmla="*/ 2147483647 w 300"/>
                    <a:gd name="T5" fmla="*/ 2147483647 h 336"/>
                    <a:gd name="T6" fmla="*/ 2147483647 w 300"/>
                    <a:gd name="T7" fmla="*/ 2147483647 h 336"/>
                    <a:gd name="T8" fmla="*/ 2147483647 w 300"/>
                    <a:gd name="T9" fmla="*/ 2147483647 h 336"/>
                    <a:gd name="T10" fmla="*/ 2147483647 w 300"/>
                    <a:gd name="T11" fmla="*/ 0 h 336"/>
                    <a:gd name="T12" fmla="*/ 2147483647 w 300"/>
                    <a:gd name="T13" fmla="*/ 2147483647 h 336"/>
                    <a:gd name="T14" fmla="*/ 2147483647 w 300"/>
                    <a:gd name="T15" fmla="*/ 2147483647 h 336"/>
                    <a:gd name="T16" fmla="*/ 2147483647 w 300"/>
                    <a:gd name="T17" fmla="*/ 2147483647 h 336"/>
                    <a:gd name="T18" fmla="*/ 2147483647 w 300"/>
                    <a:gd name="T19" fmla="*/ 2147483647 h 336"/>
                    <a:gd name="T20" fmla="*/ 2147483647 w 300"/>
                    <a:gd name="T21" fmla="*/ 2147483647 h 336"/>
                    <a:gd name="T22" fmla="*/ 2147483647 w 300"/>
                    <a:gd name="T23" fmla="*/ 2147483647 h 336"/>
                    <a:gd name="T24" fmla="*/ 2147483647 w 300"/>
                    <a:gd name="T25" fmla="*/ 2147483647 h 336"/>
                    <a:gd name="T26" fmla="*/ 2147483647 w 300"/>
                    <a:gd name="T27" fmla="*/ 2147483647 h 336"/>
                    <a:gd name="T28" fmla="*/ 2147483647 w 300"/>
                    <a:gd name="T29" fmla="*/ 2147483647 h 336"/>
                    <a:gd name="T30" fmla="*/ 2147483647 w 300"/>
                    <a:gd name="T31" fmla="*/ 2147483647 h 336"/>
                    <a:gd name="T32" fmla="*/ 2147483647 w 300"/>
                    <a:gd name="T33" fmla="*/ 2147483647 h 336"/>
                    <a:gd name="T34" fmla="*/ 2147483647 w 300"/>
                    <a:gd name="T35" fmla="*/ 2147483647 h 336"/>
                    <a:gd name="T36" fmla="*/ 2147483647 w 300"/>
                    <a:gd name="T37" fmla="*/ 2147483647 h 336"/>
                    <a:gd name="T38" fmla="*/ 2147483647 w 300"/>
                    <a:gd name="T39" fmla="*/ 2147483647 h 336"/>
                    <a:gd name="T40" fmla="*/ 2147483647 w 300"/>
                    <a:gd name="T41" fmla="*/ 2147483647 h 336"/>
                    <a:gd name="T42" fmla="*/ 2147483647 w 300"/>
                    <a:gd name="T43" fmla="*/ 2147483647 h 336"/>
                    <a:gd name="T44" fmla="*/ 2147483647 w 300"/>
                    <a:gd name="T45" fmla="*/ 2147483647 h 336"/>
                    <a:gd name="T46" fmla="*/ 2147483647 w 300"/>
                    <a:gd name="T47" fmla="*/ 2147483647 h 336"/>
                    <a:gd name="T48" fmla="*/ 2147483647 w 300"/>
                    <a:gd name="T49" fmla="*/ 2147483647 h 336"/>
                    <a:gd name="T50" fmla="*/ 2147483647 w 300"/>
                    <a:gd name="T51" fmla="*/ 2147483647 h 336"/>
                    <a:gd name="T52" fmla="*/ 2147483647 w 300"/>
                    <a:gd name="T53" fmla="*/ 2147483647 h 336"/>
                    <a:gd name="T54" fmla="*/ 2147483647 w 300"/>
                    <a:gd name="T55" fmla="*/ 2147483647 h 336"/>
                    <a:gd name="T56" fmla="*/ 2147483647 w 300"/>
                    <a:gd name="T57" fmla="*/ 2147483647 h 336"/>
                    <a:gd name="T58" fmla="*/ 0 w 300"/>
                    <a:gd name="T59" fmla="*/ 2147483647 h 336"/>
                    <a:gd name="T60" fmla="*/ 2147483647 w 300"/>
                    <a:gd name="T61" fmla="*/ 2147483647 h 336"/>
                    <a:gd name="T62" fmla="*/ 2147483647 w 300"/>
                    <a:gd name="T63" fmla="*/ 2147483647 h 336"/>
                    <a:gd name="T64" fmla="*/ 2147483647 w 300"/>
                    <a:gd name="T65" fmla="*/ 2147483647 h 336"/>
                    <a:gd name="T66" fmla="*/ 2147483647 w 300"/>
                    <a:gd name="T67" fmla="*/ 2147483647 h 336"/>
                    <a:gd name="T68" fmla="*/ 2147483647 w 300"/>
                    <a:gd name="T69" fmla="*/ 2147483647 h 336"/>
                    <a:gd name="T70" fmla="*/ 2147483647 w 300"/>
                    <a:gd name="T71" fmla="*/ 2147483647 h 336"/>
                    <a:gd name="T72" fmla="*/ 2147483647 w 300"/>
                    <a:gd name="T73" fmla="*/ 2147483647 h 336"/>
                    <a:gd name="T74" fmla="*/ 2147483647 w 300"/>
                    <a:gd name="T75" fmla="*/ 2147483647 h 336"/>
                    <a:gd name="T76" fmla="*/ 2147483647 w 300"/>
                    <a:gd name="T77" fmla="*/ 2147483647 h 336"/>
                    <a:gd name="T78" fmla="*/ 2147483647 w 300"/>
                    <a:gd name="T79" fmla="*/ 2147483647 h 336"/>
                    <a:gd name="T80" fmla="*/ 2147483647 w 300"/>
                    <a:gd name="T81" fmla="*/ 2147483647 h 336"/>
                    <a:gd name="T82" fmla="*/ 2147483647 w 300"/>
                    <a:gd name="T83" fmla="*/ 2147483647 h 336"/>
                    <a:gd name="T84" fmla="*/ 2147483647 w 300"/>
                    <a:gd name="T85" fmla="*/ 2147483647 h 336"/>
                    <a:gd name="T86" fmla="*/ 2147483647 w 300"/>
                    <a:gd name="T87" fmla="*/ 2147483647 h 336"/>
                    <a:gd name="T88" fmla="*/ 2147483647 w 300"/>
                    <a:gd name="T89" fmla="*/ 2147483647 h 336"/>
                    <a:gd name="T90" fmla="*/ 2147483647 w 300"/>
                    <a:gd name="T91" fmla="*/ 2147483647 h 336"/>
                    <a:gd name="T92" fmla="*/ 2147483647 w 300"/>
                    <a:gd name="T93" fmla="*/ 2147483647 h 336"/>
                    <a:gd name="T94" fmla="*/ 2147483647 w 300"/>
                    <a:gd name="T95" fmla="*/ 2147483647 h 336"/>
                    <a:gd name="T96" fmla="*/ 2147483647 w 300"/>
                    <a:gd name="T97" fmla="*/ 2147483647 h 336"/>
                    <a:gd name="T98" fmla="*/ 2147483647 w 300"/>
                    <a:gd name="T99" fmla="*/ 2147483647 h 336"/>
                    <a:gd name="T100" fmla="*/ 2147483647 w 300"/>
                    <a:gd name="T101" fmla="*/ 2147483647 h 336"/>
                    <a:gd name="T102" fmla="*/ 2147483647 w 300"/>
                    <a:gd name="T103" fmla="*/ 2147483647 h 336"/>
                    <a:gd name="T104" fmla="*/ 2147483647 w 300"/>
                    <a:gd name="T105" fmla="*/ 2147483647 h 336"/>
                    <a:gd name="T106" fmla="*/ 2147483647 w 300"/>
                    <a:gd name="T107" fmla="*/ 2147483647 h 336"/>
                    <a:gd name="T108" fmla="*/ 2147483647 w 300"/>
                    <a:gd name="T109" fmla="*/ 2147483647 h 336"/>
                    <a:gd name="T110" fmla="*/ 2147483647 w 300"/>
                    <a:gd name="T111" fmla="*/ 2147483647 h 336"/>
                    <a:gd name="T112" fmla="*/ 2147483647 w 300"/>
                    <a:gd name="T113" fmla="*/ 2147483647 h 336"/>
                    <a:gd name="T114" fmla="*/ 2147483647 w 300"/>
                    <a:gd name="T115" fmla="*/ 2147483647 h 336"/>
                    <a:gd name="T116" fmla="*/ 2147483647 w 300"/>
                    <a:gd name="T117" fmla="*/ 2147483647 h 336"/>
                    <a:gd name="T118" fmla="*/ 2147483647 w 300"/>
                    <a:gd name="T119" fmla="*/ 2147483647 h 336"/>
                    <a:gd name="T120" fmla="*/ 2147483647 w 300"/>
                    <a:gd name="T121" fmla="*/ 2147483647 h 3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00"/>
                    <a:gd name="T184" fmla="*/ 0 h 336"/>
                    <a:gd name="T185" fmla="*/ 300 w 300"/>
                    <a:gd name="T186" fmla="*/ 336 h 3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00" h="336">
                      <a:moveTo>
                        <a:pt x="288" y="156"/>
                      </a:moveTo>
                      <a:lnTo>
                        <a:pt x="270" y="168"/>
                      </a:lnTo>
                      <a:lnTo>
                        <a:pt x="258" y="162"/>
                      </a:lnTo>
                      <a:lnTo>
                        <a:pt x="228" y="162"/>
                      </a:lnTo>
                      <a:lnTo>
                        <a:pt x="252" y="6"/>
                      </a:lnTo>
                      <a:lnTo>
                        <a:pt x="120" y="0"/>
                      </a:lnTo>
                      <a:lnTo>
                        <a:pt x="120" y="12"/>
                      </a:lnTo>
                      <a:lnTo>
                        <a:pt x="126" y="24"/>
                      </a:lnTo>
                      <a:lnTo>
                        <a:pt x="126" y="48"/>
                      </a:lnTo>
                      <a:lnTo>
                        <a:pt x="120" y="48"/>
                      </a:lnTo>
                      <a:lnTo>
                        <a:pt x="108" y="54"/>
                      </a:lnTo>
                      <a:lnTo>
                        <a:pt x="84" y="54"/>
                      </a:lnTo>
                      <a:lnTo>
                        <a:pt x="96" y="60"/>
                      </a:lnTo>
                      <a:lnTo>
                        <a:pt x="96" y="66"/>
                      </a:lnTo>
                      <a:lnTo>
                        <a:pt x="102" y="78"/>
                      </a:lnTo>
                      <a:lnTo>
                        <a:pt x="108" y="84"/>
                      </a:lnTo>
                      <a:lnTo>
                        <a:pt x="114" y="84"/>
                      </a:lnTo>
                      <a:lnTo>
                        <a:pt x="126" y="90"/>
                      </a:lnTo>
                      <a:lnTo>
                        <a:pt x="132" y="90"/>
                      </a:lnTo>
                      <a:lnTo>
                        <a:pt x="138" y="114"/>
                      </a:lnTo>
                      <a:lnTo>
                        <a:pt x="156" y="114"/>
                      </a:lnTo>
                      <a:lnTo>
                        <a:pt x="156" y="126"/>
                      </a:lnTo>
                      <a:lnTo>
                        <a:pt x="150" y="132"/>
                      </a:lnTo>
                      <a:lnTo>
                        <a:pt x="144" y="132"/>
                      </a:lnTo>
                      <a:lnTo>
                        <a:pt x="144" y="150"/>
                      </a:lnTo>
                      <a:lnTo>
                        <a:pt x="54" y="144"/>
                      </a:lnTo>
                      <a:lnTo>
                        <a:pt x="24" y="192"/>
                      </a:lnTo>
                      <a:lnTo>
                        <a:pt x="24" y="264"/>
                      </a:lnTo>
                      <a:lnTo>
                        <a:pt x="18" y="270"/>
                      </a:lnTo>
                      <a:lnTo>
                        <a:pt x="0" y="270"/>
                      </a:lnTo>
                      <a:lnTo>
                        <a:pt x="6" y="282"/>
                      </a:lnTo>
                      <a:lnTo>
                        <a:pt x="12" y="288"/>
                      </a:lnTo>
                      <a:lnTo>
                        <a:pt x="24" y="288"/>
                      </a:lnTo>
                      <a:lnTo>
                        <a:pt x="42" y="300"/>
                      </a:lnTo>
                      <a:lnTo>
                        <a:pt x="60" y="318"/>
                      </a:lnTo>
                      <a:lnTo>
                        <a:pt x="72" y="324"/>
                      </a:lnTo>
                      <a:lnTo>
                        <a:pt x="120" y="324"/>
                      </a:lnTo>
                      <a:lnTo>
                        <a:pt x="126" y="330"/>
                      </a:lnTo>
                      <a:lnTo>
                        <a:pt x="132" y="330"/>
                      </a:lnTo>
                      <a:lnTo>
                        <a:pt x="138" y="336"/>
                      </a:lnTo>
                      <a:lnTo>
                        <a:pt x="150" y="324"/>
                      </a:lnTo>
                      <a:lnTo>
                        <a:pt x="162" y="318"/>
                      </a:lnTo>
                      <a:lnTo>
                        <a:pt x="168" y="312"/>
                      </a:lnTo>
                      <a:lnTo>
                        <a:pt x="174" y="312"/>
                      </a:lnTo>
                      <a:lnTo>
                        <a:pt x="180" y="300"/>
                      </a:lnTo>
                      <a:lnTo>
                        <a:pt x="186" y="294"/>
                      </a:lnTo>
                      <a:lnTo>
                        <a:pt x="186" y="282"/>
                      </a:lnTo>
                      <a:lnTo>
                        <a:pt x="204" y="282"/>
                      </a:lnTo>
                      <a:lnTo>
                        <a:pt x="210" y="276"/>
                      </a:lnTo>
                      <a:lnTo>
                        <a:pt x="222" y="270"/>
                      </a:lnTo>
                      <a:lnTo>
                        <a:pt x="222" y="264"/>
                      </a:lnTo>
                      <a:lnTo>
                        <a:pt x="228" y="252"/>
                      </a:lnTo>
                      <a:lnTo>
                        <a:pt x="228" y="234"/>
                      </a:lnTo>
                      <a:lnTo>
                        <a:pt x="234" y="222"/>
                      </a:lnTo>
                      <a:lnTo>
                        <a:pt x="246" y="216"/>
                      </a:lnTo>
                      <a:lnTo>
                        <a:pt x="258" y="204"/>
                      </a:lnTo>
                      <a:lnTo>
                        <a:pt x="270" y="198"/>
                      </a:lnTo>
                      <a:lnTo>
                        <a:pt x="282" y="186"/>
                      </a:lnTo>
                      <a:lnTo>
                        <a:pt x="294" y="180"/>
                      </a:lnTo>
                      <a:lnTo>
                        <a:pt x="300" y="168"/>
                      </a:lnTo>
                      <a:lnTo>
                        <a:pt x="288" y="156"/>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632" name="Greenland"/>
                <p:cNvSpPr>
                  <a:spLocks noEditPoints="1"/>
                </p:cNvSpPr>
                <p:nvPr/>
              </p:nvSpPr>
              <p:spPr bwMode="gray">
                <a:xfrm>
                  <a:off x="1871" y="702"/>
                  <a:ext cx="717" cy="390"/>
                </a:xfrm>
                <a:custGeom>
                  <a:avLst/>
                  <a:gdLst>
                    <a:gd name="T0" fmla="*/ 2147483647 w 732"/>
                    <a:gd name="T1" fmla="*/ 2147483647 h 398"/>
                    <a:gd name="T2" fmla="*/ 2147483647 w 732"/>
                    <a:gd name="T3" fmla="*/ 2147483647 h 398"/>
                    <a:gd name="T4" fmla="*/ 2147483647 w 732"/>
                    <a:gd name="T5" fmla="*/ 2147483647 h 398"/>
                    <a:gd name="T6" fmla="*/ 2147483647 w 732"/>
                    <a:gd name="T7" fmla="*/ 2147483647 h 398"/>
                    <a:gd name="T8" fmla="*/ 2147483647 w 732"/>
                    <a:gd name="T9" fmla="*/ 2147483647 h 398"/>
                    <a:gd name="T10" fmla="*/ 2147483647 w 732"/>
                    <a:gd name="T11" fmla="*/ 2147483647 h 398"/>
                    <a:gd name="T12" fmla="*/ 2147483647 w 732"/>
                    <a:gd name="T13" fmla="*/ 2147483647 h 398"/>
                    <a:gd name="T14" fmla="*/ 2147483647 w 732"/>
                    <a:gd name="T15" fmla="*/ 2147483647 h 398"/>
                    <a:gd name="T16" fmla="*/ 2147483647 w 732"/>
                    <a:gd name="T17" fmla="*/ 2147483647 h 398"/>
                    <a:gd name="T18" fmla="*/ 2147483647 w 732"/>
                    <a:gd name="T19" fmla="*/ 2147483647 h 398"/>
                    <a:gd name="T20" fmla="*/ 2147483647 w 732"/>
                    <a:gd name="T21" fmla="*/ 2147483647 h 398"/>
                    <a:gd name="T22" fmla="*/ 2147483647 w 732"/>
                    <a:gd name="T23" fmla="*/ 2147483647 h 398"/>
                    <a:gd name="T24" fmla="*/ 2147483647 w 732"/>
                    <a:gd name="T25" fmla="*/ 2147483647 h 398"/>
                    <a:gd name="T26" fmla="*/ 2147483647 w 732"/>
                    <a:gd name="T27" fmla="*/ 2147483647 h 398"/>
                    <a:gd name="T28" fmla="*/ 2147483647 w 732"/>
                    <a:gd name="T29" fmla="*/ 2147483647 h 398"/>
                    <a:gd name="T30" fmla="*/ 2147483647 w 732"/>
                    <a:gd name="T31" fmla="*/ 2147483647 h 398"/>
                    <a:gd name="T32" fmla="*/ 2147483647 w 732"/>
                    <a:gd name="T33" fmla="*/ 2147483647 h 398"/>
                    <a:gd name="T34" fmla="*/ 2147483647 w 732"/>
                    <a:gd name="T35" fmla="*/ 2147483647 h 398"/>
                    <a:gd name="T36" fmla="*/ 2147483647 w 732"/>
                    <a:gd name="T37" fmla="*/ 2147483647 h 398"/>
                    <a:gd name="T38" fmla="*/ 2147483647 w 732"/>
                    <a:gd name="T39" fmla="*/ 2147483647 h 398"/>
                    <a:gd name="T40" fmla="*/ 2147483647 w 732"/>
                    <a:gd name="T41" fmla="*/ 2147483647 h 398"/>
                    <a:gd name="T42" fmla="*/ 2147483647 w 732"/>
                    <a:gd name="T43" fmla="*/ 2147483647 h 398"/>
                    <a:gd name="T44" fmla="*/ 2147483647 w 732"/>
                    <a:gd name="T45" fmla="*/ 2147483647 h 398"/>
                    <a:gd name="T46" fmla="*/ 2147483647 w 732"/>
                    <a:gd name="T47" fmla="*/ 2147483647 h 398"/>
                    <a:gd name="T48" fmla="*/ 2147483647 w 732"/>
                    <a:gd name="T49" fmla="*/ 2147483647 h 398"/>
                    <a:gd name="T50" fmla="*/ 2147483647 w 732"/>
                    <a:gd name="T51" fmla="*/ 2147483647 h 398"/>
                    <a:gd name="T52" fmla="*/ 2147483647 w 732"/>
                    <a:gd name="T53" fmla="*/ 2147483647 h 398"/>
                    <a:gd name="T54" fmla="*/ 2147483647 w 732"/>
                    <a:gd name="T55" fmla="*/ 2147483647 h 398"/>
                    <a:gd name="T56" fmla="*/ 2147483647 w 732"/>
                    <a:gd name="T57" fmla="*/ 2147483647 h 398"/>
                    <a:gd name="T58" fmla="*/ 2147483647 w 732"/>
                    <a:gd name="T59" fmla="*/ 2147483647 h 398"/>
                    <a:gd name="T60" fmla="*/ 2147483647 w 732"/>
                    <a:gd name="T61" fmla="*/ 2147483647 h 398"/>
                    <a:gd name="T62" fmla="*/ 2147483647 w 732"/>
                    <a:gd name="T63" fmla="*/ 2147483647 h 398"/>
                    <a:gd name="T64" fmla="*/ 2147483647 w 732"/>
                    <a:gd name="T65" fmla="*/ 2147483647 h 398"/>
                    <a:gd name="T66" fmla="*/ 2147483647 w 732"/>
                    <a:gd name="T67" fmla="*/ 2147483647 h 398"/>
                    <a:gd name="T68" fmla="*/ 2147483647 w 732"/>
                    <a:gd name="T69" fmla="*/ 2147483647 h 398"/>
                    <a:gd name="T70" fmla="*/ 2147483647 w 732"/>
                    <a:gd name="T71" fmla="*/ 2147483647 h 398"/>
                    <a:gd name="T72" fmla="*/ 2147483647 w 732"/>
                    <a:gd name="T73" fmla="*/ 2147483647 h 398"/>
                    <a:gd name="T74" fmla="*/ 2147483647 w 732"/>
                    <a:gd name="T75" fmla="*/ 2147483647 h 398"/>
                    <a:gd name="T76" fmla="*/ 2147483647 w 732"/>
                    <a:gd name="T77" fmla="*/ 2147483647 h 398"/>
                    <a:gd name="T78" fmla="*/ 2147483647 w 732"/>
                    <a:gd name="T79" fmla="*/ 2147483647 h 398"/>
                    <a:gd name="T80" fmla="*/ 2147483647 w 732"/>
                    <a:gd name="T81" fmla="*/ 2147483647 h 398"/>
                    <a:gd name="T82" fmla="*/ 2147483647 w 732"/>
                    <a:gd name="T83" fmla="*/ 2147483647 h 398"/>
                    <a:gd name="T84" fmla="*/ 2147483647 w 732"/>
                    <a:gd name="T85" fmla="*/ 2147483647 h 398"/>
                    <a:gd name="T86" fmla="*/ 2147483647 w 732"/>
                    <a:gd name="T87" fmla="*/ 2147483647 h 398"/>
                    <a:gd name="T88" fmla="*/ 2147483647 w 732"/>
                    <a:gd name="T89" fmla="*/ 2147483647 h 398"/>
                    <a:gd name="T90" fmla="*/ 2147483647 w 732"/>
                    <a:gd name="T91" fmla="*/ 2147483647 h 398"/>
                    <a:gd name="T92" fmla="*/ 2147483647 w 732"/>
                    <a:gd name="T93" fmla="*/ 2147483647 h 398"/>
                    <a:gd name="T94" fmla="*/ 2147483647 w 732"/>
                    <a:gd name="T95" fmla="*/ 2147483647 h 398"/>
                    <a:gd name="T96" fmla="*/ 2147483647 w 732"/>
                    <a:gd name="T97" fmla="*/ 2147483647 h 398"/>
                    <a:gd name="T98" fmla="*/ 2147483647 w 732"/>
                    <a:gd name="T99" fmla="*/ 2147483647 h 398"/>
                    <a:gd name="T100" fmla="*/ 2147483647 w 732"/>
                    <a:gd name="T101" fmla="*/ 2147483647 h 398"/>
                    <a:gd name="T102" fmla="*/ 2147483647 w 732"/>
                    <a:gd name="T103" fmla="*/ 2147483647 h 398"/>
                    <a:gd name="T104" fmla="*/ 2147483647 w 732"/>
                    <a:gd name="T105" fmla="*/ 2147483647 h 398"/>
                    <a:gd name="T106" fmla="*/ 2147483647 w 732"/>
                    <a:gd name="T107" fmla="*/ 2147483647 h 398"/>
                    <a:gd name="T108" fmla="*/ 2147483647 w 732"/>
                    <a:gd name="T109" fmla="*/ 2147483647 h 398"/>
                    <a:gd name="T110" fmla="*/ 2147483647 w 732"/>
                    <a:gd name="T111" fmla="*/ 2147483647 h 398"/>
                    <a:gd name="T112" fmla="*/ 2147483647 w 732"/>
                    <a:gd name="T113" fmla="*/ 2147483647 h 398"/>
                    <a:gd name="T114" fmla="*/ 2147483647 w 732"/>
                    <a:gd name="T115" fmla="*/ 2147483647 h 398"/>
                    <a:gd name="T116" fmla="*/ 2147483647 w 732"/>
                    <a:gd name="T117" fmla="*/ 2147483647 h 398"/>
                    <a:gd name="T118" fmla="*/ 2147483647 w 732"/>
                    <a:gd name="T119" fmla="*/ 2147483647 h 398"/>
                    <a:gd name="T120" fmla="*/ 2147483647 w 732"/>
                    <a:gd name="T121" fmla="*/ 2147483647 h 398"/>
                    <a:gd name="T122" fmla="*/ 2147483647 w 732"/>
                    <a:gd name="T123" fmla="*/ 2147483647 h 39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32"/>
                    <a:gd name="T187" fmla="*/ 0 h 398"/>
                    <a:gd name="T188" fmla="*/ 732 w 732"/>
                    <a:gd name="T189" fmla="*/ 398 h 39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32" h="398">
                      <a:moveTo>
                        <a:pt x="730" y="24"/>
                      </a:moveTo>
                      <a:lnTo>
                        <a:pt x="728" y="24"/>
                      </a:lnTo>
                      <a:lnTo>
                        <a:pt x="723" y="24"/>
                      </a:lnTo>
                      <a:lnTo>
                        <a:pt x="718" y="22"/>
                      </a:lnTo>
                      <a:lnTo>
                        <a:pt x="678" y="22"/>
                      </a:lnTo>
                      <a:lnTo>
                        <a:pt x="678" y="24"/>
                      </a:lnTo>
                      <a:lnTo>
                        <a:pt x="670" y="26"/>
                      </a:lnTo>
                      <a:lnTo>
                        <a:pt x="659" y="26"/>
                      </a:lnTo>
                      <a:lnTo>
                        <a:pt x="651" y="24"/>
                      </a:lnTo>
                      <a:lnTo>
                        <a:pt x="637" y="24"/>
                      </a:lnTo>
                      <a:lnTo>
                        <a:pt x="623" y="29"/>
                      </a:lnTo>
                      <a:lnTo>
                        <a:pt x="616" y="34"/>
                      </a:lnTo>
                      <a:lnTo>
                        <a:pt x="611" y="34"/>
                      </a:lnTo>
                      <a:lnTo>
                        <a:pt x="606" y="34"/>
                      </a:lnTo>
                      <a:lnTo>
                        <a:pt x="604" y="36"/>
                      </a:lnTo>
                      <a:lnTo>
                        <a:pt x="602" y="36"/>
                      </a:lnTo>
                      <a:lnTo>
                        <a:pt x="597" y="38"/>
                      </a:lnTo>
                      <a:lnTo>
                        <a:pt x="592" y="38"/>
                      </a:lnTo>
                      <a:lnTo>
                        <a:pt x="599" y="34"/>
                      </a:lnTo>
                      <a:lnTo>
                        <a:pt x="609" y="31"/>
                      </a:lnTo>
                      <a:lnTo>
                        <a:pt x="621" y="26"/>
                      </a:lnTo>
                      <a:lnTo>
                        <a:pt x="623" y="24"/>
                      </a:lnTo>
                      <a:lnTo>
                        <a:pt x="618" y="19"/>
                      </a:lnTo>
                      <a:lnTo>
                        <a:pt x="606" y="19"/>
                      </a:lnTo>
                      <a:lnTo>
                        <a:pt x="604" y="22"/>
                      </a:lnTo>
                      <a:lnTo>
                        <a:pt x="602" y="22"/>
                      </a:lnTo>
                      <a:lnTo>
                        <a:pt x="597" y="24"/>
                      </a:lnTo>
                      <a:lnTo>
                        <a:pt x="594" y="24"/>
                      </a:lnTo>
                      <a:lnTo>
                        <a:pt x="566" y="26"/>
                      </a:lnTo>
                      <a:lnTo>
                        <a:pt x="566" y="29"/>
                      </a:lnTo>
                      <a:lnTo>
                        <a:pt x="563" y="29"/>
                      </a:lnTo>
                      <a:lnTo>
                        <a:pt x="566" y="26"/>
                      </a:lnTo>
                      <a:lnTo>
                        <a:pt x="568" y="26"/>
                      </a:lnTo>
                      <a:lnTo>
                        <a:pt x="573" y="26"/>
                      </a:lnTo>
                      <a:lnTo>
                        <a:pt x="578" y="24"/>
                      </a:lnTo>
                      <a:lnTo>
                        <a:pt x="580" y="24"/>
                      </a:lnTo>
                      <a:lnTo>
                        <a:pt x="582" y="24"/>
                      </a:lnTo>
                      <a:lnTo>
                        <a:pt x="585" y="22"/>
                      </a:lnTo>
                      <a:lnTo>
                        <a:pt x="578" y="19"/>
                      </a:lnTo>
                      <a:lnTo>
                        <a:pt x="552" y="19"/>
                      </a:lnTo>
                      <a:lnTo>
                        <a:pt x="542" y="22"/>
                      </a:lnTo>
                      <a:lnTo>
                        <a:pt x="525" y="19"/>
                      </a:lnTo>
                      <a:lnTo>
                        <a:pt x="523" y="19"/>
                      </a:lnTo>
                      <a:lnTo>
                        <a:pt x="523" y="22"/>
                      </a:lnTo>
                      <a:lnTo>
                        <a:pt x="518" y="22"/>
                      </a:lnTo>
                      <a:lnTo>
                        <a:pt x="514" y="24"/>
                      </a:lnTo>
                      <a:lnTo>
                        <a:pt x="511" y="24"/>
                      </a:lnTo>
                      <a:lnTo>
                        <a:pt x="509" y="24"/>
                      </a:lnTo>
                      <a:lnTo>
                        <a:pt x="506" y="24"/>
                      </a:lnTo>
                      <a:lnTo>
                        <a:pt x="509" y="22"/>
                      </a:lnTo>
                      <a:lnTo>
                        <a:pt x="518" y="19"/>
                      </a:lnTo>
                      <a:lnTo>
                        <a:pt x="530" y="19"/>
                      </a:lnTo>
                      <a:lnTo>
                        <a:pt x="563" y="19"/>
                      </a:lnTo>
                      <a:lnTo>
                        <a:pt x="580" y="17"/>
                      </a:lnTo>
                      <a:lnTo>
                        <a:pt x="625" y="17"/>
                      </a:lnTo>
                      <a:lnTo>
                        <a:pt x="632" y="14"/>
                      </a:lnTo>
                      <a:lnTo>
                        <a:pt x="628" y="12"/>
                      </a:lnTo>
                      <a:lnTo>
                        <a:pt x="618" y="10"/>
                      </a:lnTo>
                      <a:lnTo>
                        <a:pt x="592" y="10"/>
                      </a:lnTo>
                      <a:lnTo>
                        <a:pt x="594" y="10"/>
                      </a:lnTo>
                      <a:lnTo>
                        <a:pt x="597" y="7"/>
                      </a:lnTo>
                      <a:lnTo>
                        <a:pt x="594" y="5"/>
                      </a:lnTo>
                      <a:lnTo>
                        <a:pt x="585" y="5"/>
                      </a:lnTo>
                      <a:lnTo>
                        <a:pt x="582" y="7"/>
                      </a:lnTo>
                      <a:lnTo>
                        <a:pt x="568" y="7"/>
                      </a:lnTo>
                      <a:lnTo>
                        <a:pt x="566" y="5"/>
                      </a:lnTo>
                      <a:lnTo>
                        <a:pt x="571" y="5"/>
                      </a:lnTo>
                      <a:lnTo>
                        <a:pt x="573" y="5"/>
                      </a:lnTo>
                      <a:lnTo>
                        <a:pt x="578" y="5"/>
                      </a:lnTo>
                      <a:lnTo>
                        <a:pt x="578" y="2"/>
                      </a:lnTo>
                      <a:lnTo>
                        <a:pt x="575" y="2"/>
                      </a:lnTo>
                      <a:lnTo>
                        <a:pt x="571" y="0"/>
                      </a:lnTo>
                      <a:lnTo>
                        <a:pt x="537" y="0"/>
                      </a:lnTo>
                      <a:lnTo>
                        <a:pt x="528" y="2"/>
                      </a:lnTo>
                      <a:lnTo>
                        <a:pt x="518" y="2"/>
                      </a:lnTo>
                      <a:lnTo>
                        <a:pt x="509" y="0"/>
                      </a:lnTo>
                      <a:lnTo>
                        <a:pt x="483" y="0"/>
                      </a:lnTo>
                      <a:lnTo>
                        <a:pt x="478" y="2"/>
                      </a:lnTo>
                      <a:lnTo>
                        <a:pt x="454" y="2"/>
                      </a:lnTo>
                      <a:lnTo>
                        <a:pt x="452" y="0"/>
                      </a:lnTo>
                      <a:lnTo>
                        <a:pt x="447" y="0"/>
                      </a:lnTo>
                      <a:lnTo>
                        <a:pt x="445" y="2"/>
                      </a:lnTo>
                      <a:lnTo>
                        <a:pt x="442" y="2"/>
                      </a:lnTo>
                      <a:lnTo>
                        <a:pt x="442" y="5"/>
                      </a:lnTo>
                      <a:lnTo>
                        <a:pt x="445" y="5"/>
                      </a:lnTo>
                      <a:lnTo>
                        <a:pt x="447" y="5"/>
                      </a:lnTo>
                      <a:lnTo>
                        <a:pt x="442" y="7"/>
                      </a:lnTo>
                      <a:lnTo>
                        <a:pt x="428" y="7"/>
                      </a:lnTo>
                      <a:lnTo>
                        <a:pt x="409" y="5"/>
                      </a:lnTo>
                      <a:lnTo>
                        <a:pt x="378" y="5"/>
                      </a:lnTo>
                      <a:lnTo>
                        <a:pt x="373" y="5"/>
                      </a:lnTo>
                      <a:lnTo>
                        <a:pt x="371" y="5"/>
                      </a:lnTo>
                      <a:lnTo>
                        <a:pt x="368" y="7"/>
                      </a:lnTo>
                      <a:lnTo>
                        <a:pt x="366" y="7"/>
                      </a:lnTo>
                      <a:lnTo>
                        <a:pt x="366" y="10"/>
                      </a:lnTo>
                      <a:lnTo>
                        <a:pt x="368" y="10"/>
                      </a:lnTo>
                      <a:lnTo>
                        <a:pt x="378" y="10"/>
                      </a:lnTo>
                      <a:lnTo>
                        <a:pt x="387" y="10"/>
                      </a:lnTo>
                      <a:lnTo>
                        <a:pt x="399" y="12"/>
                      </a:lnTo>
                      <a:lnTo>
                        <a:pt x="404" y="12"/>
                      </a:lnTo>
                      <a:lnTo>
                        <a:pt x="426" y="14"/>
                      </a:lnTo>
                      <a:lnTo>
                        <a:pt x="399" y="14"/>
                      </a:lnTo>
                      <a:lnTo>
                        <a:pt x="395" y="14"/>
                      </a:lnTo>
                      <a:lnTo>
                        <a:pt x="392" y="14"/>
                      </a:lnTo>
                      <a:lnTo>
                        <a:pt x="387" y="12"/>
                      </a:lnTo>
                      <a:lnTo>
                        <a:pt x="378" y="12"/>
                      </a:lnTo>
                      <a:lnTo>
                        <a:pt x="380" y="14"/>
                      </a:lnTo>
                      <a:lnTo>
                        <a:pt x="383" y="14"/>
                      </a:lnTo>
                      <a:lnTo>
                        <a:pt x="385" y="14"/>
                      </a:lnTo>
                      <a:lnTo>
                        <a:pt x="376" y="14"/>
                      </a:lnTo>
                      <a:lnTo>
                        <a:pt x="373" y="17"/>
                      </a:lnTo>
                      <a:lnTo>
                        <a:pt x="373" y="19"/>
                      </a:lnTo>
                      <a:lnTo>
                        <a:pt x="371" y="22"/>
                      </a:lnTo>
                      <a:lnTo>
                        <a:pt x="371" y="24"/>
                      </a:lnTo>
                      <a:lnTo>
                        <a:pt x="368" y="24"/>
                      </a:lnTo>
                      <a:lnTo>
                        <a:pt x="366" y="24"/>
                      </a:lnTo>
                      <a:lnTo>
                        <a:pt x="364" y="24"/>
                      </a:lnTo>
                      <a:lnTo>
                        <a:pt x="359" y="24"/>
                      </a:lnTo>
                      <a:lnTo>
                        <a:pt x="357" y="22"/>
                      </a:lnTo>
                      <a:lnTo>
                        <a:pt x="345" y="19"/>
                      </a:lnTo>
                      <a:lnTo>
                        <a:pt x="330" y="14"/>
                      </a:lnTo>
                      <a:lnTo>
                        <a:pt x="309" y="14"/>
                      </a:lnTo>
                      <a:lnTo>
                        <a:pt x="309" y="24"/>
                      </a:lnTo>
                      <a:lnTo>
                        <a:pt x="297" y="24"/>
                      </a:lnTo>
                      <a:lnTo>
                        <a:pt x="292" y="22"/>
                      </a:lnTo>
                      <a:lnTo>
                        <a:pt x="288" y="22"/>
                      </a:lnTo>
                      <a:lnTo>
                        <a:pt x="285" y="19"/>
                      </a:lnTo>
                      <a:lnTo>
                        <a:pt x="278" y="19"/>
                      </a:lnTo>
                      <a:lnTo>
                        <a:pt x="273" y="22"/>
                      </a:lnTo>
                      <a:lnTo>
                        <a:pt x="273" y="24"/>
                      </a:lnTo>
                      <a:lnTo>
                        <a:pt x="269" y="24"/>
                      </a:lnTo>
                      <a:lnTo>
                        <a:pt x="271" y="19"/>
                      </a:lnTo>
                      <a:lnTo>
                        <a:pt x="269" y="17"/>
                      </a:lnTo>
                      <a:lnTo>
                        <a:pt x="238" y="17"/>
                      </a:lnTo>
                      <a:lnTo>
                        <a:pt x="228" y="19"/>
                      </a:lnTo>
                      <a:lnTo>
                        <a:pt x="209" y="19"/>
                      </a:lnTo>
                      <a:lnTo>
                        <a:pt x="214" y="22"/>
                      </a:lnTo>
                      <a:lnTo>
                        <a:pt x="223" y="26"/>
                      </a:lnTo>
                      <a:lnTo>
                        <a:pt x="226" y="29"/>
                      </a:lnTo>
                      <a:lnTo>
                        <a:pt x="223" y="29"/>
                      </a:lnTo>
                      <a:lnTo>
                        <a:pt x="223" y="26"/>
                      </a:lnTo>
                      <a:lnTo>
                        <a:pt x="214" y="24"/>
                      </a:lnTo>
                      <a:lnTo>
                        <a:pt x="207" y="24"/>
                      </a:lnTo>
                      <a:lnTo>
                        <a:pt x="202" y="22"/>
                      </a:lnTo>
                      <a:lnTo>
                        <a:pt x="197" y="22"/>
                      </a:lnTo>
                      <a:lnTo>
                        <a:pt x="192" y="19"/>
                      </a:lnTo>
                      <a:lnTo>
                        <a:pt x="190" y="19"/>
                      </a:lnTo>
                      <a:lnTo>
                        <a:pt x="188" y="22"/>
                      </a:lnTo>
                      <a:lnTo>
                        <a:pt x="185" y="24"/>
                      </a:lnTo>
                      <a:lnTo>
                        <a:pt x="183" y="26"/>
                      </a:lnTo>
                      <a:lnTo>
                        <a:pt x="178" y="29"/>
                      </a:lnTo>
                      <a:lnTo>
                        <a:pt x="176" y="29"/>
                      </a:lnTo>
                      <a:lnTo>
                        <a:pt x="171" y="31"/>
                      </a:lnTo>
                      <a:lnTo>
                        <a:pt x="150" y="31"/>
                      </a:lnTo>
                      <a:lnTo>
                        <a:pt x="143" y="34"/>
                      </a:lnTo>
                      <a:lnTo>
                        <a:pt x="133" y="36"/>
                      </a:lnTo>
                      <a:lnTo>
                        <a:pt x="124" y="38"/>
                      </a:lnTo>
                      <a:lnTo>
                        <a:pt x="119" y="38"/>
                      </a:lnTo>
                      <a:lnTo>
                        <a:pt x="102" y="41"/>
                      </a:lnTo>
                      <a:lnTo>
                        <a:pt x="97" y="43"/>
                      </a:lnTo>
                      <a:lnTo>
                        <a:pt x="100" y="46"/>
                      </a:lnTo>
                      <a:lnTo>
                        <a:pt x="105" y="48"/>
                      </a:lnTo>
                      <a:lnTo>
                        <a:pt x="126" y="48"/>
                      </a:lnTo>
                      <a:lnTo>
                        <a:pt x="116" y="50"/>
                      </a:lnTo>
                      <a:lnTo>
                        <a:pt x="112" y="55"/>
                      </a:lnTo>
                      <a:lnTo>
                        <a:pt x="109" y="55"/>
                      </a:lnTo>
                      <a:lnTo>
                        <a:pt x="93" y="60"/>
                      </a:lnTo>
                      <a:lnTo>
                        <a:pt x="88" y="60"/>
                      </a:lnTo>
                      <a:lnTo>
                        <a:pt x="66" y="60"/>
                      </a:lnTo>
                      <a:lnTo>
                        <a:pt x="57" y="62"/>
                      </a:lnTo>
                      <a:lnTo>
                        <a:pt x="47" y="65"/>
                      </a:lnTo>
                      <a:lnTo>
                        <a:pt x="45" y="67"/>
                      </a:lnTo>
                      <a:lnTo>
                        <a:pt x="40" y="67"/>
                      </a:lnTo>
                      <a:lnTo>
                        <a:pt x="38" y="65"/>
                      </a:lnTo>
                      <a:lnTo>
                        <a:pt x="31" y="70"/>
                      </a:lnTo>
                      <a:lnTo>
                        <a:pt x="9" y="70"/>
                      </a:lnTo>
                      <a:lnTo>
                        <a:pt x="7" y="70"/>
                      </a:lnTo>
                      <a:lnTo>
                        <a:pt x="2" y="70"/>
                      </a:lnTo>
                      <a:lnTo>
                        <a:pt x="0" y="74"/>
                      </a:lnTo>
                      <a:lnTo>
                        <a:pt x="2" y="74"/>
                      </a:lnTo>
                      <a:lnTo>
                        <a:pt x="9" y="79"/>
                      </a:lnTo>
                      <a:lnTo>
                        <a:pt x="12" y="82"/>
                      </a:lnTo>
                      <a:lnTo>
                        <a:pt x="14" y="84"/>
                      </a:lnTo>
                      <a:lnTo>
                        <a:pt x="24" y="79"/>
                      </a:lnTo>
                      <a:lnTo>
                        <a:pt x="24" y="84"/>
                      </a:lnTo>
                      <a:lnTo>
                        <a:pt x="28" y="86"/>
                      </a:lnTo>
                      <a:lnTo>
                        <a:pt x="33" y="86"/>
                      </a:lnTo>
                      <a:lnTo>
                        <a:pt x="36" y="84"/>
                      </a:lnTo>
                      <a:lnTo>
                        <a:pt x="38" y="84"/>
                      </a:lnTo>
                      <a:lnTo>
                        <a:pt x="40" y="82"/>
                      </a:lnTo>
                      <a:lnTo>
                        <a:pt x="40" y="84"/>
                      </a:lnTo>
                      <a:lnTo>
                        <a:pt x="43" y="86"/>
                      </a:lnTo>
                      <a:lnTo>
                        <a:pt x="45" y="86"/>
                      </a:lnTo>
                      <a:lnTo>
                        <a:pt x="47" y="84"/>
                      </a:lnTo>
                      <a:lnTo>
                        <a:pt x="52" y="84"/>
                      </a:lnTo>
                      <a:lnTo>
                        <a:pt x="57" y="84"/>
                      </a:lnTo>
                      <a:lnTo>
                        <a:pt x="59" y="82"/>
                      </a:lnTo>
                      <a:lnTo>
                        <a:pt x="64" y="82"/>
                      </a:lnTo>
                      <a:lnTo>
                        <a:pt x="64" y="84"/>
                      </a:lnTo>
                      <a:lnTo>
                        <a:pt x="64" y="86"/>
                      </a:lnTo>
                      <a:lnTo>
                        <a:pt x="62" y="86"/>
                      </a:lnTo>
                      <a:lnTo>
                        <a:pt x="57" y="91"/>
                      </a:lnTo>
                      <a:lnTo>
                        <a:pt x="55" y="91"/>
                      </a:lnTo>
                      <a:lnTo>
                        <a:pt x="52" y="89"/>
                      </a:lnTo>
                      <a:lnTo>
                        <a:pt x="40" y="89"/>
                      </a:lnTo>
                      <a:lnTo>
                        <a:pt x="36" y="91"/>
                      </a:lnTo>
                      <a:lnTo>
                        <a:pt x="33" y="91"/>
                      </a:lnTo>
                      <a:lnTo>
                        <a:pt x="21" y="89"/>
                      </a:lnTo>
                      <a:lnTo>
                        <a:pt x="19" y="89"/>
                      </a:lnTo>
                      <a:lnTo>
                        <a:pt x="14" y="86"/>
                      </a:lnTo>
                      <a:lnTo>
                        <a:pt x="7" y="86"/>
                      </a:lnTo>
                      <a:lnTo>
                        <a:pt x="2" y="89"/>
                      </a:lnTo>
                      <a:lnTo>
                        <a:pt x="2" y="93"/>
                      </a:lnTo>
                      <a:lnTo>
                        <a:pt x="2" y="96"/>
                      </a:lnTo>
                      <a:lnTo>
                        <a:pt x="7" y="98"/>
                      </a:lnTo>
                      <a:lnTo>
                        <a:pt x="19" y="98"/>
                      </a:lnTo>
                      <a:lnTo>
                        <a:pt x="17" y="101"/>
                      </a:lnTo>
                      <a:lnTo>
                        <a:pt x="14" y="101"/>
                      </a:lnTo>
                      <a:lnTo>
                        <a:pt x="9" y="101"/>
                      </a:lnTo>
                      <a:lnTo>
                        <a:pt x="12" y="103"/>
                      </a:lnTo>
                      <a:lnTo>
                        <a:pt x="19" y="105"/>
                      </a:lnTo>
                      <a:lnTo>
                        <a:pt x="21" y="105"/>
                      </a:lnTo>
                      <a:lnTo>
                        <a:pt x="24" y="108"/>
                      </a:lnTo>
                      <a:lnTo>
                        <a:pt x="33" y="108"/>
                      </a:lnTo>
                      <a:lnTo>
                        <a:pt x="33" y="105"/>
                      </a:lnTo>
                      <a:lnTo>
                        <a:pt x="36" y="105"/>
                      </a:lnTo>
                      <a:lnTo>
                        <a:pt x="38" y="105"/>
                      </a:lnTo>
                      <a:lnTo>
                        <a:pt x="43" y="108"/>
                      </a:lnTo>
                      <a:lnTo>
                        <a:pt x="52" y="105"/>
                      </a:lnTo>
                      <a:lnTo>
                        <a:pt x="52" y="108"/>
                      </a:lnTo>
                      <a:lnTo>
                        <a:pt x="57" y="108"/>
                      </a:lnTo>
                      <a:lnTo>
                        <a:pt x="62" y="105"/>
                      </a:lnTo>
                      <a:lnTo>
                        <a:pt x="64" y="105"/>
                      </a:lnTo>
                      <a:lnTo>
                        <a:pt x="69" y="103"/>
                      </a:lnTo>
                      <a:lnTo>
                        <a:pt x="76" y="105"/>
                      </a:lnTo>
                      <a:lnTo>
                        <a:pt x="81" y="105"/>
                      </a:lnTo>
                      <a:lnTo>
                        <a:pt x="83" y="105"/>
                      </a:lnTo>
                      <a:lnTo>
                        <a:pt x="85" y="103"/>
                      </a:lnTo>
                      <a:lnTo>
                        <a:pt x="88" y="103"/>
                      </a:lnTo>
                      <a:lnTo>
                        <a:pt x="93" y="105"/>
                      </a:lnTo>
                      <a:lnTo>
                        <a:pt x="97" y="105"/>
                      </a:lnTo>
                      <a:lnTo>
                        <a:pt x="112" y="105"/>
                      </a:lnTo>
                      <a:lnTo>
                        <a:pt x="121" y="110"/>
                      </a:lnTo>
                      <a:lnTo>
                        <a:pt x="124" y="110"/>
                      </a:lnTo>
                      <a:lnTo>
                        <a:pt x="128" y="115"/>
                      </a:lnTo>
                      <a:lnTo>
                        <a:pt x="135" y="115"/>
                      </a:lnTo>
                      <a:lnTo>
                        <a:pt x="133" y="117"/>
                      </a:lnTo>
                      <a:lnTo>
                        <a:pt x="133" y="120"/>
                      </a:lnTo>
                      <a:lnTo>
                        <a:pt x="133" y="125"/>
                      </a:lnTo>
                      <a:lnTo>
                        <a:pt x="138" y="125"/>
                      </a:lnTo>
                      <a:lnTo>
                        <a:pt x="140" y="125"/>
                      </a:lnTo>
                      <a:lnTo>
                        <a:pt x="145" y="127"/>
                      </a:lnTo>
                      <a:lnTo>
                        <a:pt x="147" y="129"/>
                      </a:lnTo>
                      <a:lnTo>
                        <a:pt x="143" y="134"/>
                      </a:lnTo>
                      <a:lnTo>
                        <a:pt x="145" y="141"/>
                      </a:lnTo>
                      <a:lnTo>
                        <a:pt x="152" y="144"/>
                      </a:lnTo>
                      <a:lnTo>
                        <a:pt x="145" y="149"/>
                      </a:lnTo>
                      <a:lnTo>
                        <a:pt x="150" y="151"/>
                      </a:lnTo>
                      <a:lnTo>
                        <a:pt x="147" y="151"/>
                      </a:lnTo>
                      <a:lnTo>
                        <a:pt x="145" y="153"/>
                      </a:lnTo>
                      <a:lnTo>
                        <a:pt x="145" y="156"/>
                      </a:lnTo>
                      <a:lnTo>
                        <a:pt x="150" y="161"/>
                      </a:lnTo>
                      <a:lnTo>
                        <a:pt x="152" y="161"/>
                      </a:lnTo>
                      <a:lnTo>
                        <a:pt x="152" y="163"/>
                      </a:lnTo>
                      <a:lnTo>
                        <a:pt x="147" y="165"/>
                      </a:lnTo>
                      <a:lnTo>
                        <a:pt x="145" y="168"/>
                      </a:lnTo>
                      <a:lnTo>
                        <a:pt x="143" y="168"/>
                      </a:lnTo>
                      <a:lnTo>
                        <a:pt x="147" y="170"/>
                      </a:lnTo>
                      <a:lnTo>
                        <a:pt x="143" y="170"/>
                      </a:lnTo>
                      <a:lnTo>
                        <a:pt x="140" y="170"/>
                      </a:lnTo>
                      <a:lnTo>
                        <a:pt x="138" y="170"/>
                      </a:lnTo>
                      <a:lnTo>
                        <a:pt x="133" y="173"/>
                      </a:lnTo>
                      <a:lnTo>
                        <a:pt x="131" y="173"/>
                      </a:lnTo>
                      <a:lnTo>
                        <a:pt x="131" y="175"/>
                      </a:lnTo>
                      <a:lnTo>
                        <a:pt x="143" y="175"/>
                      </a:lnTo>
                      <a:lnTo>
                        <a:pt x="138" y="180"/>
                      </a:lnTo>
                      <a:lnTo>
                        <a:pt x="126" y="180"/>
                      </a:lnTo>
                      <a:lnTo>
                        <a:pt x="124" y="180"/>
                      </a:lnTo>
                      <a:lnTo>
                        <a:pt x="124" y="182"/>
                      </a:lnTo>
                      <a:lnTo>
                        <a:pt x="133" y="189"/>
                      </a:lnTo>
                      <a:lnTo>
                        <a:pt x="138" y="189"/>
                      </a:lnTo>
                      <a:lnTo>
                        <a:pt x="145" y="184"/>
                      </a:lnTo>
                      <a:lnTo>
                        <a:pt x="147" y="184"/>
                      </a:lnTo>
                      <a:lnTo>
                        <a:pt x="152" y="184"/>
                      </a:lnTo>
                      <a:lnTo>
                        <a:pt x="154" y="182"/>
                      </a:lnTo>
                      <a:lnTo>
                        <a:pt x="157" y="182"/>
                      </a:lnTo>
                      <a:lnTo>
                        <a:pt x="157" y="180"/>
                      </a:lnTo>
                      <a:lnTo>
                        <a:pt x="157" y="175"/>
                      </a:lnTo>
                      <a:lnTo>
                        <a:pt x="159" y="173"/>
                      </a:lnTo>
                      <a:lnTo>
                        <a:pt x="159" y="180"/>
                      </a:lnTo>
                      <a:lnTo>
                        <a:pt x="166" y="175"/>
                      </a:lnTo>
                      <a:lnTo>
                        <a:pt x="164" y="177"/>
                      </a:lnTo>
                      <a:lnTo>
                        <a:pt x="164" y="180"/>
                      </a:lnTo>
                      <a:lnTo>
                        <a:pt x="166" y="180"/>
                      </a:lnTo>
                      <a:lnTo>
                        <a:pt x="169" y="182"/>
                      </a:lnTo>
                      <a:lnTo>
                        <a:pt x="176" y="182"/>
                      </a:lnTo>
                      <a:lnTo>
                        <a:pt x="171" y="187"/>
                      </a:lnTo>
                      <a:lnTo>
                        <a:pt x="171" y="189"/>
                      </a:lnTo>
                      <a:lnTo>
                        <a:pt x="173" y="192"/>
                      </a:lnTo>
                      <a:lnTo>
                        <a:pt x="176" y="194"/>
                      </a:lnTo>
                      <a:lnTo>
                        <a:pt x="178" y="196"/>
                      </a:lnTo>
                      <a:lnTo>
                        <a:pt x="181" y="199"/>
                      </a:lnTo>
                      <a:lnTo>
                        <a:pt x="178" y="201"/>
                      </a:lnTo>
                      <a:lnTo>
                        <a:pt x="173" y="201"/>
                      </a:lnTo>
                      <a:lnTo>
                        <a:pt x="173" y="204"/>
                      </a:lnTo>
                      <a:lnTo>
                        <a:pt x="166" y="204"/>
                      </a:lnTo>
                      <a:lnTo>
                        <a:pt x="164" y="201"/>
                      </a:lnTo>
                      <a:lnTo>
                        <a:pt x="162" y="201"/>
                      </a:lnTo>
                      <a:lnTo>
                        <a:pt x="159" y="201"/>
                      </a:lnTo>
                      <a:lnTo>
                        <a:pt x="157" y="199"/>
                      </a:lnTo>
                      <a:lnTo>
                        <a:pt x="143" y="199"/>
                      </a:lnTo>
                      <a:lnTo>
                        <a:pt x="140" y="196"/>
                      </a:lnTo>
                      <a:lnTo>
                        <a:pt x="138" y="194"/>
                      </a:lnTo>
                      <a:lnTo>
                        <a:pt x="131" y="194"/>
                      </a:lnTo>
                      <a:lnTo>
                        <a:pt x="128" y="199"/>
                      </a:lnTo>
                      <a:lnTo>
                        <a:pt x="128" y="201"/>
                      </a:lnTo>
                      <a:lnTo>
                        <a:pt x="133" y="201"/>
                      </a:lnTo>
                      <a:lnTo>
                        <a:pt x="133" y="204"/>
                      </a:lnTo>
                      <a:lnTo>
                        <a:pt x="140" y="204"/>
                      </a:lnTo>
                      <a:lnTo>
                        <a:pt x="143" y="206"/>
                      </a:lnTo>
                      <a:lnTo>
                        <a:pt x="145" y="206"/>
                      </a:lnTo>
                      <a:lnTo>
                        <a:pt x="147" y="206"/>
                      </a:lnTo>
                      <a:lnTo>
                        <a:pt x="152" y="211"/>
                      </a:lnTo>
                      <a:lnTo>
                        <a:pt x="162" y="211"/>
                      </a:lnTo>
                      <a:lnTo>
                        <a:pt x="164" y="211"/>
                      </a:lnTo>
                      <a:lnTo>
                        <a:pt x="166" y="211"/>
                      </a:lnTo>
                      <a:lnTo>
                        <a:pt x="173" y="213"/>
                      </a:lnTo>
                      <a:lnTo>
                        <a:pt x="178" y="208"/>
                      </a:lnTo>
                      <a:lnTo>
                        <a:pt x="178" y="216"/>
                      </a:lnTo>
                      <a:lnTo>
                        <a:pt x="176" y="213"/>
                      </a:lnTo>
                      <a:lnTo>
                        <a:pt x="173" y="213"/>
                      </a:lnTo>
                      <a:lnTo>
                        <a:pt x="171" y="213"/>
                      </a:lnTo>
                      <a:lnTo>
                        <a:pt x="171" y="216"/>
                      </a:lnTo>
                      <a:lnTo>
                        <a:pt x="173" y="220"/>
                      </a:lnTo>
                      <a:lnTo>
                        <a:pt x="169" y="220"/>
                      </a:lnTo>
                      <a:lnTo>
                        <a:pt x="166" y="220"/>
                      </a:lnTo>
                      <a:lnTo>
                        <a:pt x="164" y="220"/>
                      </a:lnTo>
                      <a:lnTo>
                        <a:pt x="164" y="223"/>
                      </a:lnTo>
                      <a:lnTo>
                        <a:pt x="164" y="225"/>
                      </a:lnTo>
                      <a:lnTo>
                        <a:pt x="173" y="225"/>
                      </a:lnTo>
                      <a:lnTo>
                        <a:pt x="171" y="225"/>
                      </a:lnTo>
                      <a:lnTo>
                        <a:pt x="171" y="228"/>
                      </a:lnTo>
                      <a:lnTo>
                        <a:pt x="169" y="230"/>
                      </a:lnTo>
                      <a:lnTo>
                        <a:pt x="162" y="225"/>
                      </a:lnTo>
                      <a:lnTo>
                        <a:pt x="159" y="225"/>
                      </a:lnTo>
                      <a:lnTo>
                        <a:pt x="159" y="228"/>
                      </a:lnTo>
                      <a:lnTo>
                        <a:pt x="159" y="230"/>
                      </a:lnTo>
                      <a:lnTo>
                        <a:pt x="162" y="232"/>
                      </a:lnTo>
                      <a:lnTo>
                        <a:pt x="157" y="232"/>
                      </a:lnTo>
                      <a:lnTo>
                        <a:pt x="157" y="237"/>
                      </a:lnTo>
                      <a:lnTo>
                        <a:pt x="154" y="237"/>
                      </a:lnTo>
                      <a:lnTo>
                        <a:pt x="152" y="240"/>
                      </a:lnTo>
                      <a:lnTo>
                        <a:pt x="152" y="242"/>
                      </a:lnTo>
                      <a:lnTo>
                        <a:pt x="157" y="247"/>
                      </a:lnTo>
                      <a:lnTo>
                        <a:pt x="159" y="247"/>
                      </a:lnTo>
                      <a:lnTo>
                        <a:pt x="159" y="252"/>
                      </a:lnTo>
                      <a:lnTo>
                        <a:pt x="157" y="252"/>
                      </a:lnTo>
                      <a:lnTo>
                        <a:pt x="154" y="252"/>
                      </a:lnTo>
                      <a:lnTo>
                        <a:pt x="152" y="249"/>
                      </a:lnTo>
                      <a:lnTo>
                        <a:pt x="150" y="244"/>
                      </a:lnTo>
                      <a:lnTo>
                        <a:pt x="147" y="242"/>
                      </a:lnTo>
                      <a:lnTo>
                        <a:pt x="147" y="240"/>
                      </a:lnTo>
                      <a:lnTo>
                        <a:pt x="145" y="237"/>
                      </a:lnTo>
                      <a:lnTo>
                        <a:pt x="143" y="235"/>
                      </a:lnTo>
                      <a:lnTo>
                        <a:pt x="140" y="235"/>
                      </a:lnTo>
                      <a:lnTo>
                        <a:pt x="135" y="235"/>
                      </a:lnTo>
                      <a:lnTo>
                        <a:pt x="133" y="235"/>
                      </a:lnTo>
                      <a:lnTo>
                        <a:pt x="128" y="240"/>
                      </a:lnTo>
                      <a:lnTo>
                        <a:pt x="128" y="242"/>
                      </a:lnTo>
                      <a:lnTo>
                        <a:pt x="133" y="244"/>
                      </a:lnTo>
                      <a:lnTo>
                        <a:pt x="138" y="244"/>
                      </a:lnTo>
                      <a:lnTo>
                        <a:pt x="140" y="247"/>
                      </a:lnTo>
                      <a:lnTo>
                        <a:pt x="135" y="249"/>
                      </a:lnTo>
                      <a:lnTo>
                        <a:pt x="131" y="249"/>
                      </a:lnTo>
                      <a:lnTo>
                        <a:pt x="128" y="247"/>
                      </a:lnTo>
                      <a:lnTo>
                        <a:pt x="121" y="247"/>
                      </a:lnTo>
                      <a:lnTo>
                        <a:pt x="119" y="249"/>
                      </a:lnTo>
                      <a:lnTo>
                        <a:pt x="116" y="249"/>
                      </a:lnTo>
                      <a:lnTo>
                        <a:pt x="114" y="249"/>
                      </a:lnTo>
                      <a:lnTo>
                        <a:pt x="112" y="252"/>
                      </a:lnTo>
                      <a:lnTo>
                        <a:pt x="109" y="252"/>
                      </a:lnTo>
                      <a:lnTo>
                        <a:pt x="121" y="252"/>
                      </a:lnTo>
                      <a:lnTo>
                        <a:pt x="126" y="252"/>
                      </a:lnTo>
                      <a:lnTo>
                        <a:pt x="140" y="252"/>
                      </a:lnTo>
                      <a:lnTo>
                        <a:pt x="143" y="252"/>
                      </a:lnTo>
                      <a:lnTo>
                        <a:pt x="131" y="252"/>
                      </a:lnTo>
                      <a:lnTo>
                        <a:pt x="112" y="256"/>
                      </a:lnTo>
                      <a:lnTo>
                        <a:pt x="107" y="256"/>
                      </a:lnTo>
                      <a:lnTo>
                        <a:pt x="105" y="259"/>
                      </a:lnTo>
                      <a:lnTo>
                        <a:pt x="107" y="259"/>
                      </a:lnTo>
                      <a:lnTo>
                        <a:pt x="107" y="261"/>
                      </a:lnTo>
                      <a:lnTo>
                        <a:pt x="114" y="261"/>
                      </a:lnTo>
                      <a:lnTo>
                        <a:pt x="119" y="259"/>
                      </a:lnTo>
                      <a:lnTo>
                        <a:pt x="124" y="259"/>
                      </a:lnTo>
                      <a:lnTo>
                        <a:pt x="128" y="256"/>
                      </a:lnTo>
                      <a:lnTo>
                        <a:pt x="138" y="256"/>
                      </a:lnTo>
                      <a:lnTo>
                        <a:pt x="140" y="259"/>
                      </a:lnTo>
                      <a:lnTo>
                        <a:pt x="138" y="261"/>
                      </a:lnTo>
                      <a:lnTo>
                        <a:pt x="114" y="261"/>
                      </a:lnTo>
                      <a:lnTo>
                        <a:pt x="112" y="261"/>
                      </a:lnTo>
                      <a:lnTo>
                        <a:pt x="102" y="261"/>
                      </a:lnTo>
                      <a:lnTo>
                        <a:pt x="102" y="264"/>
                      </a:lnTo>
                      <a:lnTo>
                        <a:pt x="107" y="264"/>
                      </a:lnTo>
                      <a:lnTo>
                        <a:pt x="107" y="266"/>
                      </a:lnTo>
                      <a:lnTo>
                        <a:pt x="112" y="266"/>
                      </a:lnTo>
                      <a:lnTo>
                        <a:pt x="114" y="266"/>
                      </a:lnTo>
                      <a:lnTo>
                        <a:pt x="109" y="266"/>
                      </a:lnTo>
                      <a:lnTo>
                        <a:pt x="107" y="268"/>
                      </a:lnTo>
                      <a:lnTo>
                        <a:pt x="107" y="271"/>
                      </a:lnTo>
                      <a:lnTo>
                        <a:pt x="105" y="273"/>
                      </a:lnTo>
                      <a:lnTo>
                        <a:pt x="102" y="273"/>
                      </a:lnTo>
                      <a:lnTo>
                        <a:pt x="100" y="275"/>
                      </a:lnTo>
                      <a:lnTo>
                        <a:pt x="97" y="275"/>
                      </a:lnTo>
                      <a:lnTo>
                        <a:pt x="107" y="278"/>
                      </a:lnTo>
                      <a:lnTo>
                        <a:pt x="97" y="280"/>
                      </a:lnTo>
                      <a:lnTo>
                        <a:pt x="97" y="283"/>
                      </a:lnTo>
                      <a:lnTo>
                        <a:pt x="100" y="285"/>
                      </a:lnTo>
                      <a:lnTo>
                        <a:pt x="105" y="285"/>
                      </a:lnTo>
                      <a:lnTo>
                        <a:pt x="107" y="285"/>
                      </a:lnTo>
                      <a:lnTo>
                        <a:pt x="114" y="285"/>
                      </a:lnTo>
                      <a:lnTo>
                        <a:pt x="112" y="285"/>
                      </a:lnTo>
                      <a:lnTo>
                        <a:pt x="109" y="285"/>
                      </a:lnTo>
                      <a:lnTo>
                        <a:pt x="107" y="287"/>
                      </a:lnTo>
                      <a:lnTo>
                        <a:pt x="102" y="290"/>
                      </a:lnTo>
                      <a:lnTo>
                        <a:pt x="102" y="292"/>
                      </a:lnTo>
                      <a:lnTo>
                        <a:pt x="105" y="295"/>
                      </a:lnTo>
                      <a:lnTo>
                        <a:pt x="107" y="295"/>
                      </a:lnTo>
                      <a:lnTo>
                        <a:pt x="109" y="292"/>
                      </a:lnTo>
                      <a:lnTo>
                        <a:pt x="114" y="290"/>
                      </a:lnTo>
                      <a:lnTo>
                        <a:pt x="112" y="295"/>
                      </a:lnTo>
                      <a:lnTo>
                        <a:pt x="109" y="295"/>
                      </a:lnTo>
                      <a:lnTo>
                        <a:pt x="107" y="299"/>
                      </a:lnTo>
                      <a:lnTo>
                        <a:pt x="107" y="304"/>
                      </a:lnTo>
                      <a:lnTo>
                        <a:pt x="109" y="304"/>
                      </a:lnTo>
                      <a:lnTo>
                        <a:pt x="109" y="302"/>
                      </a:lnTo>
                      <a:lnTo>
                        <a:pt x="114" y="302"/>
                      </a:lnTo>
                      <a:lnTo>
                        <a:pt x="109" y="307"/>
                      </a:lnTo>
                      <a:lnTo>
                        <a:pt x="107" y="307"/>
                      </a:lnTo>
                      <a:lnTo>
                        <a:pt x="105" y="309"/>
                      </a:lnTo>
                      <a:lnTo>
                        <a:pt x="102" y="311"/>
                      </a:lnTo>
                      <a:lnTo>
                        <a:pt x="102" y="316"/>
                      </a:lnTo>
                      <a:lnTo>
                        <a:pt x="105" y="316"/>
                      </a:lnTo>
                      <a:lnTo>
                        <a:pt x="107" y="314"/>
                      </a:lnTo>
                      <a:lnTo>
                        <a:pt x="114" y="307"/>
                      </a:lnTo>
                      <a:lnTo>
                        <a:pt x="124" y="307"/>
                      </a:lnTo>
                      <a:lnTo>
                        <a:pt x="126" y="304"/>
                      </a:lnTo>
                      <a:lnTo>
                        <a:pt x="128" y="304"/>
                      </a:lnTo>
                      <a:lnTo>
                        <a:pt x="128" y="307"/>
                      </a:lnTo>
                      <a:lnTo>
                        <a:pt x="133" y="304"/>
                      </a:lnTo>
                      <a:lnTo>
                        <a:pt x="128" y="311"/>
                      </a:lnTo>
                      <a:lnTo>
                        <a:pt x="135" y="311"/>
                      </a:lnTo>
                      <a:lnTo>
                        <a:pt x="128" y="311"/>
                      </a:lnTo>
                      <a:lnTo>
                        <a:pt x="124" y="314"/>
                      </a:lnTo>
                      <a:lnTo>
                        <a:pt x="124" y="316"/>
                      </a:lnTo>
                      <a:lnTo>
                        <a:pt x="119" y="316"/>
                      </a:lnTo>
                      <a:lnTo>
                        <a:pt x="116" y="316"/>
                      </a:lnTo>
                      <a:lnTo>
                        <a:pt x="114" y="319"/>
                      </a:lnTo>
                      <a:lnTo>
                        <a:pt x="114" y="321"/>
                      </a:lnTo>
                      <a:lnTo>
                        <a:pt x="112" y="321"/>
                      </a:lnTo>
                      <a:lnTo>
                        <a:pt x="107" y="323"/>
                      </a:lnTo>
                      <a:lnTo>
                        <a:pt x="105" y="326"/>
                      </a:lnTo>
                      <a:lnTo>
                        <a:pt x="109" y="326"/>
                      </a:lnTo>
                      <a:lnTo>
                        <a:pt x="107" y="326"/>
                      </a:lnTo>
                      <a:lnTo>
                        <a:pt x="107" y="328"/>
                      </a:lnTo>
                      <a:lnTo>
                        <a:pt x="107" y="331"/>
                      </a:lnTo>
                      <a:lnTo>
                        <a:pt x="109" y="331"/>
                      </a:lnTo>
                      <a:lnTo>
                        <a:pt x="107" y="333"/>
                      </a:lnTo>
                      <a:lnTo>
                        <a:pt x="107" y="335"/>
                      </a:lnTo>
                      <a:lnTo>
                        <a:pt x="116" y="335"/>
                      </a:lnTo>
                      <a:lnTo>
                        <a:pt x="112" y="343"/>
                      </a:lnTo>
                      <a:lnTo>
                        <a:pt x="116" y="340"/>
                      </a:lnTo>
                      <a:lnTo>
                        <a:pt x="119" y="340"/>
                      </a:lnTo>
                      <a:lnTo>
                        <a:pt x="116" y="340"/>
                      </a:lnTo>
                      <a:lnTo>
                        <a:pt x="114" y="343"/>
                      </a:lnTo>
                      <a:lnTo>
                        <a:pt x="114" y="345"/>
                      </a:lnTo>
                      <a:lnTo>
                        <a:pt x="112" y="347"/>
                      </a:lnTo>
                      <a:lnTo>
                        <a:pt x="112" y="352"/>
                      </a:lnTo>
                      <a:lnTo>
                        <a:pt x="114" y="352"/>
                      </a:lnTo>
                      <a:lnTo>
                        <a:pt x="121" y="352"/>
                      </a:lnTo>
                      <a:lnTo>
                        <a:pt x="116" y="359"/>
                      </a:lnTo>
                      <a:lnTo>
                        <a:pt x="126" y="357"/>
                      </a:lnTo>
                      <a:lnTo>
                        <a:pt x="121" y="362"/>
                      </a:lnTo>
                      <a:lnTo>
                        <a:pt x="124" y="366"/>
                      </a:lnTo>
                      <a:lnTo>
                        <a:pt x="128" y="366"/>
                      </a:lnTo>
                      <a:lnTo>
                        <a:pt x="126" y="366"/>
                      </a:lnTo>
                      <a:lnTo>
                        <a:pt x="126" y="369"/>
                      </a:lnTo>
                      <a:lnTo>
                        <a:pt x="128" y="371"/>
                      </a:lnTo>
                      <a:lnTo>
                        <a:pt x="133" y="371"/>
                      </a:lnTo>
                      <a:lnTo>
                        <a:pt x="128" y="376"/>
                      </a:lnTo>
                      <a:lnTo>
                        <a:pt x="135" y="376"/>
                      </a:lnTo>
                      <a:lnTo>
                        <a:pt x="133" y="381"/>
                      </a:lnTo>
                      <a:lnTo>
                        <a:pt x="145" y="378"/>
                      </a:lnTo>
                      <a:lnTo>
                        <a:pt x="147" y="381"/>
                      </a:lnTo>
                      <a:lnTo>
                        <a:pt x="150" y="381"/>
                      </a:lnTo>
                      <a:lnTo>
                        <a:pt x="152" y="378"/>
                      </a:lnTo>
                      <a:lnTo>
                        <a:pt x="162" y="374"/>
                      </a:lnTo>
                      <a:lnTo>
                        <a:pt x="164" y="371"/>
                      </a:lnTo>
                      <a:lnTo>
                        <a:pt x="164" y="374"/>
                      </a:lnTo>
                      <a:lnTo>
                        <a:pt x="162" y="376"/>
                      </a:lnTo>
                      <a:lnTo>
                        <a:pt x="169" y="378"/>
                      </a:lnTo>
                      <a:lnTo>
                        <a:pt x="171" y="376"/>
                      </a:lnTo>
                      <a:lnTo>
                        <a:pt x="173" y="376"/>
                      </a:lnTo>
                      <a:lnTo>
                        <a:pt x="169" y="378"/>
                      </a:lnTo>
                      <a:lnTo>
                        <a:pt x="164" y="381"/>
                      </a:lnTo>
                      <a:lnTo>
                        <a:pt x="162" y="383"/>
                      </a:lnTo>
                      <a:lnTo>
                        <a:pt x="162" y="386"/>
                      </a:lnTo>
                      <a:lnTo>
                        <a:pt x="169" y="386"/>
                      </a:lnTo>
                      <a:lnTo>
                        <a:pt x="173" y="386"/>
                      </a:lnTo>
                      <a:lnTo>
                        <a:pt x="176" y="386"/>
                      </a:lnTo>
                      <a:lnTo>
                        <a:pt x="173" y="386"/>
                      </a:lnTo>
                      <a:lnTo>
                        <a:pt x="171" y="388"/>
                      </a:lnTo>
                      <a:lnTo>
                        <a:pt x="169" y="390"/>
                      </a:lnTo>
                      <a:lnTo>
                        <a:pt x="169" y="393"/>
                      </a:lnTo>
                      <a:lnTo>
                        <a:pt x="169" y="395"/>
                      </a:lnTo>
                      <a:lnTo>
                        <a:pt x="176" y="395"/>
                      </a:lnTo>
                      <a:lnTo>
                        <a:pt x="178" y="393"/>
                      </a:lnTo>
                      <a:lnTo>
                        <a:pt x="178" y="395"/>
                      </a:lnTo>
                      <a:lnTo>
                        <a:pt x="183" y="398"/>
                      </a:lnTo>
                      <a:lnTo>
                        <a:pt x="188" y="398"/>
                      </a:lnTo>
                      <a:lnTo>
                        <a:pt x="192" y="395"/>
                      </a:lnTo>
                      <a:lnTo>
                        <a:pt x="195" y="393"/>
                      </a:lnTo>
                      <a:lnTo>
                        <a:pt x="192" y="390"/>
                      </a:lnTo>
                      <a:lnTo>
                        <a:pt x="192" y="388"/>
                      </a:lnTo>
                      <a:lnTo>
                        <a:pt x="197" y="388"/>
                      </a:lnTo>
                      <a:lnTo>
                        <a:pt x="200" y="386"/>
                      </a:lnTo>
                      <a:lnTo>
                        <a:pt x="200" y="378"/>
                      </a:lnTo>
                      <a:lnTo>
                        <a:pt x="202" y="381"/>
                      </a:lnTo>
                      <a:lnTo>
                        <a:pt x="207" y="381"/>
                      </a:lnTo>
                      <a:lnTo>
                        <a:pt x="207" y="376"/>
                      </a:lnTo>
                      <a:lnTo>
                        <a:pt x="207" y="374"/>
                      </a:lnTo>
                      <a:lnTo>
                        <a:pt x="207" y="371"/>
                      </a:lnTo>
                      <a:lnTo>
                        <a:pt x="207" y="374"/>
                      </a:lnTo>
                      <a:lnTo>
                        <a:pt x="209" y="376"/>
                      </a:lnTo>
                      <a:lnTo>
                        <a:pt x="212" y="376"/>
                      </a:lnTo>
                      <a:lnTo>
                        <a:pt x="214" y="374"/>
                      </a:lnTo>
                      <a:lnTo>
                        <a:pt x="214" y="371"/>
                      </a:lnTo>
                      <a:lnTo>
                        <a:pt x="209" y="366"/>
                      </a:lnTo>
                      <a:lnTo>
                        <a:pt x="216" y="366"/>
                      </a:lnTo>
                      <a:lnTo>
                        <a:pt x="216" y="364"/>
                      </a:lnTo>
                      <a:lnTo>
                        <a:pt x="214" y="362"/>
                      </a:lnTo>
                      <a:lnTo>
                        <a:pt x="223" y="362"/>
                      </a:lnTo>
                      <a:lnTo>
                        <a:pt x="219" y="357"/>
                      </a:lnTo>
                      <a:lnTo>
                        <a:pt x="223" y="355"/>
                      </a:lnTo>
                      <a:lnTo>
                        <a:pt x="219" y="352"/>
                      </a:lnTo>
                      <a:lnTo>
                        <a:pt x="216" y="350"/>
                      </a:lnTo>
                      <a:lnTo>
                        <a:pt x="219" y="350"/>
                      </a:lnTo>
                      <a:lnTo>
                        <a:pt x="221" y="350"/>
                      </a:lnTo>
                      <a:lnTo>
                        <a:pt x="216" y="343"/>
                      </a:lnTo>
                      <a:lnTo>
                        <a:pt x="221" y="347"/>
                      </a:lnTo>
                      <a:lnTo>
                        <a:pt x="223" y="347"/>
                      </a:lnTo>
                      <a:lnTo>
                        <a:pt x="228" y="343"/>
                      </a:lnTo>
                      <a:lnTo>
                        <a:pt x="235" y="343"/>
                      </a:lnTo>
                      <a:lnTo>
                        <a:pt x="235" y="340"/>
                      </a:lnTo>
                      <a:lnTo>
                        <a:pt x="233" y="338"/>
                      </a:lnTo>
                      <a:lnTo>
                        <a:pt x="238" y="338"/>
                      </a:lnTo>
                      <a:lnTo>
                        <a:pt x="242" y="331"/>
                      </a:lnTo>
                      <a:lnTo>
                        <a:pt x="245" y="331"/>
                      </a:lnTo>
                      <a:lnTo>
                        <a:pt x="252" y="331"/>
                      </a:lnTo>
                      <a:lnTo>
                        <a:pt x="252" y="326"/>
                      </a:lnTo>
                      <a:lnTo>
                        <a:pt x="257" y="331"/>
                      </a:lnTo>
                      <a:lnTo>
                        <a:pt x="259" y="326"/>
                      </a:lnTo>
                      <a:lnTo>
                        <a:pt x="259" y="319"/>
                      </a:lnTo>
                      <a:lnTo>
                        <a:pt x="252" y="316"/>
                      </a:lnTo>
                      <a:lnTo>
                        <a:pt x="257" y="316"/>
                      </a:lnTo>
                      <a:lnTo>
                        <a:pt x="264" y="311"/>
                      </a:lnTo>
                      <a:lnTo>
                        <a:pt x="266" y="307"/>
                      </a:lnTo>
                      <a:lnTo>
                        <a:pt x="259" y="304"/>
                      </a:lnTo>
                      <a:lnTo>
                        <a:pt x="264" y="299"/>
                      </a:lnTo>
                      <a:lnTo>
                        <a:pt x="278" y="299"/>
                      </a:lnTo>
                      <a:lnTo>
                        <a:pt x="280" y="297"/>
                      </a:lnTo>
                      <a:lnTo>
                        <a:pt x="280" y="292"/>
                      </a:lnTo>
                      <a:lnTo>
                        <a:pt x="288" y="290"/>
                      </a:lnTo>
                      <a:lnTo>
                        <a:pt x="292" y="290"/>
                      </a:lnTo>
                      <a:lnTo>
                        <a:pt x="295" y="292"/>
                      </a:lnTo>
                      <a:lnTo>
                        <a:pt x="302" y="292"/>
                      </a:lnTo>
                      <a:lnTo>
                        <a:pt x="311" y="283"/>
                      </a:lnTo>
                      <a:lnTo>
                        <a:pt x="311" y="280"/>
                      </a:lnTo>
                      <a:lnTo>
                        <a:pt x="314" y="280"/>
                      </a:lnTo>
                      <a:lnTo>
                        <a:pt x="316" y="278"/>
                      </a:lnTo>
                      <a:lnTo>
                        <a:pt x="319" y="278"/>
                      </a:lnTo>
                      <a:lnTo>
                        <a:pt x="319" y="280"/>
                      </a:lnTo>
                      <a:lnTo>
                        <a:pt x="316" y="283"/>
                      </a:lnTo>
                      <a:lnTo>
                        <a:pt x="314" y="285"/>
                      </a:lnTo>
                      <a:lnTo>
                        <a:pt x="311" y="290"/>
                      </a:lnTo>
                      <a:lnTo>
                        <a:pt x="319" y="290"/>
                      </a:lnTo>
                      <a:lnTo>
                        <a:pt x="319" y="285"/>
                      </a:lnTo>
                      <a:lnTo>
                        <a:pt x="323" y="285"/>
                      </a:lnTo>
                      <a:lnTo>
                        <a:pt x="326" y="283"/>
                      </a:lnTo>
                      <a:lnTo>
                        <a:pt x="328" y="283"/>
                      </a:lnTo>
                      <a:lnTo>
                        <a:pt x="328" y="285"/>
                      </a:lnTo>
                      <a:lnTo>
                        <a:pt x="333" y="285"/>
                      </a:lnTo>
                      <a:lnTo>
                        <a:pt x="335" y="285"/>
                      </a:lnTo>
                      <a:lnTo>
                        <a:pt x="342" y="283"/>
                      </a:lnTo>
                      <a:lnTo>
                        <a:pt x="347" y="278"/>
                      </a:lnTo>
                      <a:lnTo>
                        <a:pt x="349" y="275"/>
                      </a:lnTo>
                      <a:lnTo>
                        <a:pt x="359" y="275"/>
                      </a:lnTo>
                      <a:lnTo>
                        <a:pt x="366" y="275"/>
                      </a:lnTo>
                      <a:lnTo>
                        <a:pt x="371" y="271"/>
                      </a:lnTo>
                      <a:lnTo>
                        <a:pt x="373" y="268"/>
                      </a:lnTo>
                      <a:lnTo>
                        <a:pt x="376" y="266"/>
                      </a:lnTo>
                      <a:lnTo>
                        <a:pt x="383" y="259"/>
                      </a:lnTo>
                      <a:lnTo>
                        <a:pt x="385" y="256"/>
                      </a:lnTo>
                      <a:lnTo>
                        <a:pt x="390" y="254"/>
                      </a:lnTo>
                      <a:lnTo>
                        <a:pt x="399" y="252"/>
                      </a:lnTo>
                      <a:lnTo>
                        <a:pt x="402" y="252"/>
                      </a:lnTo>
                      <a:lnTo>
                        <a:pt x="404" y="249"/>
                      </a:lnTo>
                      <a:lnTo>
                        <a:pt x="407" y="249"/>
                      </a:lnTo>
                      <a:lnTo>
                        <a:pt x="407" y="247"/>
                      </a:lnTo>
                      <a:lnTo>
                        <a:pt x="407" y="244"/>
                      </a:lnTo>
                      <a:lnTo>
                        <a:pt x="407" y="240"/>
                      </a:lnTo>
                      <a:lnTo>
                        <a:pt x="407" y="235"/>
                      </a:lnTo>
                      <a:lnTo>
                        <a:pt x="414" y="242"/>
                      </a:lnTo>
                      <a:lnTo>
                        <a:pt x="416" y="244"/>
                      </a:lnTo>
                      <a:lnTo>
                        <a:pt x="418" y="244"/>
                      </a:lnTo>
                      <a:lnTo>
                        <a:pt x="437" y="244"/>
                      </a:lnTo>
                      <a:lnTo>
                        <a:pt x="447" y="242"/>
                      </a:lnTo>
                      <a:lnTo>
                        <a:pt x="454" y="240"/>
                      </a:lnTo>
                      <a:lnTo>
                        <a:pt x="459" y="240"/>
                      </a:lnTo>
                      <a:lnTo>
                        <a:pt x="468" y="237"/>
                      </a:lnTo>
                      <a:lnTo>
                        <a:pt x="480" y="235"/>
                      </a:lnTo>
                      <a:lnTo>
                        <a:pt x="487" y="235"/>
                      </a:lnTo>
                      <a:lnTo>
                        <a:pt x="492" y="230"/>
                      </a:lnTo>
                      <a:lnTo>
                        <a:pt x="499" y="230"/>
                      </a:lnTo>
                      <a:lnTo>
                        <a:pt x="502" y="228"/>
                      </a:lnTo>
                      <a:lnTo>
                        <a:pt x="509" y="228"/>
                      </a:lnTo>
                      <a:lnTo>
                        <a:pt x="516" y="220"/>
                      </a:lnTo>
                      <a:lnTo>
                        <a:pt x="518" y="220"/>
                      </a:lnTo>
                      <a:lnTo>
                        <a:pt x="518" y="218"/>
                      </a:lnTo>
                      <a:lnTo>
                        <a:pt x="523" y="218"/>
                      </a:lnTo>
                      <a:lnTo>
                        <a:pt x="525" y="216"/>
                      </a:lnTo>
                      <a:lnTo>
                        <a:pt x="528" y="216"/>
                      </a:lnTo>
                      <a:lnTo>
                        <a:pt x="542" y="213"/>
                      </a:lnTo>
                      <a:lnTo>
                        <a:pt x="552" y="211"/>
                      </a:lnTo>
                      <a:lnTo>
                        <a:pt x="552" y="206"/>
                      </a:lnTo>
                      <a:lnTo>
                        <a:pt x="549" y="206"/>
                      </a:lnTo>
                      <a:lnTo>
                        <a:pt x="547" y="208"/>
                      </a:lnTo>
                      <a:lnTo>
                        <a:pt x="537" y="208"/>
                      </a:lnTo>
                      <a:lnTo>
                        <a:pt x="530" y="206"/>
                      </a:lnTo>
                      <a:lnTo>
                        <a:pt x="525" y="206"/>
                      </a:lnTo>
                      <a:lnTo>
                        <a:pt x="521" y="204"/>
                      </a:lnTo>
                      <a:lnTo>
                        <a:pt x="509" y="204"/>
                      </a:lnTo>
                      <a:lnTo>
                        <a:pt x="499" y="206"/>
                      </a:lnTo>
                      <a:lnTo>
                        <a:pt x="490" y="206"/>
                      </a:lnTo>
                      <a:lnTo>
                        <a:pt x="487" y="211"/>
                      </a:lnTo>
                      <a:lnTo>
                        <a:pt x="471" y="211"/>
                      </a:lnTo>
                      <a:lnTo>
                        <a:pt x="485" y="206"/>
                      </a:lnTo>
                      <a:lnTo>
                        <a:pt x="494" y="204"/>
                      </a:lnTo>
                      <a:lnTo>
                        <a:pt x="499" y="204"/>
                      </a:lnTo>
                      <a:lnTo>
                        <a:pt x="502" y="201"/>
                      </a:lnTo>
                      <a:lnTo>
                        <a:pt x="506" y="201"/>
                      </a:lnTo>
                      <a:lnTo>
                        <a:pt x="511" y="199"/>
                      </a:lnTo>
                      <a:lnTo>
                        <a:pt x="514" y="199"/>
                      </a:lnTo>
                      <a:lnTo>
                        <a:pt x="516" y="199"/>
                      </a:lnTo>
                      <a:lnTo>
                        <a:pt x="514" y="196"/>
                      </a:lnTo>
                      <a:lnTo>
                        <a:pt x="509" y="194"/>
                      </a:lnTo>
                      <a:lnTo>
                        <a:pt x="506" y="194"/>
                      </a:lnTo>
                      <a:lnTo>
                        <a:pt x="504" y="194"/>
                      </a:lnTo>
                      <a:lnTo>
                        <a:pt x="497" y="196"/>
                      </a:lnTo>
                      <a:lnTo>
                        <a:pt x="483" y="201"/>
                      </a:lnTo>
                      <a:lnTo>
                        <a:pt x="468" y="201"/>
                      </a:lnTo>
                      <a:lnTo>
                        <a:pt x="478" y="196"/>
                      </a:lnTo>
                      <a:lnTo>
                        <a:pt x="485" y="192"/>
                      </a:lnTo>
                      <a:lnTo>
                        <a:pt x="487" y="192"/>
                      </a:lnTo>
                      <a:lnTo>
                        <a:pt x="492" y="194"/>
                      </a:lnTo>
                      <a:lnTo>
                        <a:pt x="497" y="194"/>
                      </a:lnTo>
                      <a:lnTo>
                        <a:pt x="499" y="192"/>
                      </a:lnTo>
                      <a:lnTo>
                        <a:pt x="504" y="192"/>
                      </a:lnTo>
                      <a:lnTo>
                        <a:pt x="506" y="189"/>
                      </a:lnTo>
                      <a:lnTo>
                        <a:pt x="516" y="189"/>
                      </a:lnTo>
                      <a:lnTo>
                        <a:pt x="518" y="189"/>
                      </a:lnTo>
                      <a:lnTo>
                        <a:pt x="516" y="187"/>
                      </a:lnTo>
                      <a:lnTo>
                        <a:pt x="514" y="187"/>
                      </a:lnTo>
                      <a:lnTo>
                        <a:pt x="509" y="184"/>
                      </a:lnTo>
                      <a:lnTo>
                        <a:pt x="485" y="184"/>
                      </a:lnTo>
                      <a:lnTo>
                        <a:pt x="492" y="182"/>
                      </a:lnTo>
                      <a:lnTo>
                        <a:pt x="485" y="180"/>
                      </a:lnTo>
                      <a:lnTo>
                        <a:pt x="485" y="175"/>
                      </a:lnTo>
                      <a:lnTo>
                        <a:pt x="487" y="175"/>
                      </a:lnTo>
                      <a:lnTo>
                        <a:pt x="490" y="177"/>
                      </a:lnTo>
                      <a:lnTo>
                        <a:pt x="492" y="180"/>
                      </a:lnTo>
                      <a:lnTo>
                        <a:pt x="497" y="182"/>
                      </a:lnTo>
                      <a:lnTo>
                        <a:pt x="504" y="182"/>
                      </a:lnTo>
                      <a:lnTo>
                        <a:pt x="506" y="184"/>
                      </a:lnTo>
                      <a:lnTo>
                        <a:pt x="509" y="184"/>
                      </a:lnTo>
                      <a:lnTo>
                        <a:pt x="514" y="184"/>
                      </a:lnTo>
                      <a:lnTo>
                        <a:pt x="518" y="184"/>
                      </a:lnTo>
                      <a:lnTo>
                        <a:pt x="518" y="187"/>
                      </a:lnTo>
                      <a:lnTo>
                        <a:pt x="523" y="187"/>
                      </a:lnTo>
                      <a:lnTo>
                        <a:pt x="523" y="184"/>
                      </a:lnTo>
                      <a:lnTo>
                        <a:pt x="528" y="184"/>
                      </a:lnTo>
                      <a:lnTo>
                        <a:pt x="528" y="187"/>
                      </a:lnTo>
                      <a:lnTo>
                        <a:pt x="528" y="189"/>
                      </a:lnTo>
                      <a:lnTo>
                        <a:pt x="528" y="192"/>
                      </a:lnTo>
                      <a:lnTo>
                        <a:pt x="528" y="196"/>
                      </a:lnTo>
                      <a:lnTo>
                        <a:pt x="528" y="199"/>
                      </a:lnTo>
                      <a:lnTo>
                        <a:pt x="533" y="199"/>
                      </a:lnTo>
                      <a:lnTo>
                        <a:pt x="537" y="201"/>
                      </a:lnTo>
                      <a:lnTo>
                        <a:pt x="542" y="201"/>
                      </a:lnTo>
                      <a:lnTo>
                        <a:pt x="547" y="201"/>
                      </a:lnTo>
                      <a:lnTo>
                        <a:pt x="549" y="201"/>
                      </a:lnTo>
                      <a:lnTo>
                        <a:pt x="552" y="199"/>
                      </a:lnTo>
                      <a:lnTo>
                        <a:pt x="554" y="199"/>
                      </a:lnTo>
                      <a:lnTo>
                        <a:pt x="554" y="204"/>
                      </a:lnTo>
                      <a:lnTo>
                        <a:pt x="559" y="204"/>
                      </a:lnTo>
                      <a:lnTo>
                        <a:pt x="561" y="201"/>
                      </a:lnTo>
                      <a:lnTo>
                        <a:pt x="563" y="201"/>
                      </a:lnTo>
                      <a:lnTo>
                        <a:pt x="563" y="194"/>
                      </a:lnTo>
                      <a:lnTo>
                        <a:pt x="561" y="194"/>
                      </a:lnTo>
                      <a:lnTo>
                        <a:pt x="563" y="189"/>
                      </a:lnTo>
                      <a:lnTo>
                        <a:pt x="563" y="187"/>
                      </a:lnTo>
                      <a:lnTo>
                        <a:pt x="559" y="187"/>
                      </a:lnTo>
                      <a:lnTo>
                        <a:pt x="556" y="182"/>
                      </a:lnTo>
                      <a:lnTo>
                        <a:pt x="552" y="180"/>
                      </a:lnTo>
                      <a:lnTo>
                        <a:pt x="552" y="175"/>
                      </a:lnTo>
                      <a:lnTo>
                        <a:pt x="533" y="170"/>
                      </a:lnTo>
                      <a:lnTo>
                        <a:pt x="523" y="170"/>
                      </a:lnTo>
                      <a:lnTo>
                        <a:pt x="521" y="170"/>
                      </a:lnTo>
                      <a:lnTo>
                        <a:pt x="528" y="168"/>
                      </a:lnTo>
                      <a:lnTo>
                        <a:pt x="530" y="165"/>
                      </a:lnTo>
                      <a:lnTo>
                        <a:pt x="528" y="165"/>
                      </a:lnTo>
                      <a:lnTo>
                        <a:pt x="525" y="163"/>
                      </a:lnTo>
                      <a:lnTo>
                        <a:pt x="514" y="163"/>
                      </a:lnTo>
                      <a:lnTo>
                        <a:pt x="509" y="161"/>
                      </a:lnTo>
                      <a:lnTo>
                        <a:pt x="504" y="161"/>
                      </a:lnTo>
                      <a:lnTo>
                        <a:pt x="509" y="156"/>
                      </a:lnTo>
                      <a:lnTo>
                        <a:pt x="523" y="156"/>
                      </a:lnTo>
                      <a:lnTo>
                        <a:pt x="528" y="153"/>
                      </a:lnTo>
                      <a:lnTo>
                        <a:pt x="533" y="153"/>
                      </a:lnTo>
                      <a:lnTo>
                        <a:pt x="547" y="156"/>
                      </a:lnTo>
                      <a:lnTo>
                        <a:pt x="552" y="156"/>
                      </a:lnTo>
                      <a:lnTo>
                        <a:pt x="554" y="156"/>
                      </a:lnTo>
                      <a:lnTo>
                        <a:pt x="556" y="158"/>
                      </a:lnTo>
                      <a:lnTo>
                        <a:pt x="559" y="161"/>
                      </a:lnTo>
                      <a:lnTo>
                        <a:pt x="563" y="165"/>
                      </a:lnTo>
                      <a:lnTo>
                        <a:pt x="568" y="165"/>
                      </a:lnTo>
                      <a:lnTo>
                        <a:pt x="568" y="163"/>
                      </a:lnTo>
                      <a:lnTo>
                        <a:pt x="568" y="158"/>
                      </a:lnTo>
                      <a:lnTo>
                        <a:pt x="559" y="156"/>
                      </a:lnTo>
                      <a:lnTo>
                        <a:pt x="552" y="153"/>
                      </a:lnTo>
                      <a:lnTo>
                        <a:pt x="540" y="151"/>
                      </a:lnTo>
                      <a:lnTo>
                        <a:pt x="544" y="149"/>
                      </a:lnTo>
                      <a:lnTo>
                        <a:pt x="547" y="149"/>
                      </a:lnTo>
                      <a:lnTo>
                        <a:pt x="552" y="151"/>
                      </a:lnTo>
                      <a:lnTo>
                        <a:pt x="556" y="151"/>
                      </a:lnTo>
                      <a:lnTo>
                        <a:pt x="559" y="153"/>
                      </a:lnTo>
                      <a:lnTo>
                        <a:pt x="578" y="153"/>
                      </a:lnTo>
                      <a:lnTo>
                        <a:pt x="594" y="151"/>
                      </a:lnTo>
                      <a:lnTo>
                        <a:pt x="594" y="144"/>
                      </a:lnTo>
                      <a:lnTo>
                        <a:pt x="582" y="141"/>
                      </a:lnTo>
                      <a:lnTo>
                        <a:pt x="578" y="146"/>
                      </a:lnTo>
                      <a:lnTo>
                        <a:pt x="573" y="141"/>
                      </a:lnTo>
                      <a:lnTo>
                        <a:pt x="573" y="139"/>
                      </a:lnTo>
                      <a:lnTo>
                        <a:pt x="587" y="139"/>
                      </a:lnTo>
                      <a:lnTo>
                        <a:pt x="599" y="137"/>
                      </a:lnTo>
                      <a:lnTo>
                        <a:pt x="602" y="139"/>
                      </a:lnTo>
                      <a:lnTo>
                        <a:pt x="609" y="139"/>
                      </a:lnTo>
                      <a:lnTo>
                        <a:pt x="616" y="134"/>
                      </a:lnTo>
                      <a:lnTo>
                        <a:pt x="618" y="134"/>
                      </a:lnTo>
                      <a:lnTo>
                        <a:pt x="618" y="132"/>
                      </a:lnTo>
                      <a:lnTo>
                        <a:pt x="599" y="132"/>
                      </a:lnTo>
                      <a:lnTo>
                        <a:pt x="599" y="129"/>
                      </a:lnTo>
                      <a:lnTo>
                        <a:pt x="597" y="129"/>
                      </a:lnTo>
                      <a:lnTo>
                        <a:pt x="597" y="127"/>
                      </a:lnTo>
                      <a:lnTo>
                        <a:pt x="592" y="127"/>
                      </a:lnTo>
                      <a:lnTo>
                        <a:pt x="587" y="125"/>
                      </a:lnTo>
                      <a:lnTo>
                        <a:pt x="592" y="125"/>
                      </a:lnTo>
                      <a:lnTo>
                        <a:pt x="594" y="125"/>
                      </a:lnTo>
                      <a:lnTo>
                        <a:pt x="594" y="122"/>
                      </a:lnTo>
                      <a:lnTo>
                        <a:pt x="592" y="120"/>
                      </a:lnTo>
                      <a:lnTo>
                        <a:pt x="590" y="120"/>
                      </a:lnTo>
                      <a:lnTo>
                        <a:pt x="582" y="117"/>
                      </a:lnTo>
                      <a:lnTo>
                        <a:pt x="592" y="117"/>
                      </a:lnTo>
                      <a:lnTo>
                        <a:pt x="594" y="120"/>
                      </a:lnTo>
                      <a:lnTo>
                        <a:pt x="597" y="120"/>
                      </a:lnTo>
                      <a:lnTo>
                        <a:pt x="602" y="120"/>
                      </a:lnTo>
                      <a:lnTo>
                        <a:pt x="606" y="120"/>
                      </a:lnTo>
                      <a:lnTo>
                        <a:pt x="609" y="125"/>
                      </a:lnTo>
                      <a:lnTo>
                        <a:pt x="613" y="125"/>
                      </a:lnTo>
                      <a:lnTo>
                        <a:pt x="618" y="120"/>
                      </a:lnTo>
                      <a:lnTo>
                        <a:pt x="618" y="113"/>
                      </a:lnTo>
                      <a:lnTo>
                        <a:pt x="616" y="110"/>
                      </a:lnTo>
                      <a:lnTo>
                        <a:pt x="613" y="110"/>
                      </a:lnTo>
                      <a:lnTo>
                        <a:pt x="611" y="108"/>
                      </a:lnTo>
                      <a:lnTo>
                        <a:pt x="609" y="105"/>
                      </a:lnTo>
                      <a:lnTo>
                        <a:pt x="592" y="103"/>
                      </a:lnTo>
                      <a:lnTo>
                        <a:pt x="587" y="101"/>
                      </a:lnTo>
                      <a:lnTo>
                        <a:pt x="587" y="98"/>
                      </a:lnTo>
                      <a:lnTo>
                        <a:pt x="590" y="98"/>
                      </a:lnTo>
                      <a:lnTo>
                        <a:pt x="599" y="98"/>
                      </a:lnTo>
                      <a:lnTo>
                        <a:pt x="611" y="96"/>
                      </a:lnTo>
                      <a:lnTo>
                        <a:pt x="618" y="96"/>
                      </a:lnTo>
                      <a:lnTo>
                        <a:pt x="623" y="98"/>
                      </a:lnTo>
                      <a:lnTo>
                        <a:pt x="632" y="98"/>
                      </a:lnTo>
                      <a:lnTo>
                        <a:pt x="637" y="96"/>
                      </a:lnTo>
                      <a:lnTo>
                        <a:pt x="642" y="93"/>
                      </a:lnTo>
                      <a:lnTo>
                        <a:pt x="642" y="91"/>
                      </a:lnTo>
                      <a:lnTo>
                        <a:pt x="642" y="89"/>
                      </a:lnTo>
                      <a:lnTo>
                        <a:pt x="632" y="89"/>
                      </a:lnTo>
                      <a:lnTo>
                        <a:pt x="625" y="86"/>
                      </a:lnTo>
                      <a:lnTo>
                        <a:pt x="616" y="86"/>
                      </a:lnTo>
                      <a:lnTo>
                        <a:pt x="613" y="84"/>
                      </a:lnTo>
                      <a:lnTo>
                        <a:pt x="623" y="84"/>
                      </a:lnTo>
                      <a:lnTo>
                        <a:pt x="621" y="82"/>
                      </a:lnTo>
                      <a:lnTo>
                        <a:pt x="618" y="79"/>
                      </a:lnTo>
                      <a:lnTo>
                        <a:pt x="618" y="77"/>
                      </a:lnTo>
                      <a:lnTo>
                        <a:pt x="613" y="77"/>
                      </a:lnTo>
                      <a:lnTo>
                        <a:pt x="611" y="79"/>
                      </a:lnTo>
                      <a:lnTo>
                        <a:pt x="611" y="84"/>
                      </a:lnTo>
                      <a:lnTo>
                        <a:pt x="606" y="84"/>
                      </a:lnTo>
                      <a:lnTo>
                        <a:pt x="604" y="84"/>
                      </a:lnTo>
                      <a:lnTo>
                        <a:pt x="602" y="82"/>
                      </a:lnTo>
                      <a:lnTo>
                        <a:pt x="599" y="79"/>
                      </a:lnTo>
                      <a:lnTo>
                        <a:pt x="602" y="79"/>
                      </a:lnTo>
                      <a:lnTo>
                        <a:pt x="606" y="77"/>
                      </a:lnTo>
                      <a:lnTo>
                        <a:pt x="609" y="74"/>
                      </a:lnTo>
                      <a:lnTo>
                        <a:pt x="613" y="70"/>
                      </a:lnTo>
                      <a:lnTo>
                        <a:pt x="616" y="67"/>
                      </a:lnTo>
                      <a:lnTo>
                        <a:pt x="618" y="65"/>
                      </a:lnTo>
                      <a:lnTo>
                        <a:pt x="621" y="65"/>
                      </a:lnTo>
                      <a:lnTo>
                        <a:pt x="623" y="65"/>
                      </a:lnTo>
                      <a:lnTo>
                        <a:pt x="628" y="65"/>
                      </a:lnTo>
                      <a:lnTo>
                        <a:pt x="630" y="65"/>
                      </a:lnTo>
                      <a:lnTo>
                        <a:pt x="632" y="62"/>
                      </a:lnTo>
                      <a:lnTo>
                        <a:pt x="637" y="60"/>
                      </a:lnTo>
                      <a:lnTo>
                        <a:pt x="635" y="55"/>
                      </a:lnTo>
                      <a:lnTo>
                        <a:pt x="637" y="53"/>
                      </a:lnTo>
                      <a:lnTo>
                        <a:pt x="640" y="50"/>
                      </a:lnTo>
                      <a:lnTo>
                        <a:pt x="642" y="50"/>
                      </a:lnTo>
                      <a:lnTo>
                        <a:pt x="647" y="50"/>
                      </a:lnTo>
                      <a:lnTo>
                        <a:pt x="649" y="50"/>
                      </a:lnTo>
                      <a:lnTo>
                        <a:pt x="651" y="53"/>
                      </a:lnTo>
                      <a:lnTo>
                        <a:pt x="656" y="53"/>
                      </a:lnTo>
                      <a:lnTo>
                        <a:pt x="659" y="50"/>
                      </a:lnTo>
                      <a:lnTo>
                        <a:pt x="661" y="50"/>
                      </a:lnTo>
                      <a:lnTo>
                        <a:pt x="663" y="48"/>
                      </a:lnTo>
                      <a:lnTo>
                        <a:pt x="644" y="48"/>
                      </a:lnTo>
                      <a:lnTo>
                        <a:pt x="642" y="48"/>
                      </a:lnTo>
                      <a:lnTo>
                        <a:pt x="637" y="48"/>
                      </a:lnTo>
                      <a:lnTo>
                        <a:pt x="635" y="50"/>
                      </a:lnTo>
                      <a:lnTo>
                        <a:pt x="630" y="50"/>
                      </a:lnTo>
                      <a:lnTo>
                        <a:pt x="630" y="48"/>
                      </a:lnTo>
                      <a:lnTo>
                        <a:pt x="640" y="43"/>
                      </a:lnTo>
                      <a:lnTo>
                        <a:pt x="670" y="43"/>
                      </a:lnTo>
                      <a:lnTo>
                        <a:pt x="675" y="43"/>
                      </a:lnTo>
                      <a:lnTo>
                        <a:pt x="678" y="43"/>
                      </a:lnTo>
                      <a:lnTo>
                        <a:pt x="682" y="41"/>
                      </a:lnTo>
                      <a:lnTo>
                        <a:pt x="678" y="41"/>
                      </a:lnTo>
                      <a:lnTo>
                        <a:pt x="673" y="38"/>
                      </a:lnTo>
                      <a:lnTo>
                        <a:pt x="656" y="38"/>
                      </a:lnTo>
                      <a:lnTo>
                        <a:pt x="651" y="41"/>
                      </a:lnTo>
                      <a:lnTo>
                        <a:pt x="635" y="41"/>
                      </a:lnTo>
                      <a:lnTo>
                        <a:pt x="635" y="38"/>
                      </a:lnTo>
                      <a:lnTo>
                        <a:pt x="637" y="38"/>
                      </a:lnTo>
                      <a:lnTo>
                        <a:pt x="642" y="38"/>
                      </a:lnTo>
                      <a:lnTo>
                        <a:pt x="687" y="38"/>
                      </a:lnTo>
                      <a:lnTo>
                        <a:pt x="692" y="36"/>
                      </a:lnTo>
                      <a:lnTo>
                        <a:pt x="699" y="34"/>
                      </a:lnTo>
                      <a:lnTo>
                        <a:pt x="701" y="31"/>
                      </a:lnTo>
                      <a:lnTo>
                        <a:pt x="718" y="31"/>
                      </a:lnTo>
                      <a:lnTo>
                        <a:pt x="723" y="29"/>
                      </a:lnTo>
                      <a:lnTo>
                        <a:pt x="725" y="29"/>
                      </a:lnTo>
                      <a:lnTo>
                        <a:pt x="730" y="29"/>
                      </a:lnTo>
                      <a:lnTo>
                        <a:pt x="732" y="26"/>
                      </a:lnTo>
                      <a:lnTo>
                        <a:pt x="730" y="24"/>
                      </a:lnTo>
                      <a:close/>
                      <a:moveTo>
                        <a:pt x="119" y="268"/>
                      </a:moveTo>
                      <a:lnTo>
                        <a:pt x="116" y="266"/>
                      </a:lnTo>
                      <a:lnTo>
                        <a:pt x="119" y="268"/>
                      </a:lnTo>
                      <a:close/>
                      <a:moveTo>
                        <a:pt x="128" y="223"/>
                      </a:moveTo>
                      <a:lnTo>
                        <a:pt x="135" y="223"/>
                      </a:lnTo>
                      <a:lnTo>
                        <a:pt x="138" y="220"/>
                      </a:lnTo>
                      <a:lnTo>
                        <a:pt x="145" y="220"/>
                      </a:lnTo>
                      <a:lnTo>
                        <a:pt x="147" y="220"/>
                      </a:lnTo>
                      <a:lnTo>
                        <a:pt x="147" y="216"/>
                      </a:lnTo>
                      <a:lnTo>
                        <a:pt x="150" y="216"/>
                      </a:lnTo>
                      <a:lnTo>
                        <a:pt x="147" y="213"/>
                      </a:lnTo>
                      <a:lnTo>
                        <a:pt x="145" y="211"/>
                      </a:lnTo>
                      <a:lnTo>
                        <a:pt x="143" y="211"/>
                      </a:lnTo>
                      <a:lnTo>
                        <a:pt x="138" y="211"/>
                      </a:lnTo>
                      <a:lnTo>
                        <a:pt x="135" y="206"/>
                      </a:lnTo>
                      <a:lnTo>
                        <a:pt x="119" y="206"/>
                      </a:lnTo>
                      <a:lnTo>
                        <a:pt x="119" y="213"/>
                      </a:lnTo>
                      <a:lnTo>
                        <a:pt x="116" y="216"/>
                      </a:lnTo>
                      <a:lnTo>
                        <a:pt x="114" y="216"/>
                      </a:lnTo>
                      <a:lnTo>
                        <a:pt x="114" y="218"/>
                      </a:lnTo>
                      <a:lnTo>
                        <a:pt x="116" y="220"/>
                      </a:lnTo>
                      <a:lnTo>
                        <a:pt x="119" y="220"/>
                      </a:lnTo>
                      <a:lnTo>
                        <a:pt x="119" y="225"/>
                      </a:lnTo>
                      <a:lnTo>
                        <a:pt x="128" y="223"/>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633" name="Greece"/>
                <p:cNvSpPr>
                  <a:spLocks noEditPoints="1"/>
                </p:cNvSpPr>
                <p:nvPr/>
              </p:nvSpPr>
              <p:spPr bwMode="gray">
                <a:xfrm>
                  <a:off x="3008" y="1450"/>
                  <a:ext cx="136" cy="141"/>
                </a:xfrm>
                <a:custGeom>
                  <a:avLst/>
                  <a:gdLst>
                    <a:gd name="T0" fmla="*/ 0 w 534"/>
                    <a:gd name="T1" fmla="*/ 2147483647 h 552"/>
                    <a:gd name="T2" fmla="*/ 2147483647 w 534"/>
                    <a:gd name="T3" fmla="*/ 2147483647 h 552"/>
                    <a:gd name="T4" fmla="*/ 2147483647 w 534"/>
                    <a:gd name="T5" fmla="*/ 2147483647 h 552"/>
                    <a:gd name="T6" fmla="*/ 2147483647 w 534"/>
                    <a:gd name="T7" fmla="*/ 2147483647 h 552"/>
                    <a:gd name="T8" fmla="*/ 2147483647 w 534"/>
                    <a:gd name="T9" fmla="*/ 2147483647 h 552"/>
                    <a:gd name="T10" fmla="*/ 2147483647 w 534"/>
                    <a:gd name="T11" fmla="*/ 2147483647 h 552"/>
                    <a:gd name="T12" fmla="*/ 2147483647 w 534"/>
                    <a:gd name="T13" fmla="*/ 2147483647 h 552"/>
                    <a:gd name="T14" fmla="*/ 2147483647 w 534"/>
                    <a:gd name="T15" fmla="*/ 2147483647 h 552"/>
                    <a:gd name="T16" fmla="*/ 2147483647 w 534"/>
                    <a:gd name="T17" fmla="*/ 2147483647 h 552"/>
                    <a:gd name="T18" fmla="*/ 2147483647 w 534"/>
                    <a:gd name="T19" fmla="*/ 2147483647 h 552"/>
                    <a:gd name="T20" fmla="*/ 2147483647 w 534"/>
                    <a:gd name="T21" fmla="*/ 2147483647 h 552"/>
                    <a:gd name="T22" fmla="*/ 2147483647 w 534"/>
                    <a:gd name="T23" fmla="*/ 2147483647 h 552"/>
                    <a:gd name="T24" fmla="*/ 2147483647 w 534"/>
                    <a:gd name="T25" fmla="*/ 2147483647 h 552"/>
                    <a:gd name="T26" fmla="*/ 2147483647 w 534"/>
                    <a:gd name="T27" fmla="*/ 2147483647 h 552"/>
                    <a:gd name="T28" fmla="*/ 2147483647 w 534"/>
                    <a:gd name="T29" fmla="*/ 2147483647 h 552"/>
                    <a:gd name="T30" fmla="*/ 2147483647 w 534"/>
                    <a:gd name="T31" fmla="*/ 2147483647 h 552"/>
                    <a:gd name="T32" fmla="*/ 2147483647 w 534"/>
                    <a:gd name="T33" fmla="*/ 2147483647 h 552"/>
                    <a:gd name="T34" fmla="*/ 2147483647 w 534"/>
                    <a:gd name="T35" fmla="*/ 2147483647 h 552"/>
                    <a:gd name="T36" fmla="*/ 2147483647 w 534"/>
                    <a:gd name="T37" fmla="*/ 2147483647 h 552"/>
                    <a:gd name="T38" fmla="*/ 2147483647 w 534"/>
                    <a:gd name="T39" fmla="*/ 2147483647 h 552"/>
                    <a:gd name="T40" fmla="*/ 2147483647 w 534"/>
                    <a:gd name="T41" fmla="*/ 2147483647 h 552"/>
                    <a:gd name="T42" fmla="*/ 2147483647 w 534"/>
                    <a:gd name="T43" fmla="*/ 2147483647 h 552"/>
                    <a:gd name="T44" fmla="*/ 2147483647 w 534"/>
                    <a:gd name="T45" fmla="*/ 2147483647 h 552"/>
                    <a:gd name="T46" fmla="*/ 2147483647 w 534"/>
                    <a:gd name="T47" fmla="*/ 2147483647 h 552"/>
                    <a:gd name="T48" fmla="*/ 2147483647 w 534"/>
                    <a:gd name="T49" fmla="*/ 2147483647 h 552"/>
                    <a:gd name="T50" fmla="*/ 2147483647 w 534"/>
                    <a:gd name="T51" fmla="*/ 2147483647 h 552"/>
                    <a:gd name="T52" fmla="*/ 2147483647 w 534"/>
                    <a:gd name="T53" fmla="*/ 2147483647 h 552"/>
                    <a:gd name="T54" fmla="*/ 2147483647 w 534"/>
                    <a:gd name="T55" fmla="*/ 2147483647 h 552"/>
                    <a:gd name="T56" fmla="*/ 2147483647 w 534"/>
                    <a:gd name="T57" fmla="*/ 2147483647 h 552"/>
                    <a:gd name="T58" fmla="*/ 2147483647 w 534"/>
                    <a:gd name="T59" fmla="*/ 2147483647 h 552"/>
                    <a:gd name="T60" fmla="*/ 2147483647 w 534"/>
                    <a:gd name="T61" fmla="*/ 2147483647 h 552"/>
                    <a:gd name="T62" fmla="*/ 2147483647 w 534"/>
                    <a:gd name="T63" fmla="*/ 2147483647 h 552"/>
                    <a:gd name="T64" fmla="*/ 2147483647 w 534"/>
                    <a:gd name="T65" fmla="*/ 2147483647 h 552"/>
                    <a:gd name="T66" fmla="*/ 2147483647 w 534"/>
                    <a:gd name="T67" fmla="*/ 2147483647 h 552"/>
                    <a:gd name="T68" fmla="*/ 2147483647 w 534"/>
                    <a:gd name="T69" fmla="*/ 2147483647 h 552"/>
                    <a:gd name="T70" fmla="*/ 2147483647 w 534"/>
                    <a:gd name="T71" fmla="*/ 2147483647 h 552"/>
                    <a:gd name="T72" fmla="*/ 2147483647 w 534"/>
                    <a:gd name="T73" fmla="*/ 2147483647 h 552"/>
                    <a:gd name="T74" fmla="*/ 2147483647 w 534"/>
                    <a:gd name="T75" fmla="*/ 2147483647 h 552"/>
                    <a:gd name="T76" fmla="*/ 2147483647 w 534"/>
                    <a:gd name="T77" fmla="*/ 2147483647 h 552"/>
                    <a:gd name="T78" fmla="*/ 2147483647 w 534"/>
                    <a:gd name="T79" fmla="*/ 2147483647 h 552"/>
                    <a:gd name="T80" fmla="*/ 2147483647 w 534"/>
                    <a:gd name="T81" fmla="*/ 2147483647 h 552"/>
                    <a:gd name="T82" fmla="*/ 2147483647 w 534"/>
                    <a:gd name="T83" fmla="*/ 2147483647 h 552"/>
                    <a:gd name="T84" fmla="*/ 2147483647 w 534"/>
                    <a:gd name="T85" fmla="*/ 2147483647 h 552"/>
                    <a:gd name="T86" fmla="*/ 2147483647 w 534"/>
                    <a:gd name="T87" fmla="*/ 2147483647 h 552"/>
                    <a:gd name="T88" fmla="*/ 2147483647 w 534"/>
                    <a:gd name="T89" fmla="*/ 2147483647 h 552"/>
                    <a:gd name="T90" fmla="*/ 2147483647 w 534"/>
                    <a:gd name="T91" fmla="*/ 2147483647 h 552"/>
                    <a:gd name="T92" fmla="*/ 2147483647 w 534"/>
                    <a:gd name="T93" fmla="*/ 2147483647 h 552"/>
                    <a:gd name="T94" fmla="*/ 2147483647 w 534"/>
                    <a:gd name="T95" fmla="*/ 2147483647 h 552"/>
                    <a:gd name="T96" fmla="*/ 2147483647 w 534"/>
                    <a:gd name="T97" fmla="*/ 2147483647 h 552"/>
                    <a:gd name="T98" fmla="*/ 2147483647 w 534"/>
                    <a:gd name="T99" fmla="*/ 2147483647 h 552"/>
                    <a:gd name="T100" fmla="*/ 2147483647 w 534"/>
                    <a:gd name="T101" fmla="*/ 2147483647 h 552"/>
                    <a:gd name="T102" fmla="*/ 2147483647 w 534"/>
                    <a:gd name="T103" fmla="*/ 2147483647 h 552"/>
                    <a:gd name="T104" fmla="*/ 2147483647 w 534"/>
                    <a:gd name="T105" fmla="*/ 2147483647 h 552"/>
                    <a:gd name="T106" fmla="*/ 2147483647 w 534"/>
                    <a:gd name="T107" fmla="*/ 2147483647 h 55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534"/>
                    <a:gd name="T163" fmla="*/ 0 h 552"/>
                    <a:gd name="T164" fmla="*/ 534 w 534"/>
                    <a:gd name="T165" fmla="*/ 552 h 55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534" h="552">
                      <a:moveTo>
                        <a:pt x="240" y="108"/>
                      </a:moveTo>
                      <a:lnTo>
                        <a:pt x="270" y="126"/>
                      </a:lnTo>
                      <a:lnTo>
                        <a:pt x="282" y="120"/>
                      </a:lnTo>
                      <a:lnTo>
                        <a:pt x="240" y="108"/>
                      </a:lnTo>
                      <a:close/>
                      <a:moveTo>
                        <a:pt x="24" y="258"/>
                      </a:moveTo>
                      <a:lnTo>
                        <a:pt x="0" y="282"/>
                      </a:lnTo>
                      <a:lnTo>
                        <a:pt x="42" y="294"/>
                      </a:lnTo>
                      <a:lnTo>
                        <a:pt x="24" y="258"/>
                      </a:lnTo>
                      <a:close/>
                      <a:moveTo>
                        <a:pt x="312" y="414"/>
                      </a:moveTo>
                      <a:lnTo>
                        <a:pt x="312" y="420"/>
                      </a:lnTo>
                      <a:lnTo>
                        <a:pt x="324" y="420"/>
                      </a:lnTo>
                      <a:lnTo>
                        <a:pt x="324" y="414"/>
                      </a:lnTo>
                      <a:lnTo>
                        <a:pt x="318" y="408"/>
                      </a:lnTo>
                      <a:lnTo>
                        <a:pt x="312" y="408"/>
                      </a:lnTo>
                      <a:lnTo>
                        <a:pt x="312" y="414"/>
                      </a:lnTo>
                      <a:close/>
                      <a:moveTo>
                        <a:pt x="306" y="390"/>
                      </a:moveTo>
                      <a:lnTo>
                        <a:pt x="300" y="378"/>
                      </a:lnTo>
                      <a:lnTo>
                        <a:pt x="294" y="390"/>
                      </a:lnTo>
                      <a:lnTo>
                        <a:pt x="306" y="390"/>
                      </a:lnTo>
                      <a:close/>
                      <a:moveTo>
                        <a:pt x="294" y="294"/>
                      </a:moveTo>
                      <a:lnTo>
                        <a:pt x="318" y="336"/>
                      </a:lnTo>
                      <a:lnTo>
                        <a:pt x="330" y="318"/>
                      </a:lnTo>
                      <a:lnTo>
                        <a:pt x="294" y="294"/>
                      </a:lnTo>
                      <a:close/>
                      <a:moveTo>
                        <a:pt x="108" y="264"/>
                      </a:moveTo>
                      <a:lnTo>
                        <a:pt x="138" y="264"/>
                      </a:lnTo>
                      <a:lnTo>
                        <a:pt x="144" y="270"/>
                      </a:lnTo>
                      <a:lnTo>
                        <a:pt x="156" y="270"/>
                      </a:lnTo>
                      <a:lnTo>
                        <a:pt x="180" y="282"/>
                      </a:lnTo>
                      <a:lnTo>
                        <a:pt x="192" y="282"/>
                      </a:lnTo>
                      <a:lnTo>
                        <a:pt x="198" y="288"/>
                      </a:lnTo>
                      <a:lnTo>
                        <a:pt x="204" y="288"/>
                      </a:lnTo>
                      <a:lnTo>
                        <a:pt x="216" y="300"/>
                      </a:lnTo>
                      <a:lnTo>
                        <a:pt x="228" y="306"/>
                      </a:lnTo>
                      <a:lnTo>
                        <a:pt x="234" y="312"/>
                      </a:lnTo>
                      <a:lnTo>
                        <a:pt x="246" y="312"/>
                      </a:lnTo>
                      <a:lnTo>
                        <a:pt x="252" y="306"/>
                      </a:lnTo>
                      <a:lnTo>
                        <a:pt x="252" y="288"/>
                      </a:lnTo>
                      <a:lnTo>
                        <a:pt x="228" y="264"/>
                      </a:lnTo>
                      <a:lnTo>
                        <a:pt x="216" y="258"/>
                      </a:lnTo>
                      <a:lnTo>
                        <a:pt x="210" y="252"/>
                      </a:lnTo>
                      <a:lnTo>
                        <a:pt x="204" y="252"/>
                      </a:lnTo>
                      <a:lnTo>
                        <a:pt x="198" y="246"/>
                      </a:lnTo>
                      <a:lnTo>
                        <a:pt x="186" y="246"/>
                      </a:lnTo>
                      <a:lnTo>
                        <a:pt x="174" y="234"/>
                      </a:lnTo>
                      <a:lnTo>
                        <a:pt x="168" y="234"/>
                      </a:lnTo>
                      <a:lnTo>
                        <a:pt x="174" y="228"/>
                      </a:lnTo>
                      <a:lnTo>
                        <a:pt x="192" y="228"/>
                      </a:lnTo>
                      <a:lnTo>
                        <a:pt x="198" y="240"/>
                      </a:lnTo>
                      <a:lnTo>
                        <a:pt x="222" y="252"/>
                      </a:lnTo>
                      <a:lnTo>
                        <a:pt x="234" y="264"/>
                      </a:lnTo>
                      <a:lnTo>
                        <a:pt x="258" y="264"/>
                      </a:lnTo>
                      <a:lnTo>
                        <a:pt x="270" y="252"/>
                      </a:lnTo>
                      <a:lnTo>
                        <a:pt x="258" y="240"/>
                      </a:lnTo>
                      <a:lnTo>
                        <a:pt x="246" y="240"/>
                      </a:lnTo>
                      <a:lnTo>
                        <a:pt x="234" y="234"/>
                      </a:lnTo>
                      <a:lnTo>
                        <a:pt x="222" y="234"/>
                      </a:lnTo>
                      <a:lnTo>
                        <a:pt x="210" y="228"/>
                      </a:lnTo>
                      <a:lnTo>
                        <a:pt x="204" y="216"/>
                      </a:lnTo>
                      <a:lnTo>
                        <a:pt x="198" y="210"/>
                      </a:lnTo>
                      <a:lnTo>
                        <a:pt x="198" y="204"/>
                      </a:lnTo>
                      <a:lnTo>
                        <a:pt x="192" y="192"/>
                      </a:lnTo>
                      <a:lnTo>
                        <a:pt x="186" y="186"/>
                      </a:lnTo>
                      <a:lnTo>
                        <a:pt x="174" y="162"/>
                      </a:lnTo>
                      <a:lnTo>
                        <a:pt x="168" y="156"/>
                      </a:lnTo>
                      <a:lnTo>
                        <a:pt x="162" y="144"/>
                      </a:lnTo>
                      <a:lnTo>
                        <a:pt x="150" y="132"/>
                      </a:lnTo>
                      <a:lnTo>
                        <a:pt x="150" y="120"/>
                      </a:lnTo>
                      <a:lnTo>
                        <a:pt x="144" y="114"/>
                      </a:lnTo>
                      <a:lnTo>
                        <a:pt x="144" y="102"/>
                      </a:lnTo>
                      <a:lnTo>
                        <a:pt x="150" y="96"/>
                      </a:lnTo>
                      <a:lnTo>
                        <a:pt x="156" y="96"/>
                      </a:lnTo>
                      <a:lnTo>
                        <a:pt x="162" y="102"/>
                      </a:lnTo>
                      <a:lnTo>
                        <a:pt x="162" y="108"/>
                      </a:lnTo>
                      <a:lnTo>
                        <a:pt x="168" y="114"/>
                      </a:lnTo>
                      <a:lnTo>
                        <a:pt x="180" y="114"/>
                      </a:lnTo>
                      <a:lnTo>
                        <a:pt x="180" y="120"/>
                      </a:lnTo>
                      <a:lnTo>
                        <a:pt x="186" y="120"/>
                      </a:lnTo>
                      <a:lnTo>
                        <a:pt x="198" y="132"/>
                      </a:lnTo>
                      <a:lnTo>
                        <a:pt x="198" y="144"/>
                      </a:lnTo>
                      <a:lnTo>
                        <a:pt x="204" y="144"/>
                      </a:lnTo>
                      <a:lnTo>
                        <a:pt x="210" y="138"/>
                      </a:lnTo>
                      <a:lnTo>
                        <a:pt x="216" y="138"/>
                      </a:lnTo>
                      <a:lnTo>
                        <a:pt x="204" y="120"/>
                      </a:lnTo>
                      <a:lnTo>
                        <a:pt x="210" y="120"/>
                      </a:lnTo>
                      <a:lnTo>
                        <a:pt x="234" y="132"/>
                      </a:lnTo>
                      <a:lnTo>
                        <a:pt x="222" y="114"/>
                      </a:lnTo>
                      <a:lnTo>
                        <a:pt x="228" y="108"/>
                      </a:lnTo>
                      <a:lnTo>
                        <a:pt x="228" y="84"/>
                      </a:lnTo>
                      <a:lnTo>
                        <a:pt x="240" y="72"/>
                      </a:lnTo>
                      <a:lnTo>
                        <a:pt x="270" y="72"/>
                      </a:lnTo>
                      <a:lnTo>
                        <a:pt x="276" y="78"/>
                      </a:lnTo>
                      <a:lnTo>
                        <a:pt x="276" y="90"/>
                      </a:lnTo>
                      <a:lnTo>
                        <a:pt x="288" y="90"/>
                      </a:lnTo>
                      <a:lnTo>
                        <a:pt x="294" y="84"/>
                      </a:lnTo>
                      <a:lnTo>
                        <a:pt x="300" y="72"/>
                      </a:lnTo>
                      <a:lnTo>
                        <a:pt x="306" y="66"/>
                      </a:lnTo>
                      <a:lnTo>
                        <a:pt x="342" y="66"/>
                      </a:lnTo>
                      <a:lnTo>
                        <a:pt x="360" y="72"/>
                      </a:lnTo>
                      <a:lnTo>
                        <a:pt x="372" y="72"/>
                      </a:lnTo>
                      <a:lnTo>
                        <a:pt x="378" y="78"/>
                      </a:lnTo>
                      <a:lnTo>
                        <a:pt x="384" y="78"/>
                      </a:lnTo>
                      <a:lnTo>
                        <a:pt x="384" y="72"/>
                      </a:lnTo>
                      <a:lnTo>
                        <a:pt x="390" y="60"/>
                      </a:lnTo>
                      <a:lnTo>
                        <a:pt x="390" y="48"/>
                      </a:lnTo>
                      <a:lnTo>
                        <a:pt x="384" y="42"/>
                      </a:lnTo>
                      <a:lnTo>
                        <a:pt x="384" y="36"/>
                      </a:lnTo>
                      <a:lnTo>
                        <a:pt x="390" y="30"/>
                      </a:lnTo>
                      <a:lnTo>
                        <a:pt x="408" y="30"/>
                      </a:lnTo>
                      <a:lnTo>
                        <a:pt x="408" y="18"/>
                      </a:lnTo>
                      <a:lnTo>
                        <a:pt x="402" y="12"/>
                      </a:lnTo>
                      <a:lnTo>
                        <a:pt x="402" y="6"/>
                      </a:lnTo>
                      <a:lnTo>
                        <a:pt x="390" y="6"/>
                      </a:lnTo>
                      <a:lnTo>
                        <a:pt x="384" y="0"/>
                      </a:lnTo>
                      <a:lnTo>
                        <a:pt x="366" y="6"/>
                      </a:lnTo>
                      <a:lnTo>
                        <a:pt x="372" y="12"/>
                      </a:lnTo>
                      <a:lnTo>
                        <a:pt x="372" y="30"/>
                      </a:lnTo>
                      <a:lnTo>
                        <a:pt x="366" y="36"/>
                      </a:lnTo>
                      <a:lnTo>
                        <a:pt x="348" y="36"/>
                      </a:lnTo>
                      <a:lnTo>
                        <a:pt x="336" y="24"/>
                      </a:lnTo>
                      <a:lnTo>
                        <a:pt x="324" y="36"/>
                      </a:lnTo>
                      <a:lnTo>
                        <a:pt x="312" y="36"/>
                      </a:lnTo>
                      <a:lnTo>
                        <a:pt x="300" y="24"/>
                      </a:lnTo>
                      <a:lnTo>
                        <a:pt x="294" y="30"/>
                      </a:lnTo>
                      <a:lnTo>
                        <a:pt x="282" y="30"/>
                      </a:lnTo>
                      <a:lnTo>
                        <a:pt x="264" y="12"/>
                      </a:lnTo>
                      <a:lnTo>
                        <a:pt x="264" y="6"/>
                      </a:lnTo>
                      <a:lnTo>
                        <a:pt x="234" y="12"/>
                      </a:lnTo>
                      <a:lnTo>
                        <a:pt x="228" y="30"/>
                      </a:lnTo>
                      <a:lnTo>
                        <a:pt x="204" y="24"/>
                      </a:lnTo>
                      <a:lnTo>
                        <a:pt x="198" y="30"/>
                      </a:lnTo>
                      <a:lnTo>
                        <a:pt x="186" y="36"/>
                      </a:lnTo>
                      <a:lnTo>
                        <a:pt x="174" y="36"/>
                      </a:lnTo>
                      <a:lnTo>
                        <a:pt x="168" y="30"/>
                      </a:lnTo>
                      <a:lnTo>
                        <a:pt x="162" y="30"/>
                      </a:lnTo>
                      <a:lnTo>
                        <a:pt x="150" y="36"/>
                      </a:lnTo>
                      <a:lnTo>
                        <a:pt x="138" y="48"/>
                      </a:lnTo>
                      <a:lnTo>
                        <a:pt x="126" y="54"/>
                      </a:lnTo>
                      <a:lnTo>
                        <a:pt x="102" y="54"/>
                      </a:lnTo>
                      <a:lnTo>
                        <a:pt x="102" y="60"/>
                      </a:lnTo>
                      <a:lnTo>
                        <a:pt x="96" y="72"/>
                      </a:lnTo>
                      <a:lnTo>
                        <a:pt x="72" y="72"/>
                      </a:lnTo>
                      <a:lnTo>
                        <a:pt x="66" y="66"/>
                      </a:lnTo>
                      <a:lnTo>
                        <a:pt x="60" y="66"/>
                      </a:lnTo>
                      <a:lnTo>
                        <a:pt x="48" y="72"/>
                      </a:lnTo>
                      <a:lnTo>
                        <a:pt x="54" y="84"/>
                      </a:lnTo>
                      <a:lnTo>
                        <a:pt x="54" y="90"/>
                      </a:lnTo>
                      <a:lnTo>
                        <a:pt x="42" y="102"/>
                      </a:lnTo>
                      <a:lnTo>
                        <a:pt x="24" y="102"/>
                      </a:lnTo>
                      <a:lnTo>
                        <a:pt x="24" y="126"/>
                      </a:lnTo>
                      <a:lnTo>
                        <a:pt x="12" y="132"/>
                      </a:lnTo>
                      <a:lnTo>
                        <a:pt x="0" y="132"/>
                      </a:lnTo>
                      <a:lnTo>
                        <a:pt x="0" y="198"/>
                      </a:lnTo>
                      <a:lnTo>
                        <a:pt x="6" y="204"/>
                      </a:lnTo>
                      <a:lnTo>
                        <a:pt x="18" y="210"/>
                      </a:lnTo>
                      <a:lnTo>
                        <a:pt x="24" y="216"/>
                      </a:lnTo>
                      <a:lnTo>
                        <a:pt x="30" y="228"/>
                      </a:lnTo>
                      <a:lnTo>
                        <a:pt x="36" y="234"/>
                      </a:lnTo>
                      <a:lnTo>
                        <a:pt x="42" y="246"/>
                      </a:lnTo>
                      <a:lnTo>
                        <a:pt x="54" y="258"/>
                      </a:lnTo>
                      <a:lnTo>
                        <a:pt x="60" y="270"/>
                      </a:lnTo>
                      <a:lnTo>
                        <a:pt x="84" y="270"/>
                      </a:lnTo>
                      <a:lnTo>
                        <a:pt x="96" y="264"/>
                      </a:lnTo>
                      <a:lnTo>
                        <a:pt x="108" y="264"/>
                      </a:lnTo>
                      <a:close/>
                      <a:moveTo>
                        <a:pt x="396" y="252"/>
                      </a:moveTo>
                      <a:lnTo>
                        <a:pt x="372" y="252"/>
                      </a:lnTo>
                      <a:lnTo>
                        <a:pt x="372" y="270"/>
                      </a:lnTo>
                      <a:lnTo>
                        <a:pt x="384" y="294"/>
                      </a:lnTo>
                      <a:lnTo>
                        <a:pt x="396" y="252"/>
                      </a:lnTo>
                      <a:close/>
                      <a:moveTo>
                        <a:pt x="24" y="312"/>
                      </a:moveTo>
                      <a:lnTo>
                        <a:pt x="18" y="318"/>
                      </a:lnTo>
                      <a:lnTo>
                        <a:pt x="24" y="324"/>
                      </a:lnTo>
                      <a:lnTo>
                        <a:pt x="30" y="324"/>
                      </a:lnTo>
                      <a:lnTo>
                        <a:pt x="36" y="330"/>
                      </a:lnTo>
                      <a:lnTo>
                        <a:pt x="42" y="324"/>
                      </a:lnTo>
                      <a:lnTo>
                        <a:pt x="42" y="318"/>
                      </a:lnTo>
                      <a:lnTo>
                        <a:pt x="30" y="306"/>
                      </a:lnTo>
                      <a:lnTo>
                        <a:pt x="24" y="312"/>
                      </a:lnTo>
                      <a:close/>
                      <a:moveTo>
                        <a:pt x="378" y="390"/>
                      </a:moveTo>
                      <a:lnTo>
                        <a:pt x="378" y="408"/>
                      </a:lnTo>
                      <a:lnTo>
                        <a:pt x="390" y="390"/>
                      </a:lnTo>
                      <a:lnTo>
                        <a:pt x="378" y="390"/>
                      </a:lnTo>
                      <a:close/>
                      <a:moveTo>
                        <a:pt x="408" y="330"/>
                      </a:moveTo>
                      <a:lnTo>
                        <a:pt x="396" y="330"/>
                      </a:lnTo>
                      <a:lnTo>
                        <a:pt x="384" y="336"/>
                      </a:lnTo>
                      <a:lnTo>
                        <a:pt x="384" y="342"/>
                      </a:lnTo>
                      <a:lnTo>
                        <a:pt x="396" y="342"/>
                      </a:lnTo>
                      <a:lnTo>
                        <a:pt x="402" y="336"/>
                      </a:lnTo>
                      <a:lnTo>
                        <a:pt x="408" y="336"/>
                      </a:lnTo>
                      <a:lnTo>
                        <a:pt x="408" y="330"/>
                      </a:lnTo>
                      <a:close/>
                      <a:moveTo>
                        <a:pt x="396" y="192"/>
                      </a:moveTo>
                      <a:lnTo>
                        <a:pt x="372" y="198"/>
                      </a:lnTo>
                      <a:lnTo>
                        <a:pt x="372" y="210"/>
                      </a:lnTo>
                      <a:lnTo>
                        <a:pt x="390" y="210"/>
                      </a:lnTo>
                      <a:lnTo>
                        <a:pt x="396" y="216"/>
                      </a:lnTo>
                      <a:lnTo>
                        <a:pt x="396" y="222"/>
                      </a:lnTo>
                      <a:lnTo>
                        <a:pt x="414" y="222"/>
                      </a:lnTo>
                      <a:lnTo>
                        <a:pt x="414" y="210"/>
                      </a:lnTo>
                      <a:lnTo>
                        <a:pt x="396" y="192"/>
                      </a:lnTo>
                      <a:close/>
                      <a:moveTo>
                        <a:pt x="342" y="372"/>
                      </a:moveTo>
                      <a:lnTo>
                        <a:pt x="342" y="378"/>
                      </a:lnTo>
                      <a:lnTo>
                        <a:pt x="348" y="384"/>
                      </a:lnTo>
                      <a:lnTo>
                        <a:pt x="360" y="384"/>
                      </a:lnTo>
                      <a:lnTo>
                        <a:pt x="366" y="378"/>
                      </a:lnTo>
                      <a:lnTo>
                        <a:pt x="366" y="372"/>
                      </a:lnTo>
                      <a:lnTo>
                        <a:pt x="360" y="366"/>
                      </a:lnTo>
                      <a:lnTo>
                        <a:pt x="342" y="366"/>
                      </a:lnTo>
                      <a:lnTo>
                        <a:pt x="342" y="372"/>
                      </a:lnTo>
                      <a:close/>
                      <a:moveTo>
                        <a:pt x="444" y="312"/>
                      </a:moveTo>
                      <a:lnTo>
                        <a:pt x="432" y="312"/>
                      </a:lnTo>
                      <a:lnTo>
                        <a:pt x="432" y="330"/>
                      </a:lnTo>
                      <a:lnTo>
                        <a:pt x="444" y="336"/>
                      </a:lnTo>
                      <a:lnTo>
                        <a:pt x="450" y="330"/>
                      </a:lnTo>
                      <a:lnTo>
                        <a:pt x="450" y="318"/>
                      </a:lnTo>
                      <a:lnTo>
                        <a:pt x="444" y="312"/>
                      </a:lnTo>
                      <a:close/>
                      <a:moveTo>
                        <a:pt x="444" y="372"/>
                      </a:moveTo>
                      <a:lnTo>
                        <a:pt x="456" y="354"/>
                      </a:lnTo>
                      <a:lnTo>
                        <a:pt x="438" y="354"/>
                      </a:lnTo>
                      <a:lnTo>
                        <a:pt x="444" y="372"/>
                      </a:lnTo>
                      <a:close/>
                      <a:moveTo>
                        <a:pt x="276" y="222"/>
                      </a:moveTo>
                      <a:lnTo>
                        <a:pt x="276" y="240"/>
                      </a:lnTo>
                      <a:lnTo>
                        <a:pt x="288" y="240"/>
                      </a:lnTo>
                      <a:lnTo>
                        <a:pt x="276" y="222"/>
                      </a:lnTo>
                      <a:close/>
                      <a:moveTo>
                        <a:pt x="534" y="420"/>
                      </a:moveTo>
                      <a:lnTo>
                        <a:pt x="522" y="420"/>
                      </a:lnTo>
                      <a:lnTo>
                        <a:pt x="516" y="426"/>
                      </a:lnTo>
                      <a:lnTo>
                        <a:pt x="510" y="438"/>
                      </a:lnTo>
                      <a:lnTo>
                        <a:pt x="510" y="468"/>
                      </a:lnTo>
                      <a:lnTo>
                        <a:pt x="516" y="468"/>
                      </a:lnTo>
                      <a:lnTo>
                        <a:pt x="522" y="456"/>
                      </a:lnTo>
                      <a:lnTo>
                        <a:pt x="528" y="450"/>
                      </a:lnTo>
                      <a:lnTo>
                        <a:pt x="534" y="438"/>
                      </a:lnTo>
                      <a:lnTo>
                        <a:pt x="534" y="420"/>
                      </a:lnTo>
                      <a:close/>
                      <a:moveTo>
                        <a:pt x="462" y="384"/>
                      </a:moveTo>
                      <a:lnTo>
                        <a:pt x="456" y="408"/>
                      </a:lnTo>
                      <a:lnTo>
                        <a:pt x="498" y="378"/>
                      </a:lnTo>
                      <a:lnTo>
                        <a:pt x="486" y="372"/>
                      </a:lnTo>
                      <a:lnTo>
                        <a:pt x="462" y="384"/>
                      </a:lnTo>
                      <a:close/>
                      <a:moveTo>
                        <a:pt x="462" y="510"/>
                      </a:moveTo>
                      <a:lnTo>
                        <a:pt x="480" y="510"/>
                      </a:lnTo>
                      <a:lnTo>
                        <a:pt x="468" y="468"/>
                      </a:lnTo>
                      <a:lnTo>
                        <a:pt x="462" y="510"/>
                      </a:lnTo>
                      <a:close/>
                      <a:moveTo>
                        <a:pt x="276" y="330"/>
                      </a:moveTo>
                      <a:lnTo>
                        <a:pt x="270" y="336"/>
                      </a:lnTo>
                      <a:lnTo>
                        <a:pt x="270" y="348"/>
                      </a:lnTo>
                      <a:lnTo>
                        <a:pt x="276" y="348"/>
                      </a:lnTo>
                      <a:lnTo>
                        <a:pt x="288" y="336"/>
                      </a:lnTo>
                      <a:lnTo>
                        <a:pt x="282" y="330"/>
                      </a:lnTo>
                      <a:lnTo>
                        <a:pt x="276" y="330"/>
                      </a:lnTo>
                      <a:close/>
                      <a:moveTo>
                        <a:pt x="186" y="432"/>
                      </a:moveTo>
                      <a:lnTo>
                        <a:pt x="180" y="438"/>
                      </a:lnTo>
                      <a:lnTo>
                        <a:pt x="180" y="450"/>
                      </a:lnTo>
                      <a:lnTo>
                        <a:pt x="186" y="456"/>
                      </a:lnTo>
                      <a:lnTo>
                        <a:pt x="198" y="444"/>
                      </a:lnTo>
                      <a:lnTo>
                        <a:pt x="198" y="438"/>
                      </a:lnTo>
                      <a:lnTo>
                        <a:pt x="192" y="432"/>
                      </a:lnTo>
                      <a:lnTo>
                        <a:pt x="186" y="432"/>
                      </a:lnTo>
                      <a:close/>
                      <a:moveTo>
                        <a:pt x="384" y="528"/>
                      </a:moveTo>
                      <a:lnTo>
                        <a:pt x="378" y="528"/>
                      </a:lnTo>
                      <a:lnTo>
                        <a:pt x="378" y="516"/>
                      </a:lnTo>
                      <a:lnTo>
                        <a:pt x="372" y="510"/>
                      </a:lnTo>
                      <a:lnTo>
                        <a:pt x="342" y="510"/>
                      </a:lnTo>
                      <a:lnTo>
                        <a:pt x="306" y="504"/>
                      </a:lnTo>
                      <a:lnTo>
                        <a:pt x="276" y="504"/>
                      </a:lnTo>
                      <a:lnTo>
                        <a:pt x="246" y="486"/>
                      </a:lnTo>
                      <a:lnTo>
                        <a:pt x="228" y="504"/>
                      </a:lnTo>
                      <a:lnTo>
                        <a:pt x="234" y="510"/>
                      </a:lnTo>
                      <a:lnTo>
                        <a:pt x="246" y="516"/>
                      </a:lnTo>
                      <a:lnTo>
                        <a:pt x="252" y="522"/>
                      </a:lnTo>
                      <a:lnTo>
                        <a:pt x="258" y="516"/>
                      </a:lnTo>
                      <a:lnTo>
                        <a:pt x="264" y="528"/>
                      </a:lnTo>
                      <a:lnTo>
                        <a:pt x="300" y="528"/>
                      </a:lnTo>
                      <a:lnTo>
                        <a:pt x="312" y="552"/>
                      </a:lnTo>
                      <a:lnTo>
                        <a:pt x="354" y="546"/>
                      </a:lnTo>
                      <a:lnTo>
                        <a:pt x="354" y="540"/>
                      </a:lnTo>
                      <a:lnTo>
                        <a:pt x="402" y="540"/>
                      </a:lnTo>
                      <a:lnTo>
                        <a:pt x="414" y="528"/>
                      </a:lnTo>
                      <a:lnTo>
                        <a:pt x="414" y="522"/>
                      </a:lnTo>
                      <a:lnTo>
                        <a:pt x="408" y="516"/>
                      </a:lnTo>
                      <a:lnTo>
                        <a:pt x="402" y="516"/>
                      </a:lnTo>
                      <a:lnTo>
                        <a:pt x="396" y="522"/>
                      </a:lnTo>
                      <a:lnTo>
                        <a:pt x="390" y="522"/>
                      </a:lnTo>
                      <a:lnTo>
                        <a:pt x="384" y="528"/>
                      </a:lnTo>
                      <a:close/>
                      <a:moveTo>
                        <a:pt x="420" y="408"/>
                      </a:moveTo>
                      <a:lnTo>
                        <a:pt x="408" y="408"/>
                      </a:lnTo>
                      <a:lnTo>
                        <a:pt x="408" y="420"/>
                      </a:lnTo>
                      <a:lnTo>
                        <a:pt x="420" y="420"/>
                      </a:lnTo>
                      <a:lnTo>
                        <a:pt x="426" y="414"/>
                      </a:lnTo>
                      <a:lnTo>
                        <a:pt x="420" y="408"/>
                      </a:lnTo>
                      <a:close/>
                      <a:moveTo>
                        <a:pt x="114" y="276"/>
                      </a:moveTo>
                      <a:lnTo>
                        <a:pt x="90" y="288"/>
                      </a:lnTo>
                      <a:lnTo>
                        <a:pt x="84" y="288"/>
                      </a:lnTo>
                      <a:lnTo>
                        <a:pt x="66" y="312"/>
                      </a:lnTo>
                      <a:lnTo>
                        <a:pt x="96" y="336"/>
                      </a:lnTo>
                      <a:lnTo>
                        <a:pt x="96" y="348"/>
                      </a:lnTo>
                      <a:lnTo>
                        <a:pt x="90" y="366"/>
                      </a:lnTo>
                      <a:lnTo>
                        <a:pt x="90" y="384"/>
                      </a:lnTo>
                      <a:lnTo>
                        <a:pt x="96" y="390"/>
                      </a:lnTo>
                      <a:lnTo>
                        <a:pt x="108" y="396"/>
                      </a:lnTo>
                      <a:lnTo>
                        <a:pt x="114" y="396"/>
                      </a:lnTo>
                      <a:lnTo>
                        <a:pt x="114" y="390"/>
                      </a:lnTo>
                      <a:lnTo>
                        <a:pt x="126" y="378"/>
                      </a:lnTo>
                      <a:lnTo>
                        <a:pt x="132" y="378"/>
                      </a:lnTo>
                      <a:lnTo>
                        <a:pt x="156" y="420"/>
                      </a:lnTo>
                      <a:lnTo>
                        <a:pt x="162" y="390"/>
                      </a:lnTo>
                      <a:lnTo>
                        <a:pt x="180" y="414"/>
                      </a:lnTo>
                      <a:lnTo>
                        <a:pt x="204" y="420"/>
                      </a:lnTo>
                      <a:lnTo>
                        <a:pt x="186" y="402"/>
                      </a:lnTo>
                      <a:lnTo>
                        <a:pt x="192" y="396"/>
                      </a:lnTo>
                      <a:lnTo>
                        <a:pt x="192" y="372"/>
                      </a:lnTo>
                      <a:lnTo>
                        <a:pt x="186" y="366"/>
                      </a:lnTo>
                      <a:lnTo>
                        <a:pt x="180" y="354"/>
                      </a:lnTo>
                      <a:lnTo>
                        <a:pt x="174" y="348"/>
                      </a:lnTo>
                      <a:lnTo>
                        <a:pt x="168" y="336"/>
                      </a:lnTo>
                      <a:lnTo>
                        <a:pt x="168" y="330"/>
                      </a:lnTo>
                      <a:lnTo>
                        <a:pt x="186" y="330"/>
                      </a:lnTo>
                      <a:lnTo>
                        <a:pt x="198" y="336"/>
                      </a:lnTo>
                      <a:lnTo>
                        <a:pt x="210" y="348"/>
                      </a:lnTo>
                      <a:lnTo>
                        <a:pt x="222" y="342"/>
                      </a:lnTo>
                      <a:lnTo>
                        <a:pt x="210" y="336"/>
                      </a:lnTo>
                      <a:lnTo>
                        <a:pt x="204" y="324"/>
                      </a:lnTo>
                      <a:lnTo>
                        <a:pt x="192" y="318"/>
                      </a:lnTo>
                      <a:lnTo>
                        <a:pt x="186" y="312"/>
                      </a:lnTo>
                      <a:lnTo>
                        <a:pt x="174" y="306"/>
                      </a:lnTo>
                      <a:lnTo>
                        <a:pt x="156" y="294"/>
                      </a:lnTo>
                      <a:lnTo>
                        <a:pt x="138" y="288"/>
                      </a:lnTo>
                      <a:lnTo>
                        <a:pt x="126" y="282"/>
                      </a:lnTo>
                      <a:lnTo>
                        <a:pt x="120" y="276"/>
                      </a:lnTo>
                      <a:lnTo>
                        <a:pt x="114" y="276"/>
                      </a:lnTo>
                      <a:close/>
                    </a:path>
                  </a:pathLst>
                </a:custGeom>
                <a:solidFill>
                  <a:schemeClr val="accent1"/>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634" name="Ghana"/>
                <p:cNvSpPr>
                  <a:spLocks/>
                </p:cNvSpPr>
                <p:nvPr/>
              </p:nvSpPr>
              <p:spPr bwMode="gray">
                <a:xfrm>
                  <a:off x="2592" y="2081"/>
                  <a:ext cx="83" cy="132"/>
                </a:xfrm>
                <a:custGeom>
                  <a:avLst/>
                  <a:gdLst>
                    <a:gd name="T0" fmla="*/ 2147483647 w 324"/>
                    <a:gd name="T1" fmla="*/ 2147483647 h 516"/>
                    <a:gd name="T2" fmla="*/ 2147483647 w 324"/>
                    <a:gd name="T3" fmla="*/ 2147483647 h 516"/>
                    <a:gd name="T4" fmla="*/ 2147483647 w 324"/>
                    <a:gd name="T5" fmla="*/ 2147483647 h 516"/>
                    <a:gd name="T6" fmla="*/ 2147483647 w 324"/>
                    <a:gd name="T7" fmla="*/ 2147483647 h 516"/>
                    <a:gd name="T8" fmla="*/ 2147483647 w 324"/>
                    <a:gd name="T9" fmla="*/ 2147483647 h 516"/>
                    <a:gd name="T10" fmla="*/ 2147483647 w 324"/>
                    <a:gd name="T11" fmla="*/ 2147483647 h 516"/>
                    <a:gd name="T12" fmla="*/ 2147483647 w 324"/>
                    <a:gd name="T13" fmla="*/ 2147483647 h 516"/>
                    <a:gd name="T14" fmla="*/ 2147483647 w 324"/>
                    <a:gd name="T15" fmla="*/ 2147483647 h 516"/>
                    <a:gd name="T16" fmla="*/ 2147483647 w 324"/>
                    <a:gd name="T17" fmla="*/ 2147483647 h 516"/>
                    <a:gd name="T18" fmla="*/ 2147483647 w 324"/>
                    <a:gd name="T19" fmla="*/ 2147483647 h 516"/>
                    <a:gd name="T20" fmla="*/ 2147483647 w 324"/>
                    <a:gd name="T21" fmla="*/ 2147483647 h 516"/>
                    <a:gd name="T22" fmla="*/ 2147483647 w 324"/>
                    <a:gd name="T23" fmla="*/ 2147483647 h 516"/>
                    <a:gd name="T24" fmla="*/ 2147483647 w 324"/>
                    <a:gd name="T25" fmla="*/ 2147483647 h 516"/>
                    <a:gd name="T26" fmla="*/ 2147483647 w 324"/>
                    <a:gd name="T27" fmla="*/ 0 h 516"/>
                    <a:gd name="T28" fmla="*/ 2147483647 w 324"/>
                    <a:gd name="T29" fmla="*/ 2147483647 h 516"/>
                    <a:gd name="T30" fmla="*/ 2147483647 w 324"/>
                    <a:gd name="T31" fmla="*/ 2147483647 h 516"/>
                    <a:gd name="T32" fmla="*/ 2147483647 w 324"/>
                    <a:gd name="T33" fmla="*/ 2147483647 h 516"/>
                    <a:gd name="T34" fmla="*/ 2147483647 w 324"/>
                    <a:gd name="T35" fmla="*/ 2147483647 h 516"/>
                    <a:gd name="T36" fmla="*/ 2147483647 w 324"/>
                    <a:gd name="T37" fmla="*/ 2147483647 h 516"/>
                    <a:gd name="T38" fmla="*/ 2147483647 w 324"/>
                    <a:gd name="T39" fmla="*/ 2147483647 h 516"/>
                    <a:gd name="T40" fmla="*/ 2147483647 w 324"/>
                    <a:gd name="T41" fmla="*/ 2147483647 h 516"/>
                    <a:gd name="T42" fmla="*/ 2147483647 w 324"/>
                    <a:gd name="T43" fmla="*/ 2147483647 h 516"/>
                    <a:gd name="T44" fmla="*/ 2147483647 w 324"/>
                    <a:gd name="T45" fmla="*/ 2147483647 h 516"/>
                    <a:gd name="T46" fmla="*/ 2147483647 w 324"/>
                    <a:gd name="T47" fmla="*/ 2147483647 h 516"/>
                    <a:gd name="T48" fmla="*/ 2147483647 w 324"/>
                    <a:gd name="T49" fmla="*/ 2147483647 h 516"/>
                    <a:gd name="T50" fmla="*/ 2147483647 w 324"/>
                    <a:gd name="T51" fmla="*/ 2147483647 h 516"/>
                    <a:gd name="T52" fmla="*/ 2147483647 w 324"/>
                    <a:gd name="T53" fmla="*/ 2147483647 h 516"/>
                    <a:gd name="T54" fmla="*/ 0 w 324"/>
                    <a:gd name="T55" fmla="*/ 2147483647 h 516"/>
                    <a:gd name="T56" fmla="*/ 2147483647 w 324"/>
                    <a:gd name="T57" fmla="*/ 2147483647 h 516"/>
                    <a:gd name="T58" fmla="*/ 2147483647 w 324"/>
                    <a:gd name="T59" fmla="*/ 2147483647 h 516"/>
                    <a:gd name="T60" fmla="*/ 2147483647 w 324"/>
                    <a:gd name="T61" fmla="*/ 2147483647 h 516"/>
                    <a:gd name="T62" fmla="*/ 2147483647 w 324"/>
                    <a:gd name="T63" fmla="*/ 2147483647 h 516"/>
                    <a:gd name="T64" fmla="*/ 2147483647 w 324"/>
                    <a:gd name="T65" fmla="*/ 2147483647 h 516"/>
                    <a:gd name="T66" fmla="*/ 2147483647 w 324"/>
                    <a:gd name="T67" fmla="*/ 2147483647 h 516"/>
                    <a:gd name="T68" fmla="*/ 2147483647 w 324"/>
                    <a:gd name="T69" fmla="*/ 2147483647 h 516"/>
                    <a:gd name="T70" fmla="*/ 2147483647 w 324"/>
                    <a:gd name="T71" fmla="*/ 2147483647 h 516"/>
                    <a:gd name="T72" fmla="*/ 2147483647 w 324"/>
                    <a:gd name="T73" fmla="*/ 2147483647 h 516"/>
                    <a:gd name="T74" fmla="*/ 2147483647 w 324"/>
                    <a:gd name="T75" fmla="*/ 2147483647 h 516"/>
                    <a:gd name="T76" fmla="*/ 2147483647 w 324"/>
                    <a:gd name="T77" fmla="*/ 2147483647 h 516"/>
                    <a:gd name="T78" fmla="*/ 2147483647 w 324"/>
                    <a:gd name="T79" fmla="*/ 2147483647 h 516"/>
                    <a:gd name="T80" fmla="*/ 2147483647 w 324"/>
                    <a:gd name="T81" fmla="*/ 2147483647 h 516"/>
                    <a:gd name="T82" fmla="*/ 2147483647 w 324"/>
                    <a:gd name="T83" fmla="*/ 2147483647 h 516"/>
                    <a:gd name="T84" fmla="*/ 2147483647 w 324"/>
                    <a:gd name="T85" fmla="*/ 2147483647 h 516"/>
                    <a:gd name="T86" fmla="*/ 2147483647 w 324"/>
                    <a:gd name="T87" fmla="*/ 2147483647 h 51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324"/>
                    <a:gd name="T133" fmla="*/ 0 h 516"/>
                    <a:gd name="T134" fmla="*/ 324 w 324"/>
                    <a:gd name="T135" fmla="*/ 516 h 51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324" h="516">
                      <a:moveTo>
                        <a:pt x="282" y="342"/>
                      </a:moveTo>
                      <a:lnTo>
                        <a:pt x="282" y="330"/>
                      </a:lnTo>
                      <a:lnTo>
                        <a:pt x="288" y="318"/>
                      </a:lnTo>
                      <a:lnTo>
                        <a:pt x="288" y="306"/>
                      </a:lnTo>
                      <a:lnTo>
                        <a:pt x="282" y="300"/>
                      </a:lnTo>
                      <a:lnTo>
                        <a:pt x="276" y="300"/>
                      </a:lnTo>
                      <a:lnTo>
                        <a:pt x="276" y="282"/>
                      </a:lnTo>
                      <a:lnTo>
                        <a:pt x="282" y="276"/>
                      </a:lnTo>
                      <a:lnTo>
                        <a:pt x="282" y="234"/>
                      </a:lnTo>
                      <a:lnTo>
                        <a:pt x="288" y="228"/>
                      </a:lnTo>
                      <a:lnTo>
                        <a:pt x="288" y="216"/>
                      </a:lnTo>
                      <a:lnTo>
                        <a:pt x="282" y="210"/>
                      </a:lnTo>
                      <a:lnTo>
                        <a:pt x="270" y="204"/>
                      </a:lnTo>
                      <a:lnTo>
                        <a:pt x="264" y="198"/>
                      </a:lnTo>
                      <a:lnTo>
                        <a:pt x="276" y="186"/>
                      </a:lnTo>
                      <a:lnTo>
                        <a:pt x="282" y="186"/>
                      </a:lnTo>
                      <a:lnTo>
                        <a:pt x="282" y="180"/>
                      </a:lnTo>
                      <a:lnTo>
                        <a:pt x="270" y="168"/>
                      </a:lnTo>
                      <a:lnTo>
                        <a:pt x="276" y="156"/>
                      </a:lnTo>
                      <a:lnTo>
                        <a:pt x="276" y="132"/>
                      </a:lnTo>
                      <a:lnTo>
                        <a:pt x="270" y="126"/>
                      </a:lnTo>
                      <a:lnTo>
                        <a:pt x="264" y="126"/>
                      </a:lnTo>
                      <a:lnTo>
                        <a:pt x="252" y="138"/>
                      </a:lnTo>
                      <a:lnTo>
                        <a:pt x="264" y="60"/>
                      </a:lnTo>
                      <a:lnTo>
                        <a:pt x="228" y="36"/>
                      </a:lnTo>
                      <a:lnTo>
                        <a:pt x="240" y="24"/>
                      </a:lnTo>
                      <a:lnTo>
                        <a:pt x="240" y="6"/>
                      </a:lnTo>
                      <a:lnTo>
                        <a:pt x="222" y="0"/>
                      </a:lnTo>
                      <a:lnTo>
                        <a:pt x="198" y="12"/>
                      </a:lnTo>
                      <a:lnTo>
                        <a:pt x="42" y="12"/>
                      </a:lnTo>
                      <a:lnTo>
                        <a:pt x="36" y="18"/>
                      </a:lnTo>
                      <a:lnTo>
                        <a:pt x="30" y="30"/>
                      </a:lnTo>
                      <a:lnTo>
                        <a:pt x="30" y="48"/>
                      </a:lnTo>
                      <a:lnTo>
                        <a:pt x="36" y="48"/>
                      </a:lnTo>
                      <a:lnTo>
                        <a:pt x="42" y="78"/>
                      </a:lnTo>
                      <a:lnTo>
                        <a:pt x="42" y="132"/>
                      </a:lnTo>
                      <a:lnTo>
                        <a:pt x="48" y="126"/>
                      </a:lnTo>
                      <a:lnTo>
                        <a:pt x="54" y="156"/>
                      </a:lnTo>
                      <a:lnTo>
                        <a:pt x="42" y="156"/>
                      </a:lnTo>
                      <a:lnTo>
                        <a:pt x="42" y="162"/>
                      </a:lnTo>
                      <a:lnTo>
                        <a:pt x="48" y="168"/>
                      </a:lnTo>
                      <a:lnTo>
                        <a:pt x="48" y="180"/>
                      </a:lnTo>
                      <a:lnTo>
                        <a:pt x="54" y="192"/>
                      </a:lnTo>
                      <a:lnTo>
                        <a:pt x="54" y="204"/>
                      </a:lnTo>
                      <a:lnTo>
                        <a:pt x="60" y="216"/>
                      </a:lnTo>
                      <a:lnTo>
                        <a:pt x="60" y="228"/>
                      </a:lnTo>
                      <a:lnTo>
                        <a:pt x="48" y="252"/>
                      </a:lnTo>
                      <a:lnTo>
                        <a:pt x="42" y="258"/>
                      </a:lnTo>
                      <a:lnTo>
                        <a:pt x="36" y="270"/>
                      </a:lnTo>
                      <a:lnTo>
                        <a:pt x="36" y="288"/>
                      </a:lnTo>
                      <a:lnTo>
                        <a:pt x="30" y="300"/>
                      </a:lnTo>
                      <a:lnTo>
                        <a:pt x="30" y="312"/>
                      </a:lnTo>
                      <a:lnTo>
                        <a:pt x="12" y="330"/>
                      </a:lnTo>
                      <a:lnTo>
                        <a:pt x="6" y="342"/>
                      </a:lnTo>
                      <a:lnTo>
                        <a:pt x="0" y="348"/>
                      </a:lnTo>
                      <a:lnTo>
                        <a:pt x="0" y="372"/>
                      </a:lnTo>
                      <a:lnTo>
                        <a:pt x="6" y="384"/>
                      </a:lnTo>
                      <a:lnTo>
                        <a:pt x="12" y="402"/>
                      </a:lnTo>
                      <a:lnTo>
                        <a:pt x="12" y="414"/>
                      </a:lnTo>
                      <a:lnTo>
                        <a:pt x="18" y="426"/>
                      </a:lnTo>
                      <a:lnTo>
                        <a:pt x="24" y="432"/>
                      </a:lnTo>
                      <a:lnTo>
                        <a:pt x="24" y="438"/>
                      </a:lnTo>
                      <a:lnTo>
                        <a:pt x="48" y="444"/>
                      </a:lnTo>
                      <a:lnTo>
                        <a:pt x="48" y="498"/>
                      </a:lnTo>
                      <a:lnTo>
                        <a:pt x="72" y="498"/>
                      </a:lnTo>
                      <a:lnTo>
                        <a:pt x="78" y="504"/>
                      </a:lnTo>
                      <a:lnTo>
                        <a:pt x="78" y="510"/>
                      </a:lnTo>
                      <a:lnTo>
                        <a:pt x="84" y="516"/>
                      </a:lnTo>
                      <a:lnTo>
                        <a:pt x="96" y="516"/>
                      </a:lnTo>
                      <a:lnTo>
                        <a:pt x="108" y="510"/>
                      </a:lnTo>
                      <a:lnTo>
                        <a:pt x="114" y="504"/>
                      </a:lnTo>
                      <a:lnTo>
                        <a:pt x="132" y="492"/>
                      </a:lnTo>
                      <a:lnTo>
                        <a:pt x="138" y="486"/>
                      </a:lnTo>
                      <a:lnTo>
                        <a:pt x="150" y="480"/>
                      </a:lnTo>
                      <a:lnTo>
                        <a:pt x="180" y="480"/>
                      </a:lnTo>
                      <a:lnTo>
                        <a:pt x="186" y="474"/>
                      </a:lnTo>
                      <a:lnTo>
                        <a:pt x="198" y="468"/>
                      </a:lnTo>
                      <a:lnTo>
                        <a:pt x="216" y="450"/>
                      </a:lnTo>
                      <a:lnTo>
                        <a:pt x="228" y="450"/>
                      </a:lnTo>
                      <a:lnTo>
                        <a:pt x="234" y="444"/>
                      </a:lnTo>
                      <a:lnTo>
                        <a:pt x="240" y="444"/>
                      </a:lnTo>
                      <a:lnTo>
                        <a:pt x="258" y="426"/>
                      </a:lnTo>
                      <a:lnTo>
                        <a:pt x="270" y="426"/>
                      </a:lnTo>
                      <a:lnTo>
                        <a:pt x="276" y="432"/>
                      </a:lnTo>
                      <a:lnTo>
                        <a:pt x="294" y="432"/>
                      </a:lnTo>
                      <a:lnTo>
                        <a:pt x="306" y="426"/>
                      </a:lnTo>
                      <a:lnTo>
                        <a:pt x="324" y="408"/>
                      </a:lnTo>
                      <a:lnTo>
                        <a:pt x="294" y="384"/>
                      </a:lnTo>
                      <a:lnTo>
                        <a:pt x="282" y="342"/>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635" name="Germany"/>
                <p:cNvSpPr>
                  <a:spLocks/>
                </p:cNvSpPr>
                <p:nvPr/>
              </p:nvSpPr>
              <p:spPr bwMode="gray">
                <a:xfrm>
                  <a:off x="2770" y="1186"/>
                  <a:ext cx="144" cy="151"/>
                </a:xfrm>
                <a:custGeom>
                  <a:avLst/>
                  <a:gdLst>
                    <a:gd name="T0" fmla="*/ 2147483647 w 564"/>
                    <a:gd name="T1" fmla="*/ 2147483647 h 588"/>
                    <a:gd name="T2" fmla="*/ 2147483647 w 564"/>
                    <a:gd name="T3" fmla="*/ 2147483647 h 588"/>
                    <a:gd name="T4" fmla="*/ 2147483647 w 564"/>
                    <a:gd name="T5" fmla="*/ 2147483647 h 588"/>
                    <a:gd name="T6" fmla="*/ 2147483647 w 564"/>
                    <a:gd name="T7" fmla="*/ 2147483647 h 588"/>
                    <a:gd name="T8" fmla="*/ 2147483647 w 564"/>
                    <a:gd name="T9" fmla="*/ 2147483647 h 588"/>
                    <a:gd name="T10" fmla="*/ 2147483647 w 564"/>
                    <a:gd name="T11" fmla="*/ 2147483647 h 588"/>
                    <a:gd name="T12" fmla="*/ 2147483647 w 564"/>
                    <a:gd name="T13" fmla="*/ 2147483647 h 588"/>
                    <a:gd name="T14" fmla="*/ 2147483647 w 564"/>
                    <a:gd name="T15" fmla="*/ 2147483647 h 588"/>
                    <a:gd name="T16" fmla="*/ 2147483647 w 564"/>
                    <a:gd name="T17" fmla="*/ 2147483647 h 588"/>
                    <a:gd name="T18" fmla="*/ 2147483647 w 564"/>
                    <a:gd name="T19" fmla="*/ 2147483647 h 588"/>
                    <a:gd name="T20" fmla="*/ 2147483647 w 564"/>
                    <a:gd name="T21" fmla="*/ 2147483647 h 588"/>
                    <a:gd name="T22" fmla="*/ 2147483647 w 564"/>
                    <a:gd name="T23" fmla="*/ 2147483647 h 588"/>
                    <a:gd name="T24" fmla="*/ 2147483647 w 564"/>
                    <a:gd name="T25" fmla="*/ 2147483647 h 588"/>
                    <a:gd name="T26" fmla="*/ 2147483647 w 564"/>
                    <a:gd name="T27" fmla="*/ 2147483647 h 588"/>
                    <a:gd name="T28" fmla="*/ 2147483647 w 564"/>
                    <a:gd name="T29" fmla="*/ 2147483647 h 588"/>
                    <a:gd name="T30" fmla="*/ 2147483647 w 564"/>
                    <a:gd name="T31" fmla="*/ 2147483647 h 588"/>
                    <a:gd name="T32" fmla="*/ 2147483647 w 564"/>
                    <a:gd name="T33" fmla="*/ 2147483647 h 588"/>
                    <a:gd name="T34" fmla="*/ 2147483647 w 564"/>
                    <a:gd name="T35" fmla="*/ 2147483647 h 588"/>
                    <a:gd name="T36" fmla="*/ 2147483647 w 564"/>
                    <a:gd name="T37" fmla="*/ 2147483647 h 588"/>
                    <a:gd name="T38" fmla="*/ 2147483647 w 564"/>
                    <a:gd name="T39" fmla="*/ 2147483647 h 588"/>
                    <a:gd name="T40" fmla="*/ 2147483647 w 564"/>
                    <a:gd name="T41" fmla="*/ 2147483647 h 588"/>
                    <a:gd name="T42" fmla="*/ 2147483647 w 564"/>
                    <a:gd name="T43" fmla="*/ 2147483647 h 588"/>
                    <a:gd name="T44" fmla="*/ 2147483647 w 564"/>
                    <a:gd name="T45" fmla="*/ 2147483647 h 588"/>
                    <a:gd name="T46" fmla="*/ 2147483647 w 564"/>
                    <a:gd name="T47" fmla="*/ 2147483647 h 588"/>
                    <a:gd name="T48" fmla="*/ 2147483647 w 564"/>
                    <a:gd name="T49" fmla="*/ 2147483647 h 588"/>
                    <a:gd name="T50" fmla="*/ 2147483647 w 564"/>
                    <a:gd name="T51" fmla="*/ 2147483647 h 588"/>
                    <a:gd name="T52" fmla="*/ 2147483647 w 564"/>
                    <a:gd name="T53" fmla="*/ 2147483647 h 588"/>
                    <a:gd name="T54" fmla="*/ 2147483647 w 564"/>
                    <a:gd name="T55" fmla="*/ 2147483647 h 588"/>
                    <a:gd name="T56" fmla="*/ 2147483647 w 564"/>
                    <a:gd name="T57" fmla="*/ 2147483647 h 588"/>
                    <a:gd name="T58" fmla="*/ 2147483647 w 564"/>
                    <a:gd name="T59" fmla="*/ 2147483647 h 588"/>
                    <a:gd name="T60" fmla="*/ 2147483647 w 564"/>
                    <a:gd name="T61" fmla="*/ 2147483647 h 588"/>
                    <a:gd name="T62" fmla="*/ 2147483647 w 564"/>
                    <a:gd name="T63" fmla="*/ 2147483647 h 588"/>
                    <a:gd name="T64" fmla="*/ 2147483647 w 564"/>
                    <a:gd name="T65" fmla="*/ 2147483647 h 588"/>
                    <a:gd name="T66" fmla="*/ 2147483647 w 564"/>
                    <a:gd name="T67" fmla="*/ 2147483647 h 588"/>
                    <a:gd name="T68" fmla="*/ 2147483647 w 564"/>
                    <a:gd name="T69" fmla="*/ 2147483647 h 588"/>
                    <a:gd name="T70" fmla="*/ 2147483647 w 564"/>
                    <a:gd name="T71" fmla="*/ 2147483647 h 588"/>
                    <a:gd name="T72" fmla="*/ 2147483647 w 564"/>
                    <a:gd name="T73" fmla="*/ 2147483647 h 588"/>
                    <a:gd name="T74" fmla="*/ 2147483647 w 564"/>
                    <a:gd name="T75" fmla="*/ 2147483647 h 588"/>
                    <a:gd name="T76" fmla="*/ 2147483647 w 564"/>
                    <a:gd name="T77" fmla="*/ 2147483647 h 588"/>
                    <a:gd name="T78" fmla="*/ 2147483647 w 564"/>
                    <a:gd name="T79" fmla="*/ 2147483647 h 588"/>
                    <a:gd name="T80" fmla="*/ 2147483647 w 564"/>
                    <a:gd name="T81" fmla="*/ 2147483647 h 588"/>
                    <a:gd name="T82" fmla="*/ 2147483647 w 564"/>
                    <a:gd name="T83" fmla="*/ 0 h 588"/>
                    <a:gd name="T84" fmla="*/ 2147483647 w 564"/>
                    <a:gd name="T85" fmla="*/ 2147483647 h 588"/>
                    <a:gd name="T86" fmla="*/ 2147483647 w 564"/>
                    <a:gd name="T87" fmla="*/ 2147483647 h 588"/>
                    <a:gd name="T88" fmla="*/ 2147483647 w 564"/>
                    <a:gd name="T89" fmla="*/ 2147483647 h 588"/>
                    <a:gd name="T90" fmla="*/ 2147483647 w 564"/>
                    <a:gd name="T91" fmla="*/ 2147483647 h 588"/>
                    <a:gd name="T92" fmla="*/ 2147483647 w 564"/>
                    <a:gd name="T93" fmla="*/ 2147483647 h 588"/>
                    <a:gd name="T94" fmla="*/ 2147483647 w 564"/>
                    <a:gd name="T95" fmla="*/ 2147483647 h 588"/>
                    <a:gd name="T96" fmla="*/ 2147483647 w 564"/>
                    <a:gd name="T97" fmla="*/ 2147483647 h 588"/>
                    <a:gd name="T98" fmla="*/ 2147483647 w 564"/>
                    <a:gd name="T99" fmla="*/ 2147483647 h 588"/>
                    <a:gd name="T100" fmla="*/ 2147483647 w 564"/>
                    <a:gd name="T101" fmla="*/ 2147483647 h 588"/>
                    <a:gd name="T102" fmla="*/ 2147483647 w 564"/>
                    <a:gd name="T103" fmla="*/ 2147483647 h 588"/>
                    <a:gd name="T104" fmla="*/ 0 w 564"/>
                    <a:gd name="T105" fmla="*/ 2147483647 h 588"/>
                    <a:gd name="T106" fmla="*/ 2147483647 w 564"/>
                    <a:gd name="T107" fmla="*/ 2147483647 h 588"/>
                    <a:gd name="T108" fmla="*/ 2147483647 w 564"/>
                    <a:gd name="T109" fmla="*/ 2147483647 h 588"/>
                    <a:gd name="T110" fmla="*/ 2147483647 w 564"/>
                    <a:gd name="T111" fmla="*/ 2147483647 h 58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64"/>
                    <a:gd name="T169" fmla="*/ 0 h 588"/>
                    <a:gd name="T170" fmla="*/ 564 w 564"/>
                    <a:gd name="T171" fmla="*/ 588 h 58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64" h="588">
                      <a:moveTo>
                        <a:pt x="30" y="414"/>
                      </a:moveTo>
                      <a:lnTo>
                        <a:pt x="30" y="420"/>
                      </a:lnTo>
                      <a:lnTo>
                        <a:pt x="36" y="420"/>
                      </a:lnTo>
                      <a:lnTo>
                        <a:pt x="36" y="444"/>
                      </a:lnTo>
                      <a:lnTo>
                        <a:pt x="60" y="444"/>
                      </a:lnTo>
                      <a:lnTo>
                        <a:pt x="60" y="450"/>
                      </a:lnTo>
                      <a:lnTo>
                        <a:pt x="72" y="450"/>
                      </a:lnTo>
                      <a:lnTo>
                        <a:pt x="84" y="444"/>
                      </a:lnTo>
                      <a:lnTo>
                        <a:pt x="96" y="444"/>
                      </a:lnTo>
                      <a:lnTo>
                        <a:pt x="96" y="450"/>
                      </a:lnTo>
                      <a:lnTo>
                        <a:pt x="120" y="450"/>
                      </a:lnTo>
                      <a:lnTo>
                        <a:pt x="138" y="456"/>
                      </a:lnTo>
                      <a:lnTo>
                        <a:pt x="132" y="468"/>
                      </a:lnTo>
                      <a:lnTo>
                        <a:pt x="114" y="486"/>
                      </a:lnTo>
                      <a:lnTo>
                        <a:pt x="114" y="498"/>
                      </a:lnTo>
                      <a:lnTo>
                        <a:pt x="108" y="510"/>
                      </a:lnTo>
                      <a:lnTo>
                        <a:pt x="102" y="516"/>
                      </a:lnTo>
                      <a:lnTo>
                        <a:pt x="96" y="528"/>
                      </a:lnTo>
                      <a:lnTo>
                        <a:pt x="96" y="570"/>
                      </a:lnTo>
                      <a:lnTo>
                        <a:pt x="132" y="570"/>
                      </a:lnTo>
                      <a:lnTo>
                        <a:pt x="150" y="564"/>
                      </a:lnTo>
                      <a:lnTo>
                        <a:pt x="156" y="570"/>
                      </a:lnTo>
                      <a:lnTo>
                        <a:pt x="150" y="564"/>
                      </a:lnTo>
                      <a:lnTo>
                        <a:pt x="150" y="552"/>
                      </a:lnTo>
                      <a:lnTo>
                        <a:pt x="156" y="546"/>
                      </a:lnTo>
                      <a:lnTo>
                        <a:pt x="162" y="546"/>
                      </a:lnTo>
                      <a:lnTo>
                        <a:pt x="174" y="552"/>
                      </a:lnTo>
                      <a:lnTo>
                        <a:pt x="180" y="558"/>
                      </a:lnTo>
                      <a:lnTo>
                        <a:pt x="192" y="558"/>
                      </a:lnTo>
                      <a:lnTo>
                        <a:pt x="210" y="564"/>
                      </a:lnTo>
                      <a:lnTo>
                        <a:pt x="216" y="576"/>
                      </a:lnTo>
                      <a:lnTo>
                        <a:pt x="252" y="576"/>
                      </a:lnTo>
                      <a:lnTo>
                        <a:pt x="258" y="582"/>
                      </a:lnTo>
                      <a:lnTo>
                        <a:pt x="258" y="588"/>
                      </a:lnTo>
                      <a:lnTo>
                        <a:pt x="270" y="588"/>
                      </a:lnTo>
                      <a:lnTo>
                        <a:pt x="276" y="582"/>
                      </a:lnTo>
                      <a:lnTo>
                        <a:pt x="276" y="570"/>
                      </a:lnTo>
                      <a:lnTo>
                        <a:pt x="294" y="570"/>
                      </a:lnTo>
                      <a:lnTo>
                        <a:pt x="312" y="588"/>
                      </a:lnTo>
                      <a:lnTo>
                        <a:pt x="330" y="588"/>
                      </a:lnTo>
                      <a:lnTo>
                        <a:pt x="336" y="582"/>
                      </a:lnTo>
                      <a:lnTo>
                        <a:pt x="354" y="570"/>
                      </a:lnTo>
                      <a:lnTo>
                        <a:pt x="372" y="570"/>
                      </a:lnTo>
                      <a:lnTo>
                        <a:pt x="390" y="558"/>
                      </a:lnTo>
                      <a:lnTo>
                        <a:pt x="402" y="564"/>
                      </a:lnTo>
                      <a:lnTo>
                        <a:pt x="420" y="570"/>
                      </a:lnTo>
                      <a:lnTo>
                        <a:pt x="432" y="582"/>
                      </a:lnTo>
                      <a:lnTo>
                        <a:pt x="438" y="582"/>
                      </a:lnTo>
                      <a:lnTo>
                        <a:pt x="438" y="540"/>
                      </a:lnTo>
                      <a:lnTo>
                        <a:pt x="426" y="540"/>
                      </a:lnTo>
                      <a:lnTo>
                        <a:pt x="426" y="534"/>
                      </a:lnTo>
                      <a:lnTo>
                        <a:pt x="432" y="528"/>
                      </a:lnTo>
                      <a:lnTo>
                        <a:pt x="432" y="522"/>
                      </a:lnTo>
                      <a:lnTo>
                        <a:pt x="438" y="516"/>
                      </a:lnTo>
                      <a:lnTo>
                        <a:pt x="456" y="516"/>
                      </a:lnTo>
                      <a:lnTo>
                        <a:pt x="462" y="522"/>
                      </a:lnTo>
                      <a:lnTo>
                        <a:pt x="468" y="522"/>
                      </a:lnTo>
                      <a:lnTo>
                        <a:pt x="468" y="504"/>
                      </a:lnTo>
                      <a:lnTo>
                        <a:pt x="462" y="492"/>
                      </a:lnTo>
                      <a:lnTo>
                        <a:pt x="480" y="492"/>
                      </a:lnTo>
                      <a:lnTo>
                        <a:pt x="486" y="474"/>
                      </a:lnTo>
                      <a:lnTo>
                        <a:pt x="486" y="462"/>
                      </a:lnTo>
                      <a:lnTo>
                        <a:pt x="480" y="462"/>
                      </a:lnTo>
                      <a:lnTo>
                        <a:pt x="474" y="456"/>
                      </a:lnTo>
                      <a:lnTo>
                        <a:pt x="462" y="456"/>
                      </a:lnTo>
                      <a:lnTo>
                        <a:pt x="456" y="444"/>
                      </a:lnTo>
                      <a:lnTo>
                        <a:pt x="450" y="444"/>
                      </a:lnTo>
                      <a:lnTo>
                        <a:pt x="444" y="432"/>
                      </a:lnTo>
                      <a:lnTo>
                        <a:pt x="432" y="432"/>
                      </a:lnTo>
                      <a:lnTo>
                        <a:pt x="420" y="426"/>
                      </a:lnTo>
                      <a:lnTo>
                        <a:pt x="420" y="420"/>
                      </a:lnTo>
                      <a:lnTo>
                        <a:pt x="414" y="420"/>
                      </a:lnTo>
                      <a:lnTo>
                        <a:pt x="408" y="408"/>
                      </a:lnTo>
                      <a:lnTo>
                        <a:pt x="396" y="396"/>
                      </a:lnTo>
                      <a:lnTo>
                        <a:pt x="396" y="390"/>
                      </a:lnTo>
                      <a:lnTo>
                        <a:pt x="402" y="390"/>
                      </a:lnTo>
                      <a:lnTo>
                        <a:pt x="408" y="384"/>
                      </a:lnTo>
                      <a:lnTo>
                        <a:pt x="396" y="372"/>
                      </a:lnTo>
                      <a:lnTo>
                        <a:pt x="390" y="372"/>
                      </a:lnTo>
                      <a:lnTo>
                        <a:pt x="384" y="366"/>
                      </a:lnTo>
                      <a:lnTo>
                        <a:pt x="384" y="354"/>
                      </a:lnTo>
                      <a:lnTo>
                        <a:pt x="390" y="354"/>
                      </a:lnTo>
                      <a:lnTo>
                        <a:pt x="390" y="360"/>
                      </a:lnTo>
                      <a:lnTo>
                        <a:pt x="402" y="360"/>
                      </a:lnTo>
                      <a:lnTo>
                        <a:pt x="402" y="354"/>
                      </a:lnTo>
                      <a:lnTo>
                        <a:pt x="414" y="354"/>
                      </a:lnTo>
                      <a:lnTo>
                        <a:pt x="414" y="348"/>
                      </a:lnTo>
                      <a:lnTo>
                        <a:pt x="420" y="342"/>
                      </a:lnTo>
                      <a:lnTo>
                        <a:pt x="426" y="342"/>
                      </a:lnTo>
                      <a:lnTo>
                        <a:pt x="438" y="348"/>
                      </a:lnTo>
                      <a:lnTo>
                        <a:pt x="450" y="336"/>
                      </a:lnTo>
                      <a:lnTo>
                        <a:pt x="468" y="330"/>
                      </a:lnTo>
                      <a:lnTo>
                        <a:pt x="468" y="324"/>
                      </a:lnTo>
                      <a:lnTo>
                        <a:pt x="492" y="324"/>
                      </a:lnTo>
                      <a:lnTo>
                        <a:pt x="492" y="318"/>
                      </a:lnTo>
                      <a:lnTo>
                        <a:pt x="510" y="318"/>
                      </a:lnTo>
                      <a:lnTo>
                        <a:pt x="510" y="312"/>
                      </a:lnTo>
                      <a:lnTo>
                        <a:pt x="516" y="306"/>
                      </a:lnTo>
                      <a:lnTo>
                        <a:pt x="522" y="306"/>
                      </a:lnTo>
                      <a:lnTo>
                        <a:pt x="528" y="300"/>
                      </a:lnTo>
                      <a:lnTo>
                        <a:pt x="540" y="312"/>
                      </a:lnTo>
                      <a:lnTo>
                        <a:pt x="552" y="312"/>
                      </a:lnTo>
                      <a:lnTo>
                        <a:pt x="558" y="300"/>
                      </a:lnTo>
                      <a:lnTo>
                        <a:pt x="558" y="294"/>
                      </a:lnTo>
                      <a:lnTo>
                        <a:pt x="564" y="288"/>
                      </a:lnTo>
                      <a:lnTo>
                        <a:pt x="564" y="282"/>
                      </a:lnTo>
                      <a:lnTo>
                        <a:pt x="552" y="282"/>
                      </a:lnTo>
                      <a:lnTo>
                        <a:pt x="558" y="276"/>
                      </a:lnTo>
                      <a:lnTo>
                        <a:pt x="558" y="264"/>
                      </a:lnTo>
                      <a:lnTo>
                        <a:pt x="552" y="264"/>
                      </a:lnTo>
                      <a:lnTo>
                        <a:pt x="546" y="270"/>
                      </a:lnTo>
                      <a:lnTo>
                        <a:pt x="546" y="252"/>
                      </a:lnTo>
                      <a:lnTo>
                        <a:pt x="540" y="246"/>
                      </a:lnTo>
                      <a:lnTo>
                        <a:pt x="534" y="246"/>
                      </a:lnTo>
                      <a:lnTo>
                        <a:pt x="528" y="240"/>
                      </a:lnTo>
                      <a:lnTo>
                        <a:pt x="528" y="234"/>
                      </a:lnTo>
                      <a:lnTo>
                        <a:pt x="540" y="228"/>
                      </a:lnTo>
                      <a:lnTo>
                        <a:pt x="546" y="222"/>
                      </a:lnTo>
                      <a:lnTo>
                        <a:pt x="540" y="216"/>
                      </a:lnTo>
                      <a:lnTo>
                        <a:pt x="534" y="216"/>
                      </a:lnTo>
                      <a:lnTo>
                        <a:pt x="540" y="210"/>
                      </a:lnTo>
                      <a:lnTo>
                        <a:pt x="540" y="204"/>
                      </a:lnTo>
                      <a:lnTo>
                        <a:pt x="528" y="204"/>
                      </a:lnTo>
                      <a:lnTo>
                        <a:pt x="528" y="192"/>
                      </a:lnTo>
                      <a:lnTo>
                        <a:pt x="534" y="192"/>
                      </a:lnTo>
                      <a:lnTo>
                        <a:pt x="534" y="174"/>
                      </a:lnTo>
                      <a:lnTo>
                        <a:pt x="522" y="174"/>
                      </a:lnTo>
                      <a:lnTo>
                        <a:pt x="516" y="168"/>
                      </a:lnTo>
                      <a:lnTo>
                        <a:pt x="510" y="168"/>
                      </a:lnTo>
                      <a:lnTo>
                        <a:pt x="504" y="162"/>
                      </a:lnTo>
                      <a:lnTo>
                        <a:pt x="504" y="150"/>
                      </a:lnTo>
                      <a:lnTo>
                        <a:pt x="510" y="150"/>
                      </a:lnTo>
                      <a:lnTo>
                        <a:pt x="522" y="138"/>
                      </a:lnTo>
                      <a:lnTo>
                        <a:pt x="522" y="120"/>
                      </a:lnTo>
                      <a:lnTo>
                        <a:pt x="516" y="114"/>
                      </a:lnTo>
                      <a:lnTo>
                        <a:pt x="510" y="114"/>
                      </a:lnTo>
                      <a:lnTo>
                        <a:pt x="510" y="96"/>
                      </a:lnTo>
                      <a:lnTo>
                        <a:pt x="504" y="90"/>
                      </a:lnTo>
                      <a:lnTo>
                        <a:pt x="486" y="84"/>
                      </a:lnTo>
                      <a:lnTo>
                        <a:pt x="486" y="78"/>
                      </a:lnTo>
                      <a:lnTo>
                        <a:pt x="480" y="66"/>
                      </a:lnTo>
                      <a:lnTo>
                        <a:pt x="474" y="60"/>
                      </a:lnTo>
                      <a:lnTo>
                        <a:pt x="456" y="60"/>
                      </a:lnTo>
                      <a:lnTo>
                        <a:pt x="450" y="54"/>
                      </a:lnTo>
                      <a:lnTo>
                        <a:pt x="444" y="54"/>
                      </a:lnTo>
                      <a:lnTo>
                        <a:pt x="438" y="48"/>
                      </a:lnTo>
                      <a:lnTo>
                        <a:pt x="426" y="48"/>
                      </a:lnTo>
                      <a:lnTo>
                        <a:pt x="420" y="42"/>
                      </a:lnTo>
                      <a:lnTo>
                        <a:pt x="396" y="42"/>
                      </a:lnTo>
                      <a:lnTo>
                        <a:pt x="384" y="54"/>
                      </a:lnTo>
                      <a:lnTo>
                        <a:pt x="342" y="54"/>
                      </a:lnTo>
                      <a:lnTo>
                        <a:pt x="342" y="72"/>
                      </a:lnTo>
                      <a:lnTo>
                        <a:pt x="300" y="72"/>
                      </a:lnTo>
                      <a:lnTo>
                        <a:pt x="300" y="60"/>
                      </a:lnTo>
                      <a:lnTo>
                        <a:pt x="312" y="48"/>
                      </a:lnTo>
                      <a:lnTo>
                        <a:pt x="312" y="42"/>
                      </a:lnTo>
                      <a:lnTo>
                        <a:pt x="318" y="30"/>
                      </a:lnTo>
                      <a:lnTo>
                        <a:pt x="294" y="42"/>
                      </a:lnTo>
                      <a:lnTo>
                        <a:pt x="252" y="36"/>
                      </a:lnTo>
                      <a:lnTo>
                        <a:pt x="246" y="30"/>
                      </a:lnTo>
                      <a:lnTo>
                        <a:pt x="246" y="18"/>
                      </a:lnTo>
                      <a:lnTo>
                        <a:pt x="240" y="6"/>
                      </a:lnTo>
                      <a:lnTo>
                        <a:pt x="234" y="6"/>
                      </a:lnTo>
                      <a:lnTo>
                        <a:pt x="234" y="12"/>
                      </a:lnTo>
                      <a:lnTo>
                        <a:pt x="228" y="6"/>
                      </a:lnTo>
                      <a:lnTo>
                        <a:pt x="204" y="6"/>
                      </a:lnTo>
                      <a:lnTo>
                        <a:pt x="198" y="0"/>
                      </a:lnTo>
                      <a:lnTo>
                        <a:pt x="168" y="0"/>
                      </a:lnTo>
                      <a:lnTo>
                        <a:pt x="192" y="36"/>
                      </a:lnTo>
                      <a:lnTo>
                        <a:pt x="180" y="48"/>
                      </a:lnTo>
                      <a:lnTo>
                        <a:pt x="198" y="72"/>
                      </a:lnTo>
                      <a:lnTo>
                        <a:pt x="216" y="90"/>
                      </a:lnTo>
                      <a:lnTo>
                        <a:pt x="186" y="78"/>
                      </a:lnTo>
                      <a:lnTo>
                        <a:pt x="162" y="84"/>
                      </a:lnTo>
                      <a:lnTo>
                        <a:pt x="162" y="108"/>
                      </a:lnTo>
                      <a:lnTo>
                        <a:pt x="132" y="108"/>
                      </a:lnTo>
                      <a:lnTo>
                        <a:pt x="126" y="96"/>
                      </a:lnTo>
                      <a:lnTo>
                        <a:pt x="84" y="96"/>
                      </a:lnTo>
                      <a:lnTo>
                        <a:pt x="84" y="126"/>
                      </a:lnTo>
                      <a:lnTo>
                        <a:pt x="90" y="126"/>
                      </a:lnTo>
                      <a:lnTo>
                        <a:pt x="84" y="132"/>
                      </a:lnTo>
                      <a:lnTo>
                        <a:pt x="90" y="144"/>
                      </a:lnTo>
                      <a:lnTo>
                        <a:pt x="78" y="150"/>
                      </a:lnTo>
                      <a:lnTo>
                        <a:pt x="72" y="150"/>
                      </a:lnTo>
                      <a:lnTo>
                        <a:pt x="72" y="168"/>
                      </a:lnTo>
                      <a:lnTo>
                        <a:pt x="78" y="174"/>
                      </a:lnTo>
                      <a:lnTo>
                        <a:pt x="66" y="174"/>
                      </a:lnTo>
                      <a:lnTo>
                        <a:pt x="54" y="180"/>
                      </a:lnTo>
                      <a:lnTo>
                        <a:pt x="48" y="180"/>
                      </a:lnTo>
                      <a:lnTo>
                        <a:pt x="48" y="186"/>
                      </a:lnTo>
                      <a:lnTo>
                        <a:pt x="54" y="192"/>
                      </a:lnTo>
                      <a:lnTo>
                        <a:pt x="60" y="192"/>
                      </a:lnTo>
                      <a:lnTo>
                        <a:pt x="72" y="204"/>
                      </a:lnTo>
                      <a:lnTo>
                        <a:pt x="72" y="210"/>
                      </a:lnTo>
                      <a:lnTo>
                        <a:pt x="66" y="210"/>
                      </a:lnTo>
                      <a:lnTo>
                        <a:pt x="60" y="216"/>
                      </a:lnTo>
                      <a:lnTo>
                        <a:pt x="54" y="228"/>
                      </a:lnTo>
                      <a:lnTo>
                        <a:pt x="48" y="228"/>
                      </a:lnTo>
                      <a:lnTo>
                        <a:pt x="42" y="234"/>
                      </a:lnTo>
                      <a:lnTo>
                        <a:pt x="42" y="240"/>
                      </a:lnTo>
                      <a:lnTo>
                        <a:pt x="18" y="240"/>
                      </a:lnTo>
                      <a:lnTo>
                        <a:pt x="12" y="234"/>
                      </a:lnTo>
                      <a:lnTo>
                        <a:pt x="6" y="234"/>
                      </a:lnTo>
                      <a:lnTo>
                        <a:pt x="12" y="258"/>
                      </a:lnTo>
                      <a:lnTo>
                        <a:pt x="12" y="264"/>
                      </a:lnTo>
                      <a:lnTo>
                        <a:pt x="18" y="270"/>
                      </a:lnTo>
                      <a:lnTo>
                        <a:pt x="18" y="276"/>
                      </a:lnTo>
                      <a:lnTo>
                        <a:pt x="6" y="282"/>
                      </a:lnTo>
                      <a:lnTo>
                        <a:pt x="0" y="288"/>
                      </a:lnTo>
                      <a:lnTo>
                        <a:pt x="6" y="294"/>
                      </a:lnTo>
                      <a:lnTo>
                        <a:pt x="6" y="306"/>
                      </a:lnTo>
                      <a:lnTo>
                        <a:pt x="0" y="312"/>
                      </a:lnTo>
                      <a:lnTo>
                        <a:pt x="0" y="324"/>
                      </a:lnTo>
                      <a:lnTo>
                        <a:pt x="12" y="324"/>
                      </a:lnTo>
                      <a:lnTo>
                        <a:pt x="24" y="336"/>
                      </a:lnTo>
                      <a:lnTo>
                        <a:pt x="24" y="354"/>
                      </a:lnTo>
                      <a:lnTo>
                        <a:pt x="30" y="360"/>
                      </a:lnTo>
                      <a:lnTo>
                        <a:pt x="18" y="360"/>
                      </a:lnTo>
                      <a:lnTo>
                        <a:pt x="12" y="366"/>
                      </a:lnTo>
                      <a:lnTo>
                        <a:pt x="12" y="384"/>
                      </a:lnTo>
                      <a:lnTo>
                        <a:pt x="18" y="390"/>
                      </a:lnTo>
                      <a:lnTo>
                        <a:pt x="24" y="390"/>
                      </a:lnTo>
                      <a:lnTo>
                        <a:pt x="36" y="396"/>
                      </a:lnTo>
                      <a:lnTo>
                        <a:pt x="36" y="408"/>
                      </a:lnTo>
                      <a:lnTo>
                        <a:pt x="30" y="414"/>
                      </a:lnTo>
                      <a:close/>
                    </a:path>
                  </a:pathLst>
                </a:custGeom>
                <a:solidFill>
                  <a:schemeClr val="accent1"/>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636" name="Georgia"/>
                <p:cNvSpPr>
                  <a:spLocks/>
                </p:cNvSpPr>
                <p:nvPr/>
              </p:nvSpPr>
              <p:spPr bwMode="gray">
                <a:xfrm>
                  <a:off x="3329" y="1412"/>
                  <a:ext cx="118" cy="54"/>
                </a:xfrm>
                <a:custGeom>
                  <a:avLst/>
                  <a:gdLst>
                    <a:gd name="T0" fmla="*/ 2147483647 w 462"/>
                    <a:gd name="T1" fmla="*/ 2147483647 h 210"/>
                    <a:gd name="T2" fmla="*/ 2147483647 w 462"/>
                    <a:gd name="T3" fmla="*/ 2147483647 h 210"/>
                    <a:gd name="T4" fmla="*/ 2147483647 w 462"/>
                    <a:gd name="T5" fmla="*/ 2147483647 h 210"/>
                    <a:gd name="T6" fmla="*/ 2147483647 w 462"/>
                    <a:gd name="T7" fmla="*/ 2147483647 h 210"/>
                    <a:gd name="T8" fmla="*/ 2147483647 w 462"/>
                    <a:gd name="T9" fmla="*/ 2147483647 h 210"/>
                    <a:gd name="T10" fmla="*/ 2147483647 w 462"/>
                    <a:gd name="T11" fmla="*/ 2147483647 h 210"/>
                    <a:gd name="T12" fmla="*/ 2147483647 w 462"/>
                    <a:gd name="T13" fmla="*/ 2147483647 h 210"/>
                    <a:gd name="T14" fmla="*/ 2147483647 w 462"/>
                    <a:gd name="T15" fmla="*/ 2147483647 h 210"/>
                    <a:gd name="T16" fmla="*/ 2147483647 w 462"/>
                    <a:gd name="T17" fmla="*/ 2147483647 h 210"/>
                    <a:gd name="T18" fmla="*/ 2147483647 w 462"/>
                    <a:gd name="T19" fmla="*/ 2147483647 h 210"/>
                    <a:gd name="T20" fmla="*/ 2147483647 w 462"/>
                    <a:gd name="T21" fmla="*/ 2147483647 h 210"/>
                    <a:gd name="T22" fmla="*/ 2147483647 w 462"/>
                    <a:gd name="T23" fmla="*/ 2147483647 h 210"/>
                    <a:gd name="T24" fmla="*/ 2147483647 w 462"/>
                    <a:gd name="T25" fmla="*/ 2147483647 h 210"/>
                    <a:gd name="T26" fmla="*/ 2147483647 w 462"/>
                    <a:gd name="T27" fmla="*/ 2147483647 h 210"/>
                    <a:gd name="T28" fmla="*/ 2147483647 w 462"/>
                    <a:gd name="T29" fmla="*/ 2147483647 h 210"/>
                    <a:gd name="T30" fmla="*/ 2147483647 w 462"/>
                    <a:gd name="T31" fmla="*/ 2147483647 h 210"/>
                    <a:gd name="T32" fmla="*/ 2147483647 w 462"/>
                    <a:gd name="T33" fmla="*/ 2147483647 h 210"/>
                    <a:gd name="T34" fmla="*/ 2147483647 w 462"/>
                    <a:gd name="T35" fmla="*/ 2147483647 h 210"/>
                    <a:gd name="T36" fmla="*/ 2147483647 w 462"/>
                    <a:gd name="T37" fmla="*/ 2147483647 h 210"/>
                    <a:gd name="T38" fmla="*/ 2147483647 w 462"/>
                    <a:gd name="T39" fmla="*/ 2147483647 h 210"/>
                    <a:gd name="T40" fmla="*/ 2147483647 w 462"/>
                    <a:gd name="T41" fmla="*/ 2147483647 h 210"/>
                    <a:gd name="T42" fmla="*/ 2147483647 w 462"/>
                    <a:gd name="T43" fmla="*/ 2147483647 h 210"/>
                    <a:gd name="T44" fmla="*/ 2147483647 w 462"/>
                    <a:gd name="T45" fmla="*/ 2147483647 h 210"/>
                    <a:gd name="T46" fmla="*/ 2147483647 w 462"/>
                    <a:gd name="T47" fmla="*/ 2147483647 h 210"/>
                    <a:gd name="T48" fmla="*/ 2147483647 w 462"/>
                    <a:gd name="T49" fmla="*/ 2147483647 h 210"/>
                    <a:gd name="T50" fmla="*/ 2147483647 w 462"/>
                    <a:gd name="T51" fmla="*/ 2147483647 h 210"/>
                    <a:gd name="T52" fmla="*/ 2147483647 w 462"/>
                    <a:gd name="T53" fmla="*/ 2147483647 h 210"/>
                    <a:gd name="T54" fmla="*/ 2147483647 w 462"/>
                    <a:gd name="T55" fmla="*/ 2147483647 h 210"/>
                    <a:gd name="T56" fmla="*/ 2147483647 w 462"/>
                    <a:gd name="T57" fmla="*/ 2147483647 h 210"/>
                    <a:gd name="T58" fmla="*/ 2147483647 w 462"/>
                    <a:gd name="T59" fmla="*/ 2147483647 h 210"/>
                    <a:gd name="T60" fmla="*/ 2147483647 w 462"/>
                    <a:gd name="T61" fmla="*/ 2147483647 h 210"/>
                    <a:gd name="T62" fmla="*/ 2147483647 w 462"/>
                    <a:gd name="T63" fmla="*/ 2147483647 h 210"/>
                    <a:gd name="T64" fmla="*/ 2147483647 w 462"/>
                    <a:gd name="T65" fmla="*/ 2147483647 h 210"/>
                    <a:gd name="T66" fmla="*/ 2147483647 w 462"/>
                    <a:gd name="T67" fmla="*/ 2147483647 h 210"/>
                    <a:gd name="T68" fmla="*/ 2147483647 w 462"/>
                    <a:gd name="T69" fmla="*/ 2147483647 h 210"/>
                    <a:gd name="T70" fmla="*/ 2147483647 w 462"/>
                    <a:gd name="T71" fmla="*/ 2147483647 h 210"/>
                    <a:gd name="T72" fmla="*/ 2147483647 w 462"/>
                    <a:gd name="T73" fmla="*/ 2147483647 h 210"/>
                    <a:gd name="T74" fmla="*/ 2147483647 w 462"/>
                    <a:gd name="T75" fmla="*/ 2147483647 h 210"/>
                    <a:gd name="T76" fmla="*/ 2147483647 w 462"/>
                    <a:gd name="T77" fmla="*/ 2147483647 h 210"/>
                    <a:gd name="T78" fmla="*/ 2147483647 w 462"/>
                    <a:gd name="T79" fmla="*/ 2147483647 h 210"/>
                    <a:gd name="T80" fmla="*/ 2147483647 w 462"/>
                    <a:gd name="T81" fmla="*/ 0 h 210"/>
                    <a:gd name="T82" fmla="*/ 0 w 462"/>
                    <a:gd name="T83" fmla="*/ 2147483647 h 210"/>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462"/>
                    <a:gd name="T127" fmla="*/ 0 h 210"/>
                    <a:gd name="T128" fmla="*/ 462 w 462"/>
                    <a:gd name="T129" fmla="*/ 210 h 210"/>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462" h="210">
                      <a:moveTo>
                        <a:pt x="6" y="18"/>
                      </a:moveTo>
                      <a:lnTo>
                        <a:pt x="12" y="18"/>
                      </a:lnTo>
                      <a:lnTo>
                        <a:pt x="18" y="24"/>
                      </a:lnTo>
                      <a:lnTo>
                        <a:pt x="30" y="30"/>
                      </a:lnTo>
                      <a:lnTo>
                        <a:pt x="42" y="42"/>
                      </a:lnTo>
                      <a:lnTo>
                        <a:pt x="60" y="48"/>
                      </a:lnTo>
                      <a:lnTo>
                        <a:pt x="72" y="54"/>
                      </a:lnTo>
                      <a:lnTo>
                        <a:pt x="78" y="54"/>
                      </a:lnTo>
                      <a:lnTo>
                        <a:pt x="84" y="60"/>
                      </a:lnTo>
                      <a:lnTo>
                        <a:pt x="96" y="66"/>
                      </a:lnTo>
                      <a:lnTo>
                        <a:pt x="102" y="78"/>
                      </a:lnTo>
                      <a:lnTo>
                        <a:pt x="114" y="84"/>
                      </a:lnTo>
                      <a:lnTo>
                        <a:pt x="114" y="96"/>
                      </a:lnTo>
                      <a:lnTo>
                        <a:pt x="120" y="114"/>
                      </a:lnTo>
                      <a:lnTo>
                        <a:pt x="120" y="132"/>
                      </a:lnTo>
                      <a:lnTo>
                        <a:pt x="126" y="138"/>
                      </a:lnTo>
                      <a:lnTo>
                        <a:pt x="132" y="150"/>
                      </a:lnTo>
                      <a:lnTo>
                        <a:pt x="138" y="156"/>
                      </a:lnTo>
                      <a:lnTo>
                        <a:pt x="138" y="162"/>
                      </a:lnTo>
                      <a:lnTo>
                        <a:pt x="132" y="168"/>
                      </a:lnTo>
                      <a:lnTo>
                        <a:pt x="168" y="174"/>
                      </a:lnTo>
                      <a:lnTo>
                        <a:pt x="174" y="168"/>
                      </a:lnTo>
                      <a:lnTo>
                        <a:pt x="186" y="162"/>
                      </a:lnTo>
                      <a:lnTo>
                        <a:pt x="198" y="162"/>
                      </a:lnTo>
                      <a:lnTo>
                        <a:pt x="210" y="168"/>
                      </a:lnTo>
                      <a:lnTo>
                        <a:pt x="216" y="174"/>
                      </a:lnTo>
                      <a:lnTo>
                        <a:pt x="222" y="186"/>
                      </a:lnTo>
                      <a:lnTo>
                        <a:pt x="222" y="192"/>
                      </a:lnTo>
                      <a:lnTo>
                        <a:pt x="246" y="192"/>
                      </a:lnTo>
                      <a:lnTo>
                        <a:pt x="246" y="198"/>
                      </a:lnTo>
                      <a:lnTo>
                        <a:pt x="252" y="204"/>
                      </a:lnTo>
                      <a:lnTo>
                        <a:pt x="276" y="198"/>
                      </a:lnTo>
                      <a:lnTo>
                        <a:pt x="282" y="192"/>
                      </a:lnTo>
                      <a:lnTo>
                        <a:pt x="336" y="198"/>
                      </a:lnTo>
                      <a:lnTo>
                        <a:pt x="336" y="180"/>
                      </a:lnTo>
                      <a:lnTo>
                        <a:pt x="342" y="180"/>
                      </a:lnTo>
                      <a:lnTo>
                        <a:pt x="348" y="186"/>
                      </a:lnTo>
                      <a:lnTo>
                        <a:pt x="354" y="186"/>
                      </a:lnTo>
                      <a:lnTo>
                        <a:pt x="354" y="180"/>
                      </a:lnTo>
                      <a:lnTo>
                        <a:pt x="366" y="168"/>
                      </a:lnTo>
                      <a:lnTo>
                        <a:pt x="390" y="168"/>
                      </a:lnTo>
                      <a:lnTo>
                        <a:pt x="396" y="174"/>
                      </a:lnTo>
                      <a:lnTo>
                        <a:pt x="396" y="180"/>
                      </a:lnTo>
                      <a:lnTo>
                        <a:pt x="414" y="198"/>
                      </a:lnTo>
                      <a:lnTo>
                        <a:pt x="426" y="192"/>
                      </a:lnTo>
                      <a:lnTo>
                        <a:pt x="438" y="192"/>
                      </a:lnTo>
                      <a:lnTo>
                        <a:pt x="456" y="210"/>
                      </a:lnTo>
                      <a:lnTo>
                        <a:pt x="462" y="204"/>
                      </a:lnTo>
                      <a:lnTo>
                        <a:pt x="456" y="192"/>
                      </a:lnTo>
                      <a:lnTo>
                        <a:pt x="450" y="186"/>
                      </a:lnTo>
                      <a:lnTo>
                        <a:pt x="444" y="174"/>
                      </a:lnTo>
                      <a:lnTo>
                        <a:pt x="438" y="168"/>
                      </a:lnTo>
                      <a:lnTo>
                        <a:pt x="432" y="168"/>
                      </a:lnTo>
                      <a:lnTo>
                        <a:pt x="414" y="150"/>
                      </a:lnTo>
                      <a:lnTo>
                        <a:pt x="420" y="144"/>
                      </a:lnTo>
                      <a:lnTo>
                        <a:pt x="432" y="144"/>
                      </a:lnTo>
                      <a:lnTo>
                        <a:pt x="420" y="132"/>
                      </a:lnTo>
                      <a:lnTo>
                        <a:pt x="408" y="126"/>
                      </a:lnTo>
                      <a:lnTo>
                        <a:pt x="396" y="114"/>
                      </a:lnTo>
                      <a:lnTo>
                        <a:pt x="378" y="114"/>
                      </a:lnTo>
                      <a:lnTo>
                        <a:pt x="378" y="108"/>
                      </a:lnTo>
                      <a:lnTo>
                        <a:pt x="384" y="102"/>
                      </a:lnTo>
                      <a:lnTo>
                        <a:pt x="384" y="90"/>
                      </a:lnTo>
                      <a:lnTo>
                        <a:pt x="354" y="84"/>
                      </a:lnTo>
                      <a:lnTo>
                        <a:pt x="342" y="72"/>
                      </a:lnTo>
                      <a:lnTo>
                        <a:pt x="330" y="66"/>
                      </a:lnTo>
                      <a:lnTo>
                        <a:pt x="300" y="66"/>
                      </a:lnTo>
                      <a:lnTo>
                        <a:pt x="300" y="72"/>
                      </a:lnTo>
                      <a:lnTo>
                        <a:pt x="288" y="72"/>
                      </a:lnTo>
                      <a:lnTo>
                        <a:pt x="282" y="78"/>
                      </a:lnTo>
                      <a:lnTo>
                        <a:pt x="258" y="78"/>
                      </a:lnTo>
                      <a:lnTo>
                        <a:pt x="246" y="72"/>
                      </a:lnTo>
                      <a:lnTo>
                        <a:pt x="240" y="72"/>
                      </a:lnTo>
                      <a:lnTo>
                        <a:pt x="240" y="66"/>
                      </a:lnTo>
                      <a:lnTo>
                        <a:pt x="192" y="36"/>
                      </a:lnTo>
                      <a:lnTo>
                        <a:pt x="186" y="36"/>
                      </a:lnTo>
                      <a:lnTo>
                        <a:pt x="180" y="30"/>
                      </a:lnTo>
                      <a:lnTo>
                        <a:pt x="144" y="30"/>
                      </a:lnTo>
                      <a:lnTo>
                        <a:pt x="84" y="18"/>
                      </a:lnTo>
                      <a:lnTo>
                        <a:pt x="66" y="12"/>
                      </a:lnTo>
                      <a:lnTo>
                        <a:pt x="54" y="6"/>
                      </a:lnTo>
                      <a:lnTo>
                        <a:pt x="36" y="0"/>
                      </a:lnTo>
                      <a:lnTo>
                        <a:pt x="24" y="0"/>
                      </a:lnTo>
                      <a:lnTo>
                        <a:pt x="0" y="18"/>
                      </a:lnTo>
                      <a:lnTo>
                        <a:pt x="6" y="18"/>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637" name="The Gambia"/>
                <p:cNvSpPr>
                  <a:spLocks/>
                </p:cNvSpPr>
                <p:nvPr/>
              </p:nvSpPr>
              <p:spPr bwMode="gray">
                <a:xfrm>
                  <a:off x="2350" y="2026"/>
                  <a:ext cx="55" cy="13"/>
                </a:xfrm>
                <a:custGeom>
                  <a:avLst/>
                  <a:gdLst>
                    <a:gd name="T0" fmla="*/ 2147483647 w 216"/>
                    <a:gd name="T1" fmla="*/ 2147483647 h 54"/>
                    <a:gd name="T2" fmla="*/ 2147483647 w 216"/>
                    <a:gd name="T3" fmla="*/ 2147483647 h 54"/>
                    <a:gd name="T4" fmla="*/ 2147483647 w 216"/>
                    <a:gd name="T5" fmla="*/ 2147483647 h 54"/>
                    <a:gd name="T6" fmla="*/ 2147483647 w 216"/>
                    <a:gd name="T7" fmla="*/ 2147483647 h 54"/>
                    <a:gd name="T8" fmla="*/ 0 w 216"/>
                    <a:gd name="T9" fmla="*/ 2147483647 h 54"/>
                    <a:gd name="T10" fmla="*/ 0 w 216"/>
                    <a:gd name="T11" fmla="*/ 2147483647 h 54"/>
                    <a:gd name="T12" fmla="*/ 2147483647 w 216"/>
                    <a:gd name="T13" fmla="*/ 2147483647 h 54"/>
                    <a:gd name="T14" fmla="*/ 2147483647 w 216"/>
                    <a:gd name="T15" fmla="*/ 2147483647 h 54"/>
                    <a:gd name="T16" fmla="*/ 2147483647 w 216"/>
                    <a:gd name="T17" fmla="*/ 2147483647 h 54"/>
                    <a:gd name="T18" fmla="*/ 2147483647 w 216"/>
                    <a:gd name="T19" fmla="*/ 2147483647 h 54"/>
                    <a:gd name="T20" fmla="*/ 2147483647 w 216"/>
                    <a:gd name="T21" fmla="*/ 2147483647 h 54"/>
                    <a:gd name="T22" fmla="*/ 2147483647 w 216"/>
                    <a:gd name="T23" fmla="*/ 2147483647 h 54"/>
                    <a:gd name="T24" fmla="*/ 2147483647 w 216"/>
                    <a:gd name="T25" fmla="*/ 2147483647 h 54"/>
                    <a:gd name="T26" fmla="*/ 2147483647 w 216"/>
                    <a:gd name="T27" fmla="*/ 2147483647 h 54"/>
                    <a:gd name="T28" fmla="*/ 2147483647 w 216"/>
                    <a:gd name="T29" fmla="*/ 2147483647 h 54"/>
                    <a:gd name="T30" fmla="*/ 2147483647 w 216"/>
                    <a:gd name="T31" fmla="*/ 2147483647 h 54"/>
                    <a:gd name="T32" fmla="*/ 2147483647 w 216"/>
                    <a:gd name="T33" fmla="*/ 2147483647 h 54"/>
                    <a:gd name="T34" fmla="*/ 2147483647 w 216"/>
                    <a:gd name="T35" fmla="*/ 2147483647 h 54"/>
                    <a:gd name="T36" fmla="*/ 2147483647 w 216"/>
                    <a:gd name="T37" fmla="*/ 2147483647 h 54"/>
                    <a:gd name="T38" fmla="*/ 2147483647 w 216"/>
                    <a:gd name="T39" fmla="*/ 2147483647 h 54"/>
                    <a:gd name="T40" fmla="*/ 2147483647 w 216"/>
                    <a:gd name="T41" fmla="*/ 2147483647 h 54"/>
                    <a:gd name="T42" fmla="*/ 2147483647 w 216"/>
                    <a:gd name="T43" fmla="*/ 2147483647 h 54"/>
                    <a:gd name="T44" fmla="*/ 2147483647 w 216"/>
                    <a:gd name="T45" fmla="*/ 2147483647 h 54"/>
                    <a:gd name="T46" fmla="*/ 2147483647 w 216"/>
                    <a:gd name="T47" fmla="*/ 2147483647 h 54"/>
                    <a:gd name="T48" fmla="*/ 2147483647 w 216"/>
                    <a:gd name="T49" fmla="*/ 2147483647 h 54"/>
                    <a:gd name="T50" fmla="*/ 2147483647 w 216"/>
                    <a:gd name="T51" fmla="*/ 2147483647 h 54"/>
                    <a:gd name="T52" fmla="*/ 2147483647 w 216"/>
                    <a:gd name="T53" fmla="*/ 2147483647 h 54"/>
                    <a:gd name="T54" fmla="*/ 2147483647 w 216"/>
                    <a:gd name="T55" fmla="*/ 2147483647 h 54"/>
                    <a:gd name="T56" fmla="*/ 2147483647 w 216"/>
                    <a:gd name="T57" fmla="*/ 2147483647 h 54"/>
                    <a:gd name="T58" fmla="*/ 2147483647 w 216"/>
                    <a:gd name="T59" fmla="*/ 0 h 54"/>
                    <a:gd name="T60" fmla="*/ 2147483647 w 216"/>
                    <a:gd name="T61" fmla="*/ 0 h 54"/>
                    <a:gd name="T62" fmla="*/ 2147483647 w 216"/>
                    <a:gd name="T63" fmla="*/ 2147483647 h 54"/>
                    <a:gd name="T64" fmla="*/ 2147483647 w 216"/>
                    <a:gd name="T65" fmla="*/ 2147483647 h 54"/>
                    <a:gd name="T66" fmla="*/ 2147483647 w 216"/>
                    <a:gd name="T67" fmla="*/ 2147483647 h 5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16"/>
                    <a:gd name="T103" fmla="*/ 0 h 54"/>
                    <a:gd name="T104" fmla="*/ 216 w 216"/>
                    <a:gd name="T105" fmla="*/ 54 h 54"/>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16" h="54">
                      <a:moveTo>
                        <a:pt x="18" y="18"/>
                      </a:moveTo>
                      <a:lnTo>
                        <a:pt x="12" y="24"/>
                      </a:lnTo>
                      <a:lnTo>
                        <a:pt x="6" y="36"/>
                      </a:lnTo>
                      <a:lnTo>
                        <a:pt x="6" y="42"/>
                      </a:lnTo>
                      <a:lnTo>
                        <a:pt x="0" y="48"/>
                      </a:lnTo>
                      <a:lnTo>
                        <a:pt x="0" y="54"/>
                      </a:lnTo>
                      <a:lnTo>
                        <a:pt x="72" y="54"/>
                      </a:lnTo>
                      <a:lnTo>
                        <a:pt x="72" y="42"/>
                      </a:lnTo>
                      <a:lnTo>
                        <a:pt x="84" y="42"/>
                      </a:lnTo>
                      <a:lnTo>
                        <a:pt x="90" y="36"/>
                      </a:lnTo>
                      <a:lnTo>
                        <a:pt x="114" y="36"/>
                      </a:lnTo>
                      <a:lnTo>
                        <a:pt x="120" y="24"/>
                      </a:lnTo>
                      <a:lnTo>
                        <a:pt x="126" y="18"/>
                      </a:lnTo>
                      <a:lnTo>
                        <a:pt x="132" y="24"/>
                      </a:lnTo>
                      <a:lnTo>
                        <a:pt x="144" y="30"/>
                      </a:lnTo>
                      <a:lnTo>
                        <a:pt x="150" y="42"/>
                      </a:lnTo>
                      <a:lnTo>
                        <a:pt x="168" y="48"/>
                      </a:lnTo>
                      <a:lnTo>
                        <a:pt x="192" y="48"/>
                      </a:lnTo>
                      <a:lnTo>
                        <a:pt x="198" y="42"/>
                      </a:lnTo>
                      <a:lnTo>
                        <a:pt x="210" y="36"/>
                      </a:lnTo>
                      <a:lnTo>
                        <a:pt x="216" y="30"/>
                      </a:lnTo>
                      <a:lnTo>
                        <a:pt x="216" y="24"/>
                      </a:lnTo>
                      <a:lnTo>
                        <a:pt x="210" y="18"/>
                      </a:lnTo>
                      <a:lnTo>
                        <a:pt x="186" y="18"/>
                      </a:lnTo>
                      <a:lnTo>
                        <a:pt x="180" y="24"/>
                      </a:lnTo>
                      <a:lnTo>
                        <a:pt x="168" y="24"/>
                      </a:lnTo>
                      <a:lnTo>
                        <a:pt x="162" y="12"/>
                      </a:lnTo>
                      <a:lnTo>
                        <a:pt x="156" y="6"/>
                      </a:lnTo>
                      <a:lnTo>
                        <a:pt x="144" y="12"/>
                      </a:lnTo>
                      <a:lnTo>
                        <a:pt x="144" y="0"/>
                      </a:lnTo>
                      <a:lnTo>
                        <a:pt x="90" y="0"/>
                      </a:lnTo>
                      <a:lnTo>
                        <a:pt x="90" y="12"/>
                      </a:lnTo>
                      <a:lnTo>
                        <a:pt x="18" y="12"/>
                      </a:lnTo>
                      <a:lnTo>
                        <a:pt x="18" y="18"/>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638" name="Gabon"/>
                <p:cNvSpPr>
                  <a:spLocks/>
                </p:cNvSpPr>
                <p:nvPr/>
              </p:nvSpPr>
              <p:spPr bwMode="gray">
                <a:xfrm>
                  <a:off x="2810" y="2260"/>
                  <a:ext cx="107" cy="131"/>
                </a:xfrm>
                <a:custGeom>
                  <a:avLst/>
                  <a:gdLst>
                    <a:gd name="T0" fmla="*/ 2147483647 w 420"/>
                    <a:gd name="T1" fmla="*/ 2147483647 h 510"/>
                    <a:gd name="T2" fmla="*/ 2147483647 w 420"/>
                    <a:gd name="T3" fmla="*/ 2147483647 h 510"/>
                    <a:gd name="T4" fmla="*/ 2147483647 w 420"/>
                    <a:gd name="T5" fmla="*/ 2147483647 h 510"/>
                    <a:gd name="T6" fmla="*/ 2147483647 w 420"/>
                    <a:gd name="T7" fmla="*/ 2147483647 h 510"/>
                    <a:gd name="T8" fmla="*/ 2147483647 w 420"/>
                    <a:gd name="T9" fmla="*/ 2147483647 h 510"/>
                    <a:gd name="T10" fmla="*/ 2147483647 w 420"/>
                    <a:gd name="T11" fmla="*/ 2147483647 h 510"/>
                    <a:gd name="T12" fmla="*/ 2147483647 w 420"/>
                    <a:gd name="T13" fmla="*/ 2147483647 h 510"/>
                    <a:gd name="T14" fmla="*/ 2147483647 w 420"/>
                    <a:gd name="T15" fmla="*/ 2147483647 h 510"/>
                    <a:gd name="T16" fmla="*/ 2147483647 w 420"/>
                    <a:gd name="T17" fmla="*/ 2147483647 h 510"/>
                    <a:gd name="T18" fmla="*/ 2147483647 w 420"/>
                    <a:gd name="T19" fmla="*/ 2147483647 h 510"/>
                    <a:gd name="T20" fmla="*/ 2147483647 w 420"/>
                    <a:gd name="T21" fmla="*/ 2147483647 h 510"/>
                    <a:gd name="T22" fmla="*/ 2147483647 w 420"/>
                    <a:gd name="T23" fmla="*/ 2147483647 h 510"/>
                    <a:gd name="T24" fmla="*/ 2147483647 w 420"/>
                    <a:gd name="T25" fmla="*/ 2147483647 h 510"/>
                    <a:gd name="T26" fmla="*/ 2147483647 w 420"/>
                    <a:gd name="T27" fmla="*/ 2147483647 h 510"/>
                    <a:gd name="T28" fmla="*/ 2147483647 w 420"/>
                    <a:gd name="T29" fmla="*/ 2147483647 h 510"/>
                    <a:gd name="T30" fmla="*/ 2147483647 w 420"/>
                    <a:gd name="T31" fmla="*/ 2147483647 h 510"/>
                    <a:gd name="T32" fmla="*/ 2147483647 w 420"/>
                    <a:gd name="T33" fmla="*/ 2147483647 h 510"/>
                    <a:gd name="T34" fmla="*/ 2147483647 w 420"/>
                    <a:gd name="T35" fmla="*/ 2147483647 h 510"/>
                    <a:gd name="T36" fmla="*/ 2147483647 w 420"/>
                    <a:gd name="T37" fmla="*/ 2147483647 h 510"/>
                    <a:gd name="T38" fmla="*/ 2147483647 w 420"/>
                    <a:gd name="T39" fmla="*/ 2147483647 h 510"/>
                    <a:gd name="T40" fmla="*/ 2147483647 w 420"/>
                    <a:gd name="T41" fmla="*/ 2147483647 h 510"/>
                    <a:gd name="T42" fmla="*/ 2147483647 w 420"/>
                    <a:gd name="T43" fmla="*/ 2147483647 h 510"/>
                    <a:gd name="T44" fmla="*/ 2147483647 w 420"/>
                    <a:gd name="T45" fmla="*/ 2147483647 h 510"/>
                    <a:gd name="T46" fmla="*/ 2147483647 w 420"/>
                    <a:gd name="T47" fmla="*/ 2147483647 h 510"/>
                    <a:gd name="T48" fmla="*/ 2147483647 w 420"/>
                    <a:gd name="T49" fmla="*/ 2147483647 h 510"/>
                    <a:gd name="T50" fmla="*/ 2147483647 w 420"/>
                    <a:gd name="T51" fmla="*/ 2147483647 h 510"/>
                    <a:gd name="T52" fmla="*/ 2147483647 w 420"/>
                    <a:gd name="T53" fmla="*/ 2147483647 h 510"/>
                    <a:gd name="T54" fmla="*/ 2147483647 w 420"/>
                    <a:gd name="T55" fmla="*/ 2147483647 h 510"/>
                    <a:gd name="T56" fmla="*/ 2147483647 w 420"/>
                    <a:gd name="T57" fmla="*/ 2147483647 h 510"/>
                    <a:gd name="T58" fmla="*/ 2147483647 w 420"/>
                    <a:gd name="T59" fmla="*/ 2147483647 h 510"/>
                    <a:gd name="T60" fmla="*/ 2147483647 w 420"/>
                    <a:gd name="T61" fmla="*/ 2147483647 h 510"/>
                    <a:gd name="T62" fmla="*/ 2147483647 w 420"/>
                    <a:gd name="T63" fmla="*/ 2147483647 h 510"/>
                    <a:gd name="T64" fmla="*/ 2147483647 w 420"/>
                    <a:gd name="T65" fmla="*/ 2147483647 h 510"/>
                    <a:gd name="T66" fmla="*/ 2147483647 w 420"/>
                    <a:gd name="T67" fmla="*/ 2147483647 h 510"/>
                    <a:gd name="T68" fmla="*/ 2147483647 w 420"/>
                    <a:gd name="T69" fmla="*/ 2147483647 h 510"/>
                    <a:gd name="T70" fmla="*/ 2147483647 w 420"/>
                    <a:gd name="T71" fmla="*/ 2147483647 h 510"/>
                    <a:gd name="T72" fmla="*/ 2147483647 w 420"/>
                    <a:gd name="T73" fmla="*/ 2147483647 h 510"/>
                    <a:gd name="T74" fmla="*/ 2147483647 w 420"/>
                    <a:gd name="T75" fmla="*/ 2147483647 h 510"/>
                    <a:gd name="T76" fmla="*/ 2147483647 w 420"/>
                    <a:gd name="T77" fmla="*/ 2147483647 h 510"/>
                    <a:gd name="T78" fmla="*/ 2147483647 w 420"/>
                    <a:gd name="T79" fmla="*/ 2147483647 h 510"/>
                    <a:gd name="T80" fmla="*/ 2147483647 w 420"/>
                    <a:gd name="T81" fmla="*/ 2147483647 h 510"/>
                    <a:gd name="T82" fmla="*/ 2147483647 w 420"/>
                    <a:gd name="T83" fmla="*/ 2147483647 h 510"/>
                    <a:gd name="T84" fmla="*/ 2147483647 w 420"/>
                    <a:gd name="T85" fmla="*/ 2147483647 h 510"/>
                    <a:gd name="T86" fmla="*/ 2147483647 w 420"/>
                    <a:gd name="T87" fmla="*/ 2147483647 h 510"/>
                    <a:gd name="T88" fmla="*/ 2147483647 w 420"/>
                    <a:gd name="T89" fmla="*/ 2147483647 h 510"/>
                    <a:gd name="T90" fmla="*/ 2147483647 w 420"/>
                    <a:gd name="T91" fmla="*/ 2147483647 h 510"/>
                    <a:gd name="T92" fmla="*/ 2147483647 w 420"/>
                    <a:gd name="T93" fmla="*/ 2147483647 h 510"/>
                    <a:gd name="T94" fmla="*/ 2147483647 w 420"/>
                    <a:gd name="T95" fmla="*/ 2147483647 h 510"/>
                    <a:gd name="T96" fmla="*/ 2147483647 w 420"/>
                    <a:gd name="T97" fmla="*/ 2147483647 h 510"/>
                    <a:gd name="T98" fmla="*/ 2147483647 w 420"/>
                    <a:gd name="T99" fmla="*/ 2147483647 h 510"/>
                    <a:gd name="T100" fmla="*/ 2147483647 w 420"/>
                    <a:gd name="T101" fmla="*/ 2147483647 h 510"/>
                    <a:gd name="T102" fmla="*/ 2147483647 w 420"/>
                    <a:gd name="T103" fmla="*/ 2147483647 h 510"/>
                    <a:gd name="T104" fmla="*/ 2147483647 w 420"/>
                    <a:gd name="T105" fmla="*/ 2147483647 h 510"/>
                    <a:gd name="T106" fmla="*/ 2147483647 w 420"/>
                    <a:gd name="T107" fmla="*/ 2147483647 h 510"/>
                    <a:gd name="T108" fmla="*/ 2147483647 w 420"/>
                    <a:gd name="T109" fmla="*/ 2147483647 h 510"/>
                    <a:gd name="T110" fmla="*/ 2147483647 w 420"/>
                    <a:gd name="T111" fmla="*/ 2147483647 h 51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0"/>
                    <a:gd name="T169" fmla="*/ 0 h 510"/>
                    <a:gd name="T170" fmla="*/ 420 w 420"/>
                    <a:gd name="T171" fmla="*/ 510 h 510"/>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0" h="510">
                      <a:moveTo>
                        <a:pt x="420" y="240"/>
                      </a:moveTo>
                      <a:lnTo>
                        <a:pt x="414" y="234"/>
                      </a:lnTo>
                      <a:lnTo>
                        <a:pt x="396" y="234"/>
                      </a:lnTo>
                      <a:lnTo>
                        <a:pt x="390" y="216"/>
                      </a:lnTo>
                      <a:lnTo>
                        <a:pt x="372" y="210"/>
                      </a:lnTo>
                      <a:lnTo>
                        <a:pt x="372" y="174"/>
                      </a:lnTo>
                      <a:lnTo>
                        <a:pt x="384" y="150"/>
                      </a:lnTo>
                      <a:lnTo>
                        <a:pt x="396" y="150"/>
                      </a:lnTo>
                      <a:lnTo>
                        <a:pt x="402" y="144"/>
                      </a:lnTo>
                      <a:lnTo>
                        <a:pt x="408" y="132"/>
                      </a:lnTo>
                      <a:lnTo>
                        <a:pt x="414" y="126"/>
                      </a:lnTo>
                      <a:lnTo>
                        <a:pt x="414" y="114"/>
                      </a:lnTo>
                      <a:lnTo>
                        <a:pt x="402" y="108"/>
                      </a:lnTo>
                      <a:lnTo>
                        <a:pt x="402" y="90"/>
                      </a:lnTo>
                      <a:lnTo>
                        <a:pt x="396" y="84"/>
                      </a:lnTo>
                      <a:lnTo>
                        <a:pt x="396" y="78"/>
                      </a:lnTo>
                      <a:lnTo>
                        <a:pt x="384" y="78"/>
                      </a:lnTo>
                      <a:lnTo>
                        <a:pt x="378" y="72"/>
                      </a:lnTo>
                      <a:lnTo>
                        <a:pt x="360" y="72"/>
                      </a:lnTo>
                      <a:lnTo>
                        <a:pt x="360" y="90"/>
                      </a:lnTo>
                      <a:lnTo>
                        <a:pt x="354" y="96"/>
                      </a:lnTo>
                      <a:lnTo>
                        <a:pt x="330" y="96"/>
                      </a:lnTo>
                      <a:lnTo>
                        <a:pt x="324" y="90"/>
                      </a:lnTo>
                      <a:lnTo>
                        <a:pt x="318" y="54"/>
                      </a:lnTo>
                      <a:lnTo>
                        <a:pt x="336" y="24"/>
                      </a:lnTo>
                      <a:lnTo>
                        <a:pt x="336" y="6"/>
                      </a:lnTo>
                      <a:lnTo>
                        <a:pt x="288" y="12"/>
                      </a:lnTo>
                      <a:lnTo>
                        <a:pt x="282" y="12"/>
                      </a:lnTo>
                      <a:lnTo>
                        <a:pt x="270" y="6"/>
                      </a:lnTo>
                      <a:lnTo>
                        <a:pt x="264" y="6"/>
                      </a:lnTo>
                      <a:lnTo>
                        <a:pt x="252" y="18"/>
                      </a:lnTo>
                      <a:lnTo>
                        <a:pt x="222" y="18"/>
                      </a:lnTo>
                      <a:lnTo>
                        <a:pt x="210" y="0"/>
                      </a:lnTo>
                      <a:lnTo>
                        <a:pt x="192" y="18"/>
                      </a:lnTo>
                      <a:lnTo>
                        <a:pt x="186" y="54"/>
                      </a:lnTo>
                      <a:lnTo>
                        <a:pt x="192" y="60"/>
                      </a:lnTo>
                      <a:lnTo>
                        <a:pt x="192" y="90"/>
                      </a:lnTo>
                      <a:lnTo>
                        <a:pt x="186" y="108"/>
                      </a:lnTo>
                      <a:lnTo>
                        <a:pt x="186" y="114"/>
                      </a:lnTo>
                      <a:lnTo>
                        <a:pt x="84" y="114"/>
                      </a:lnTo>
                      <a:lnTo>
                        <a:pt x="84" y="108"/>
                      </a:lnTo>
                      <a:lnTo>
                        <a:pt x="72" y="108"/>
                      </a:lnTo>
                      <a:lnTo>
                        <a:pt x="60" y="120"/>
                      </a:lnTo>
                      <a:lnTo>
                        <a:pt x="60" y="126"/>
                      </a:lnTo>
                      <a:lnTo>
                        <a:pt x="66" y="132"/>
                      </a:lnTo>
                      <a:lnTo>
                        <a:pt x="66" y="144"/>
                      </a:lnTo>
                      <a:lnTo>
                        <a:pt x="72" y="150"/>
                      </a:lnTo>
                      <a:lnTo>
                        <a:pt x="72" y="162"/>
                      </a:lnTo>
                      <a:lnTo>
                        <a:pt x="48" y="162"/>
                      </a:lnTo>
                      <a:lnTo>
                        <a:pt x="48" y="210"/>
                      </a:lnTo>
                      <a:lnTo>
                        <a:pt x="42" y="228"/>
                      </a:lnTo>
                      <a:lnTo>
                        <a:pt x="36" y="240"/>
                      </a:lnTo>
                      <a:lnTo>
                        <a:pt x="30" y="246"/>
                      </a:lnTo>
                      <a:lnTo>
                        <a:pt x="18" y="252"/>
                      </a:lnTo>
                      <a:lnTo>
                        <a:pt x="0" y="252"/>
                      </a:lnTo>
                      <a:lnTo>
                        <a:pt x="30" y="306"/>
                      </a:lnTo>
                      <a:lnTo>
                        <a:pt x="42" y="294"/>
                      </a:lnTo>
                      <a:lnTo>
                        <a:pt x="54" y="312"/>
                      </a:lnTo>
                      <a:lnTo>
                        <a:pt x="48" y="318"/>
                      </a:lnTo>
                      <a:lnTo>
                        <a:pt x="48" y="330"/>
                      </a:lnTo>
                      <a:lnTo>
                        <a:pt x="42" y="336"/>
                      </a:lnTo>
                      <a:lnTo>
                        <a:pt x="42" y="342"/>
                      </a:lnTo>
                      <a:lnTo>
                        <a:pt x="48" y="348"/>
                      </a:lnTo>
                      <a:lnTo>
                        <a:pt x="66" y="348"/>
                      </a:lnTo>
                      <a:lnTo>
                        <a:pt x="72" y="390"/>
                      </a:lnTo>
                      <a:lnTo>
                        <a:pt x="102" y="396"/>
                      </a:lnTo>
                      <a:lnTo>
                        <a:pt x="96" y="408"/>
                      </a:lnTo>
                      <a:lnTo>
                        <a:pt x="144" y="462"/>
                      </a:lnTo>
                      <a:lnTo>
                        <a:pt x="138" y="468"/>
                      </a:lnTo>
                      <a:lnTo>
                        <a:pt x="174" y="510"/>
                      </a:lnTo>
                      <a:lnTo>
                        <a:pt x="180" y="492"/>
                      </a:lnTo>
                      <a:lnTo>
                        <a:pt x="204" y="480"/>
                      </a:lnTo>
                      <a:lnTo>
                        <a:pt x="222" y="498"/>
                      </a:lnTo>
                      <a:lnTo>
                        <a:pt x="228" y="492"/>
                      </a:lnTo>
                      <a:lnTo>
                        <a:pt x="228" y="456"/>
                      </a:lnTo>
                      <a:lnTo>
                        <a:pt x="210" y="444"/>
                      </a:lnTo>
                      <a:lnTo>
                        <a:pt x="228" y="432"/>
                      </a:lnTo>
                      <a:lnTo>
                        <a:pt x="198" y="414"/>
                      </a:lnTo>
                      <a:lnTo>
                        <a:pt x="210" y="414"/>
                      </a:lnTo>
                      <a:lnTo>
                        <a:pt x="210" y="402"/>
                      </a:lnTo>
                      <a:lnTo>
                        <a:pt x="204" y="396"/>
                      </a:lnTo>
                      <a:lnTo>
                        <a:pt x="204" y="378"/>
                      </a:lnTo>
                      <a:lnTo>
                        <a:pt x="210" y="378"/>
                      </a:lnTo>
                      <a:lnTo>
                        <a:pt x="216" y="384"/>
                      </a:lnTo>
                      <a:lnTo>
                        <a:pt x="228" y="384"/>
                      </a:lnTo>
                      <a:lnTo>
                        <a:pt x="240" y="390"/>
                      </a:lnTo>
                      <a:lnTo>
                        <a:pt x="258" y="390"/>
                      </a:lnTo>
                      <a:lnTo>
                        <a:pt x="264" y="384"/>
                      </a:lnTo>
                      <a:lnTo>
                        <a:pt x="270" y="372"/>
                      </a:lnTo>
                      <a:lnTo>
                        <a:pt x="282" y="366"/>
                      </a:lnTo>
                      <a:lnTo>
                        <a:pt x="264" y="348"/>
                      </a:lnTo>
                      <a:lnTo>
                        <a:pt x="264" y="342"/>
                      </a:lnTo>
                      <a:lnTo>
                        <a:pt x="294" y="342"/>
                      </a:lnTo>
                      <a:lnTo>
                        <a:pt x="312" y="384"/>
                      </a:lnTo>
                      <a:lnTo>
                        <a:pt x="342" y="384"/>
                      </a:lnTo>
                      <a:lnTo>
                        <a:pt x="348" y="378"/>
                      </a:lnTo>
                      <a:lnTo>
                        <a:pt x="354" y="366"/>
                      </a:lnTo>
                      <a:lnTo>
                        <a:pt x="360" y="360"/>
                      </a:lnTo>
                      <a:lnTo>
                        <a:pt x="366" y="360"/>
                      </a:lnTo>
                      <a:lnTo>
                        <a:pt x="366" y="390"/>
                      </a:lnTo>
                      <a:lnTo>
                        <a:pt x="372" y="396"/>
                      </a:lnTo>
                      <a:lnTo>
                        <a:pt x="384" y="396"/>
                      </a:lnTo>
                      <a:lnTo>
                        <a:pt x="390" y="390"/>
                      </a:lnTo>
                      <a:lnTo>
                        <a:pt x="396" y="378"/>
                      </a:lnTo>
                      <a:lnTo>
                        <a:pt x="396" y="354"/>
                      </a:lnTo>
                      <a:lnTo>
                        <a:pt x="408" y="348"/>
                      </a:lnTo>
                      <a:lnTo>
                        <a:pt x="414" y="342"/>
                      </a:lnTo>
                      <a:lnTo>
                        <a:pt x="408" y="318"/>
                      </a:lnTo>
                      <a:lnTo>
                        <a:pt x="414" y="306"/>
                      </a:lnTo>
                      <a:lnTo>
                        <a:pt x="414" y="258"/>
                      </a:lnTo>
                      <a:lnTo>
                        <a:pt x="420" y="252"/>
                      </a:lnTo>
                      <a:lnTo>
                        <a:pt x="420" y="24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639" name="France"/>
                <p:cNvSpPr>
                  <a:spLocks noEditPoints="1"/>
                </p:cNvSpPr>
                <p:nvPr/>
              </p:nvSpPr>
              <p:spPr bwMode="gray">
                <a:xfrm>
                  <a:off x="2595" y="1259"/>
                  <a:ext cx="233" cy="201"/>
                </a:xfrm>
                <a:custGeom>
                  <a:avLst/>
                  <a:gdLst>
                    <a:gd name="T0" fmla="*/ 2147483647 w 230"/>
                    <a:gd name="T1" fmla="*/ 2147483647 h 198"/>
                    <a:gd name="T2" fmla="*/ 2147483647 w 230"/>
                    <a:gd name="T3" fmla="*/ 2147483647 h 198"/>
                    <a:gd name="T4" fmla="*/ 2147483647 w 230"/>
                    <a:gd name="T5" fmla="*/ 2147483647 h 198"/>
                    <a:gd name="T6" fmla="*/ 2147483647 w 230"/>
                    <a:gd name="T7" fmla="*/ 2147483647 h 198"/>
                    <a:gd name="T8" fmla="*/ 2147483647 w 230"/>
                    <a:gd name="T9" fmla="*/ 2147483647 h 198"/>
                    <a:gd name="T10" fmla="*/ 2147483647 w 230"/>
                    <a:gd name="T11" fmla="*/ 2147483647 h 198"/>
                    <a:gd name="T12" fmla="*/ 2147483647 w 230"/>
                    <a:gd name="T13" fmla="*/ 2147483647 h 198"/>
                    <a:gd name="T14" fmla="*/ 2147483647 w 230"/>
                    <a:gd name="T15" fmla="*/ 2147483647 h 198"/>
                    <a:gd name="T16" fmla="*/ 2147483647 w 230"/>
                    <a:gd name="T17" fmla="*/ 2147483647 h 198"/>
                    <a:gd name="T18" fmla="*/ 2147483647 w 230"/>
                    <a:gd name="T19" fmla="*/ 2147483647 h 198"/>
                    <a:gd name="T20" fmla="*/ 2147483647 w 230"/>
                    <a:gd name="T21" fmla="*/ 2147483647 h 198"/>
                    <a:gd name="T22" fmla="*/ 2147483647 w 230"/>
                    <a:gd name="T23" fmla="*/ 2147483647 h 198"/>
                    <a:gd name="T24" fmla="*/ 2147483647 w 230"/>
                    <a:gd name="T25" fmla="*/ 2147483647 h 198"/>
                    <a:gd name="T26" fmla="*/ 2147483647 w 230"/>
                    <a:gd name="T27" fmla="*/ 2147483647 h 198"/>
                    <a:gd name="T28" fmla="*/ 2147483647 w 230"/>
                    <a:gd name="T29" fmla="*/ 2147483647 h 198"/>
                    <a:gd name="T30" fmla="*/ 2147483647 w 230"/>
                    <a:gd name="T31" fmla="*/ 2147483647 h 198"/>
                    <a:gd name="T32" fmla="*/ 2147483647 w 230"/>
                    <a:gd name="T33" fmla="*/ 2147483647 h 198"/>
                    <a:gd name="T34" fmla="*/ 2147483647 w 230"/>
                    <a:gd name="T35" fmla="*/ 2147483647 h 198"/>
                    <a:gd name="T36" fmla="*/ 2147483647 w 230"/>
                    <a:gd name="T37" fmla="*/ 2147483647 h 198"/>
                    <a:gd name="T38" fmla="*/ 2147483647 w 230"/>
                    <a:gd name="T39" fmla="*/ 2147483647 h 198"/>
                    <a:gd name="T40" fmla="*/ 2147483647 w 230"/>
                    <a:gd name="T41" fmla="*/ 2147483647 h 198"/>
                    <a:gd name="T42" fmla="*/ 2147483647 w 230"/>
                    <a:gd name="T43" fmla="*/ 2147483647 h 198"/>
                    <a:gd name="T44" fmla="*/ 2147483647 w 230"/>
                    <a:gd name="T45" fmla="*/ 2147483647 h 198"/>
                    <a:gd name="T46" fmla="*/ 2147483647 w 230"/>
                    <a:gd name="T47" fmla="*/ 2147483647 h 198"/>
                    <a:gd name="T48" fmla="*/ 2147483647 w 230"/>
                    <a:gd name="T49" fmla="*/ 2147483647 h 198"/>
                    <a:gd name="T50" fmla="*/ 2147483647 w 230"/>
                    <a:gd name="T51" fmla="*/ 2147483647 h 198"/>
                    <a:gd name="T52" fmla="*/ 2147483647 w 230"/>
                    <a:gd name="T53" fmla="*/ 2147483647 h 198"/>
                    <a:gd name="T54" fmla="*/ 2147483647 w 230"/>
                    <a:gd name="T55" fmla="*/ 2147483647 h 198"/>
                    <a:gd name="T56" fmla="*/ 2147483647 w 230"/>
                    <a:gd name="T57" fmla="*/ 2147483647 h 198"/>
                    <a:gd name="T58" fmla="*/ 2147483647 w 230"/>
                    <a:gd name="T59" fmla="*/ 2147483647 h 198"/>
                    <a:gd name="T60" fmla="*/ 2147483647 w 230"/>
                    <a:gd name="T61" fmla="*/ 2147483647 h 198"/>
                    <a:gd name="T62" fmla="*/ 2147483647 w 230"/>
                    <a:gd name="T63" fmla="*/ 2147483647 h 198"/>
                    <a:gd name="T64" fmla="*/ 2147483647 w 230"/>
                    <a:gd name="T65" fmla="*/ 2147483647 h 198"/>
                    <a:gd name="T66" fmla="*/ 2147483647 w 230"/>
                    <a:gd name="T67" fmla="*/ 2147483647 h 198"/>
                    <a:gd name="T68" fmla="*/ 2147483647 w 230"/>
                    <a:gd name="T69" fmla="*/ 2147483647 h 198"/>
                    <a:gd name="T70" fmla="*/ 2147483647 w 230"/>
                    <a:gd name="T71" fmla="*/ 2147483647 h 198"/>
                    <a:gd name="T72" fmla="*/ 2147483647 w 230"/>
                    <a:gd name="T73" fmla="*/ 2147483647 h 198"/>
                    <a:gd name="T74" fmla="*/ 2147483647 w 230"/>
                    <a:gd name="T75" fmla="*/ 2147483647 h 198"/>
                    <a:gd name="T76" fmla="*/ 2147483647 w 230"/>
                    <a:gd name="T77" fmla="*/ 2147483647 h 198"/>
                    <a:gd name="T78" fmla="*/ 2147483647 w 230"/>
                    <a:gd name="T79" fmla="*/ 2147483647 h 198"/>
                    <a:gd name="T80" fmla="*/ 2147483647 w 230"/>
                    <a:gd name="T81" fmla="*/ 2147483647 h 198"/>
                    <a:gd name="T82" fmla="*/ 2147483647 w 230"/>
                    <a:gd name="T83" fmla="*/ 2147483647 h 198"/>
                    <a:gd name="T84" fmla="*/ 2147483647 w 230"/>
                    <a:gd name="T85" fmla="*/ 2147483647 h 198"/>
                    <a:gd name="T86" fmla="*/ 2147483647 w 230"/>
                    <a:gd name="T87" fmla="*/ 2147483647 h 198"/>
                    <a:gd name="T88" fmla="*/ 2147483647 w 230"/>
                    <a:gd name="T89" fmla="*/ 2147483647 h 198"/>
                    <a:gd name="T90" fmla="*/ 2147483647 w 230"/>
                    <a:gd name="T91" fmla="*/ 2147483647 h 198"/>
                    <a:gd name="T92" fmla="*/ 2147483647 w 230"/>
                    <a:gd name="T93" fmla="*/ 2147483647 h 198"/>
                    <a:gd name="T94" fmla="*/ 2147483647 w 230"/>
                    <a:gd name="T95" fmla="*/ 2147483647 h 198"/>
                    <a:gd name="T96" fmla="*/ 2147483647 w 230"/>
                    <a:gd name="T97" fmla="*/ 2147483647 h 198"/>
                    <a:gd name="T98" fmla="*/ 2147483647 w 230"/>
                    <a:gd name="T99" fmla="*/ 2147483647 h 198"/>
                    <a:gd name="T100" fmla="*/ 2147483647 w 230"/>
                    <a:gd name="T101" fmla="*/ 2147483647 h 198"/>
                    <a:gd name="T102" fmla="*/ 2147483647 w 230"/>
                    <a:gd name="T103" fmla="*/ 2147483647 h 198"/>
                    <a:gd name="T104" fmla="*/ 2147483647 w 230"/>
                    <a:gd name="T105" fmla="*/ 2147483647 h 198"/>
                    <a:gd name="T106" fmla="*/ 2147483647 w 230"/>
                    <a:gd name="T107" fmla="*/ 2147483647 h 198"/>
                    <a:gd name="T108" fmla="*/ 2147483647 w 230"/>
                    <a:gd name="T109" fmla="*/ 2147483647 h 198"/>
                    <a:gd name="T110" fmla="*/ 2147483647 w 230"/>
                    <a:gd name="T111" fmla="*/ 2147483647 h 198"/>
                    <a:gd name="T112" fmla="*/ 2147483647 w 230"/>
                    <a:gd name="T113" fmla="*/ 2147483647 h 198"/>
                    <a:gd name="T114" fmla="*/ 2147483647 w 230"/>
                    <a:gd name="T115" fmla="*/ 2147483647 h 198"/>
                    <a:gd name="T116" fmla="*/ 2147483647 w 230"/>
                    <a:gd name="T117" fmla="*/ 2147483647 h 198"/>
                    <a:gd name="T118" fmla="*/ 2147483647 w 230"/>
                    <a:gd name="T119" fmla="*/ 2147483647 h 198"/>
                    <a:gd name="T120" fmla="*/ 2147483647 w 230"/>
                    <a:gd name="T121" fmla="*/ 2147483647 h 19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30"/>
                    <a:gd name="T184" fmla="*/ 0 h 198"/>
                    <a:gd name="T185" fmla="*/ 230 w 230"/>
                    <a:gd name="T186" fmla="*/ 198 h 19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30" h="198">
                      <a:moveTo>
                        <a:pt x="230" y="172"/>
                      </a:moveTo>
                      <a:lnTo>
                        <a:pt x="230" y="172"/>
                      </a:lnTo>
                      <a:lnTo>
                        <a:pt x="230" y="166"/>
                      </a:lnTo>
                      <a:lnTo>
                        <a:pt x="228" y="166"/>
                      </a:lnTo>
                      <a:lnTo>
                        <a:pt x="224" y="168"/>
                      </a:lnTo>
                      <a:lnTo>
                        <a:pt x="224" y="170"/>
                      </a:lnTo>
                      <a:lnTo>
                        <a:pt x="220" y="172"/>
                      </a:lnTo>
                      <a:lnTo>
                        <a:pt x="218" y="174"/>
                      </a:lnTo>
                      <a:lnTo>
                        <a:pt x="216" y="178"/>
                      </a:lnTo>
                      <a:lnTo>
                        <a:pt x="216" y="182"/>
                      </a:lnTo>
                      <a:lnTo>
                        <a:pt x="218" y="186"/>
                      </a:lnTo>
                      <a:lnTo>
                        <a:pt x="218" y="190"/>
                      </a:lnTo>
                      <a:lnTo>
                        <a:pt x="218" y="192"/>
                      </a:lnTo>
                      <a:lnTo>
                        <a:pt x="218" y="194"/>
                      </a:lnTo>
                      <a:lnTo>
                        <a:pt x="222" y="196"/>
                      </a:lnTo>
                      <a:lnTo>
                        <a:pt x="224" y="198"/>
                      </a:lnTo>
                      <a:lnTo>
                        <a:pt x="230" y="192"/>
                      </a:lnTo>
                      <a:lnTo>
                        <a:pt x="230" y="186"/>
                      </a:lnTo>
                      <a:lnTo>
                        <a:pt x="228" y="186"/>
                      </a:lnTo>
                      <a:lnTo>
                        <a:pt x="230" y="184"/>
                      </a:lnTo>
                      <a:lnTo>
                        <a:pt x="230" y="172"/>
                      </a:lnTo>
                      <a:close/>
                      <a:moveTo>
                        <a:pt x="198" y="40"/>
                      </a:moveTo>
                      <a:lnTo>
                        <a:pt x="198" y="40"/>
                      </a:lnTo>
                      <a:lnTo>
                        <a:pt x="196" y="40"/>
                      </a:lnTo>
                      <a:lnTo>
                        <a:pt x="192" y="40"/>
                      </a:lnTo>
                      <a:lnTo>
                        <a:pt x="190" y="40"/>
                      </a:lnTo>
                      <a:lnTo>
                        <a:pt x="184" y="40"/>
                      </a:lnTo>
                      <a:lnTo>
                        <a:pt x="184" y="34"/>
                      </a:lnTo>
                      <a:lnTo>
                        <a:pt x="182" y="34"/>
                      </a:lnTo>
                      <a:lnTo>
                        <a:pt x="182" y="32"/>
                      </a:lnTo>
                      <a:lnTo>
                        <a:pt x="178" y="30"/>
                      </a:lnTo>
                      <a:lnTo>
                        <a:pt x="174" y="34"/>
                      </a:lnTo>
                      <a:lnTo>
                        <a:pt x="172" y="32"/>
                      </a:lnTo>
                      <a:lnTo>
                        <a:pt x="166" y="32"/>
                      </a:lnTo>
                      <a:lnTo>
                        <a:pt x="164" y="28"/>
                      </a:lnTo>
                      <a:lnTo>
                        <a:pt x="162" y="28"/>
                      </a:lnTo>
                      <a:lnTo>
                        <a:pt x="158" y="28"/>
                      </a:lnTo>
                      <a:lnTo>
                        <a:pt x="156" y="28"/>
                      </a:lnTo>
                      <a:lnTo>
                        <a:pt x="156" y="22"/>
                      </a:lnTo>
                      <a:lnTo>
                        <a:pt x="152" y="24"/>
                      </a:lnTo>
                      <a:lnTo>
                        <a:pt x="146" y="24"/>
                      </a:lnTo>
                      <a:lnTo>
                        <a:pt x="146" y="18"/>
                      </a:lnTo>
                      <a:lnTo>
                        <a:pt x="144" y="16"/>
                      </a:lnTo>
                      <a:lnTo>
                        <a:pt x="142" y="14"/>
                      </a:lnTo>
                      <a:lnTo>
                        <a:pt x="136" y="14"/>
                      </a:lnTo>
                      <a:lnTo>
                        <a:pt x="132" y="12"/>
                      </a:lnTo>
                      <a:lnTo>
                        <a:pt x="126" y="10"/>
                      </a:lnTo>
                      <a:lnTo>
                        <a:pt x="126" y="6"/>
                      </a:lnTo>
                      <a:lnTo>
                        <a:pt x="126" y="0"/>
                      </a:lnTo>
                      <a:lnTo>
                        <a:pt x="118" y="0"/>
                      </a:lnTo>
                      <a:lnTo>
                        <a:pt x="114" y="2"/>
                      </a:lnTo>
                      <a:lnTo>
                        <a:pt x="112" y="2"/>
                      </a:lnTo>
                      <a:lnTo>
                        <a:pt x="110" y="4"/>
                      </a:lnTo>
                      <a:lnTo>
                        <a:pt x="104" y="4"/>
                      </a:lnTo>
                      <a:lnTo>
                        <a:pt x="104" y="6"/>
                      </a:lnTo>
                      <a:lnTo>
                        <a:pt x="104" y="8"/>
                      </a:lnTo>
                      <a:lnTo>
                        <a:pt x="104" y="12"/>
                      </a:lnTo>
                      <a:lnTo>
                        <a:pt x="106" y="14"/>
                      </a:lnTo>
                      <a:lnTo>
                        <a:pt x="106" y="20"/>
                      </a:lnTo>
                      <a:lnTo>
                        <a:pt x="104" y="22"/>
                      </a:lnTo>
                      <a:lnTo>
                        <a:pt x="98" y="24"/>
                      </a:lnTo>
                      <a:lnTo>
                        <a:pt x="92" y="24"/>
                      </a:lnTo>
                      <a:lnTo>
                        <a:pt x="82" y="32"/>
                      </a:lnTo>
                      <a:lnTo>
                        <a:pt x="86" y="34"/>
                      </a:lnTo>
                      <a:lnTo>
                        <a:pt x="84" y="34"/>
                      </a:lnTo>
                      <a:lnTo>
                        <a:pt x="82" y="34"/>
                      </a:lnTo>
                      <a:lnTo>
                        <a:pt x="76" y="38"/>
                      </a:lnTo>
                      <a:lnTo>
                        <a:pt x="68" y="38"/>
                      </a:lnTo>
                      <a:lnTo>
                        <a:pt x="66" y="36"/>
                      </a:lnTo>
                      <a:lnTo>
                        <a:pt x="60" y="30"/>
                      </a:lnTo>
                      <a:lnTo>
                        <a:pt x="58" y="30"/>
                      </a:lnTo>
                      <a:lnTo>
                        <a:pt x="56" y="28"/>
                      </a:lnTo>
                      <a:lnTo>
                        <a:pt x="52" y="28"/>
                      </a:lnTo>
                      <a:lnTo>
                        <a:pt x="52" y="30"/>
                      </a:lnTo>
                      <a:lnTo>
                        <a:pt x="52" y="34"/>
                      </a:lnTo>
                      <a:lnTo>
                        <a:pt x="54" y="34"/>
                      </a:lnTo>
                      <a:lnTo>
                        <a:pt x="56" y="38"/>
                      </a:lnTo>
                      <a:lnTo>
                        <a:pt x="58" y="40"/>
                      </a:lnTo>
                      <a:lnTo>
                        <a:pt x="58" y="46"/>
                      </a:lnTo>
                      <a:lnTo>
                        <a:pt x="56" y="48"/>
                      </a:lnTo>
                      <a:lnTo>
                        <a:pt x="54" y="48"/>
                      </a:lnTo>
                      <a:lnTo>
                        <a:pt x="48" y="48"/>
                      </a:lnTo>
                      <a:lnTo>
                        <a:pt x="38" y="48"/>
                      </a:lnTo>
                      <a:lnTo>
                        <a:pt x="38" y="54"/>
                      </a:lnTo>
                      <a:lnTo>
                        <a:pt x="36" y="52"/>
                      </a:lnTo>
                      <a:lnTo>
                        <a:pt x="34" y="48"/>
                      </a:lnTo>
                      <a:lnTo>
                        <a:pt x="32" y="48"/>
                      </a:lnTo>
                      <a:lnTo>
                        <a:pt x="30" y="46"/>
                      </a:lnTo>
                      <a:lnTo>
                        <a:pt x="26" y="46"/>
                      </a:lnTo>
                      <a:lnTo>
                        <a:pt x="24" y="48"/>
                      </a:lnTo>
                      <a:lnTo>
                        <a:pt x="22" y="48"/>
                      </a:lnTo>
                      <a:lnTo>
                        <a:pt x="20" y="48"/>
                      </a:lnTo>
                      <a:lnTo>
                        <a:pt x="16" y="48"/>
                      </a:lnTo>
                      <a:lnTo>
                        <a:pt x="12" y="50"/>
                      </a:lnTo>
                      <a:lnTo>
                        <a:pt x="8" y="50"/>
                      </a:lnTo>
                      <a:lnTo>
                        <a:pt x="6" y="52"/>
                      </a:lnTo>
                      <a:lnTo>
                        <a:pt x="4" y="54"/>
                      </a:lnTo>
                      <a:lnTo>
                        <a:pt x="6" y="56"/>
                      </a:lnTo>
                      <a:lnTo>
                        <a:pt x="8" y="56"/>
                      </a:lnTo>
                      <a:lnTo>
                        <a:pt x="10" y="58"/>
                      </a:lnTo>
                      <a:lnTo>
                        <a:pt x="10" y="60"/>
                      </a:lnTo>
                      <a:lnTo>
                        <a:pt x="6" y="60"/>
                      </a:lnTo>
                      <a:lnTo>
                        <a:pt x="2" y="60"/>
                      </a:lnTo>
                      <a:lnTo>
                        <a:pt x="0" y="60"/>
                      </a:lnTo>
                      <a:lnTo>
                        <a:pt x="0" y="62"/>
                      </a:lnTo>
                      <a:lnTo>
                        <a:pt x="6" y="66"/>
                      </a:lnTo>
                      <a:lnTo>
                        <a:pt x="12" y="66"/>
                      </a:lnTo>
                      <a:lnTo>
                        <a:pt x="12" y="64"/>
                      </a:lnTo>
                      <a:lnTo>
                        <a:pt x="26" y="72"/>
                      </a:lnTo>
                      <a:lnTo>
                        <a:pt x="32" y="72"/>
                      </a:lnTo>
                      <a:lnTo>
                        <a:pt x="38" y="76"/>
                      </a:lnTo>
                      <a:lnTo>
                        <a:pt x="48" y="76"/>
                      </a:lnTo>
                      <a:lnTo>
                        <a:pt x="40" y="80"/>
                      </a:lnTo>
                      <a:lnTo>
                        <a:pt x="42" y="84"/>
                      </a:lnTo>
                      <a:lnTo>
                        <a:pt x="44" y="86"/>
                      </a:lnTo>
                      <a:lnTo>
                        <a:pt x="46" y="92"/>
                      </a:lnTo>
                      <a:lnTo>
                        <a:pt x="52" y="96"/>
                      </a:lnTo>
                      <a:lnTo>
                        <a:pt x="58" y="96"/>
                      </a:lnTo>
                      <a:lnTo>
                        <a:pt x="58" y="106"/>
                      </a:lnTo>
                      <a:lnTo>
                        <a:pt x="62" y="114"/>
                      </a:lnTo>
                      <a:lnTo>
                        <a:pt x="66" y="124"/>
                      </a:lnTo>
                      <a:lnTo>
                        <a:pt x="58" y="114"/>
                      </a:lnTo>
                      <a:lnTo>
                        <a:pt x="58" y="118"/>
                      </a:lnTo>
                      <a:lnTo>
                        <a:pt x="56" y="120"/>
                      </a:lnTo>
                      <a:lnTo>
                        <a:pt x="56" y="132"/>
                      </a:lnTo>
                      <a:lnTo>
                        <a:pt x="54" y="134"/>
                      </a:lnTo>
                      <a:lnTo>
                        <a:pt x="52" y="144"/>
                      </a:lnTo>
                      <a:lnTo>
                        <a:pt x="52" y="146"/>
                      </a:lnTo>
                      <a:lnTo>
                        <a:pt x="50" y="150"/>
                      </a:lnTo>
                      <a:lnTo>
                        <a:pt x="50" y="152"/>
                      </a:lnTo>
                      <a:lnTo>
                        <a:pt x="48" y="152"/>
                      </a:lnTo>
                      <a:lnTo>
                        <a:pt x="48" y="154"/>
                      </a:lnTo>
                      <a:lnTo>
                        <a:pt x="46" y="156"/>
                      </a:lnTo>
                      <a:lnTo>
                        <a:pt x="44" y="158"/>
                      </a:lnTo>
                      <a:lnTo>
                        <a:pt x="46" y="160"/>
                      </a:lnTo>
                      <a:lnTo>
                        <a:pt x="46" y="158"/>
                      </a:lnTo>
                      <a:lnTo>
                        <a:pt x="48" y="158"/>
                      </a:lnTo>
                      <a:lnTo>
                        <a:pt x="52" y="160"/>
                      </a:lnTo>
                      <a:lnTo>
                        <a:pt x="52" y="162"/>
                      </a:lnTo>
                      <a:lnTo>
                        <a:pt x="50" y="164"/>
                      </a:lnTo>
                      <a:lnTo>
                        <a:pt x="60" y="164"/>
                      </a:lnTo>
                      <a:lnTo>
                        <a:pt x="64" y="168"/>
                      </a:lnTo>
                      <a:lnTo>
                        <a:pt x="66" y="166"/>
                      </a:lnTo>
                      <a:lnTo>
                        <a:pt x="68" y="166"/>
                      </a:lnTo>
                      <a:lnTo>
                        <a:pt x="72" y="170"/>
                      </a:lnTo>
                      <a:lnTo>
                        <a:pt x="78" y="170"/>
                      </a:lnTo>
                      <a:lnTo>
                        <a:pt x="78" y="172"/>
                      </a:lnTo>
                      <a:lnTo>
                        <a:pt x="84" y="172"/>
                      </a:lnTo>
                      <a:lnTo>
                        <a:pt x="84" y="168"/>
                      </a:lnTo>
                      <a:lnTo>
                        <a:pt x="86" y="166"/>
                      </a:lnTo>
                      <a:lnTo>
                        <a:pt x="90" y="166"/>
                      </a:lnTo>
                      <a:lnTo>
                        <a:pt x="92" y="168"/>
                      </a:lnTo>
                      <a:lnTo>
                        <a:pt x="92" y="170"/>
                      </a:lnTo>
                      <a:lnTo>
                        <a:pt x="96" y="170"/>
                      </a:lnTo>
                      <a:lnTo>
                        <a:pt x="96" y="172"/>
                      </a:lnTo>
                      <a:lnTo>
                        <a:pt x="104" y="172"/>
                      </a:lnTo>
                      <a:lnTo>
                        <a:pt x="104" y="174"/>
                      </a:lnTo>
                      <a:lnTo>
                        <a:pt x="104" y="176"/>
                      </a:lnTo>
                      <a:lnTo>
                        <a:pt x="112" y="176"/>
                      </a:lnTo>
                      <a:lnTo>
                        <a:pt x="112" y="178"/>
                      </a:lnTo>
                      <a:lnTo>
                        <a:pt x="118" y="178"/>
                      </a:lnTo>
                      <a:lnTo>
                        <a:pt x="118" y="176"/>
                      </a:lnTo>
                      <a:lnTo>
                        <a:pt x="118" y="174"/>
                      </a:lnTo>
                      <a:lnTo>
                        <a:pt x="122" y="174"/>
                      </a:lnTo>
                      <a:lnTo>
                        <a:pt x="122" y="170"/>
                      </a:lnTo>
                      <a:lnTo>
                        <a:pt x="126" y="164"/>
                      </a:lnTo>
                      <a:lnTo>
                        <a:pt x="130" y="160"/>
                      </a:lnTo>
                      <a:lnTo>
                        <a:pt x="132" y="158"/>
                      </a:lnTo>
                      <a:lnTo>
                        <a:pt x="134" y="156"/>
                      </a:lnTo>
                      <a:lnTo>
                        <a:pt x="138" y="154"/>
                      </a:lnTo>
                      <a:lnTo>
                        <a:pt x="140" y="152"/>
                      </a:lnTo>
                      <a:lnTo>
                        <a:pt x="144" y="152"/>
                      </a:lnTo>
                      <a:lnTo>
                        <a:pt x="146" y="154"/>
                      </a:lnTo>
                      <a:lnTo>
                        <a:pt x="150" y="154"/>
                      </a:lnTo>
                      <a:lnTo>
                        <a:pt x="152" y="156"/>
                      </a:lnTo>
                      <a:lnTo>
                        <a:pt x="162" y="156"/>
                      </a:lnTo>
                      <a:lnTo>
                        <a:pt x="166" y="160"/>
                      </a:lnTo>
                      <a:lnTo>
                        <a:pt x="166" y="162"/>
                      </a:lnTo>
                      <a:lnTo>
                        <a:pt x="170" y="162"/>
                      </a:lnTo>
                      <a:lnTo>
                        <a:pt x="172" y="164"/>
                      </a:lnTo>
                      <a:lnTo>
                        <a:pt x="178" y="164"/>
                      </a:lnTo>
                      <a:lnTo>
                        <a:pt x="182" y="162"/>
                      </a:lnTo>
                      <a:lnTo>
                        <a:pt x="184" y="160"/>
                      </a:lnTo>
                      <a:lnTo>
                        <a:pt x="186" y="154"/>
                      </a:lnTo>
                      <a:lnTo>
                        <a:pt x="192" y="150"/>
                      </a:lnTo>
                      <a:lnTo>
                        <a:pt x="196" y="150"/>
                      </a:lnTo>
                      <a:lnTo>
                        <a:pt x="196" y="148"/>
                      </a:lnTo>
                      <a:lnTo>
                        <a:pt x="200" y="144"/>
                      </a:lnTo>
                      <a:lnTo>
                        <a:pt x="200" y="142"/>
                      </a:lnTo>
                      <a:lnTo>
                        <a:pt x="198" y="140"/>
                      </a:lnTo>
                      <a:lnTo>
                        <a:pt x="192" y="140"/>
                      </a:lnTo>
                      <a:lnTo>
                        <a:pt x="188" y="138"/>
                      </a:lnTo>
                      <a:lnTo>
                        <a:pt x="186" y="136"/>
                      </a:lnTo>
                      <a:lnTo>
                        <a:pt x="186" y="134"/>
                      </a:lnTo>
                      <a:lnTo>
                        <a:pt x="188" y="132"/>
                      </a:lnTo>
                      <a:lnTo>
                        <a:pt x="190" y="130"/>
                      </a:lnTo>
                      <a:lnTo>
                        <a:pt x="190" y="126"/>
                      </a:lnTo>
                      <a:lnTo>
                        <a:pt x="188" y="126"/>
                      </a:lnTo>
                      <a:lnTo>
                        <a:pt x="184" y="126"/>
                      </a:lnTo>
                      <a:lnTo>
                        <a:pt x="182" y="120"/>
                      </a:lnTo>
                      <a:lnTo>
                        <a:pt x="188" y="120"/>
                      </a:lnTo>
                      <a:lnTo>
                        <a:pt x="192" y="116"/>
                      </a:lnTo>
                      <a:lnTo>
                        <a:pt x="192" y="114"/>
                      </a:lnTo>
                      <a:lnTo>
                        <a:pt x="186" y="108"/>
                      </a:lnTo>
                      <a:lnTo>
                        <a:pt x="188" y="106"/>
                      </a:lnTo>
                      <a:lnTo>
                        <a:pt x="190" y="106"/>
                      </a:lnTo>
                      <a:lnTo>
                        <a:pt x="190" y="104"/>
                      </a:lnTo>
                      <a:lnTo>
                        <a:pt x="186" y="100"/>
                      </a:lnTo>
                      <a:lnTo>
                        <a:pt x="188" y="94"/>
                      </a:lnTo>
                      <a:lnTo>
                        <a:pt x="186" y="94"/>
                      </a:lnTo>
                      <a:lnTo>
                        <a:pt x="182" y="94"/>
                      </a:lnTo>
                      <a:lnTo>
                        <a:pt x="176" y="100"/>
                      </a:lnTo>
                      <a:lnTo>
                        <a:pt x="174" y="100"/>
                      </a:lnTo>
                      <a:lnTo>
                        <a:pt x="174" y="98"/>
                      </a:lnTo>
                      <a:lnTo>
                        <a:pt x="176" y="96"/>
                      </a:lnTo>
                      <a:lnTo>
                        <a:pt x="174" y="94"/>
                      </a:lnTo>
                      <a:lnTo>
                        <a:pt x="178" y="92"/>
                      </a:lnTo>
                      <a:lnTo>
                        <a:pt x="178" y="88"/>
                      </a:lnTo>
                      <a:lnTo>
                        <a:pt x="182" y="86"/>
                      </a:lnTo>
                      <a:lnTo>
                        <a:pt x="182" y="82"/>
                      </a:lnTo>
                      <a:lnTo>
                        <a:pt x="186" y="82"/>
                      </a:lnTo>
                      <a:lnTo>
                        <a:pt x="188" y="80"/>
                      </a:lnTo>
                      <a:lnTo>
                        <a:pt x="190" y="78"/>
                      </a:lnTo>
                      <a:lnTo>
                        <a:pt x="192" y="76"/>
                      </a:lnTo>
                      <a:lnTo>
                        <a:pt x="192" y="74"/>
                      </a:lnTo>
                      <a:lnTo>
                        <a:pt x="198" y="76"/>
                      </a:lnTo>
                      <a:lnTo>
                        <a:pt x="198" y="72"/>
                      </a:lnTo>
                      <a:lnTo>
                        <a:pt x="198" y="60"/>
                      </a:lnTo>
                      <a:lnTo>
                        <a:pt x="200" y="58"/>
                      </a:lnTo>
                      <a:lnTo>
                        <a:pt x="202" y="56"/>
                      </a:lnTo>
                      <a:lnTo>
                        <a:pt x="204" y="54"/>
                      </a:lnTo>
                      <a:lnTo>
                        <a:pt x="204" y="50"/>
                      </a:lnTo>
                      <a:lnTo>
                        <a:pt x="208" y="46"/>
                      </a:lnTo>
                      <a:lnTo>
                        <a:pt x="210" y="42"/>
                      </a:lnTo>
                      <a:lnTo>
                        <a:pt x="204" y="40"/>
                      </a:lnTo>
                      <a:lnTo>
                        <a:pt x="198" y="40"/>
                      </a:lnTo>
                      <a:close/>
                    </a:path>
                  </a:pathLst>
                </a:custGeom>
                <a:solidFill>
                  <a:schemeClr val="accent1"/>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640" name="Finland"/>
                <p:cNvSpPr>
                  <a:spLocks/>
                </p:cNvSpPr>
                <p:nvPr/>
              </p:nvSpPr>
              <p:spPr bwMode="gray">
                <a:xfrm>
                  <a:off x="2977" y="907"/>
                  <a:ext cx="161" cy="183"/>
                </a:xfrm>
                <a:custGeom>
                  <a:avLst/>
                  <a:gdLst>
                    <a:gd name="T0" fmla="*/ 2147483647 w 630"/>
                    <a:gd name="T1" fmla="*/ 2147483647 h 714"/>
                    <a:gd name="T2" fmla="*/ 2147483647 w 630"/>
                    <a:gd name="T3" fmla="*/ 2147483647 h 714"/>
                    <a:gd name="T4" fmla="*/ 2147483647 w 630"/>
                    <a:gd name="T5" fmla="*/ 2147483647 h 714"/>
                    <a:gd name="T6" fmla="*/ 2147483647 w 630"/>
                    <a:gd name="T7" fmla="*/ 2147483647 h 714"/>
                    <a:gd name="T8" fmla="*/ 2147483647 w 630"/>
                    <a:gd name="T9" fmla="*/ 2147483647 h 714"/>
                    <a:gd name="T10" fmla="*/ 2147483647 w 630"/>
                    <a:gd name="T11" fmla="*/ 2147483647 h 714"/>
                    <a:gd name="T12" fmla="*/ 2147483647 w 630"/>
                    <a:gd name="T13" fmla="*/ 2147483647 h 714"/>
                    <a:gd name="T14" fmla="*/ 2147483647 w 630"/>
                    <a:gd name="T15" fmla="*/ 2147483647 h 714"/>
                    <a:gd name="T16" fmla="*/ 2147483647 w 630"/>
                    <a:gd name="T17" fmla="*/ 2147483647 h 714"/>
                    <a:gd name="T18" fmla="*/ 2147483647 w 630"/>
                    <a:gd name="T19" fmla="*/ 2147483647 h 714"/>
                    <a:gd name="T20" fmla="*/ 2147483647 w 630"/>
                    <a:gd name="T21" fmla="*/ 2147483647 h 714"/>
                    <a:gd name="T22" fmla="*/ 2147483647 w 630"/>
                    <a:gd name="T23" fmla="*/ 2147483647 h 714"/>
                    <a:gd name="T24" fmla="*/ 2147483647 w 630"/>
                    <a:gd name="T25" fmla="*/ 2147483647 h 714"/>
                    <a:gd name="T26" fmla="*/ 2147483647 w 630"/>
                    <a:gd name="T27" fmla="*/ 2147483647 h 714"/>
                    <a:gd name="T28" fmla="*/ 2147483647 w 630"/>
                    <a:gd name="T29" fmla="*/ 2147483647 h 714"/>
                    <a:gd name="T30" fmla="*/ 2147483647 w 630"/>
                    <a:gd name="T31" fmla="*/ 2147483647 h 714"/>
                    <a:gd name="T32" fmla="*/ 2147483647 w 630"/>
                    <a:gd name="T33" fmla="*/ 2147483647 h 714"/>
                    <a:gd name="T34" fmla="*/ 2147483647 w 630"/>
                    <a:gd name="T35" fmla="*/ 2147483647 h 714"/>
                    <a:gd name="T36" fmla="*/ 2147483647 w 630"/>
                    <a:gd name="T37" fmla="*/ 2147483647 h 714"/>
                    <a:gd name="T38" fmla="*/ 2147483647 w 630"/>
                    <a:gd name="T39" fmla="*/ 2147483647 h 714"/>
                    <a:gd name="T40" fmla="*/ 2147483647 w 630"/>
                    <a:gd name="T41" fmla="*/ 2147483647 h 714"/>
                    <a:gd name="T42" fmla="*/ 2147483647 w 630"/>
                    <a:gd name="T43" fmla="*/ 2147483647 h 714"/>
                    <a:gd name="T44" fmla="*/ 2147483647 w 630"/>
                    <a:gd name="T45" fmla="*/ 2147483647 h 714"/>
                    <a:gd name="T46" fmla="*/ 2147483647 w 630"/>
                    <a:gd name="T47" fmla="*/ 2147483647 h 714"/>
                    <a:gd name="T48" fmla="*/ 2147483647 w 630"/>
                    <a:gd name="T49" fmla="*/ 2147483647 h 714"/>
                    <a:gd name="T50" fmla="*/ 2147483647 w 630"/>
                    <a:gd name="T51" fmla="*/ 2147483647 h 714"/>
                    <a:gd name="T52" fmla="*/ 2147483647 w 630"/>
                    <a:gd name="T53" fmla="*/ 2147483647 h 714"/>
                    <a:gd name="T54" fmla="*/ 2147483647 w 630"/>
                    <a:gd name="T55" fmla="*/ 2147483647 h 714"/>
                    <a:gd name="T56" fmla="*/ 2147483647 w 630"/>
                    <a:gd name="T57" fmla="*/ 2147483647 h 714"/>
                    <a:gd name="T58" fmla="*/ 2147483647 w 630"/>
                    <a:gd name="T59" fmla="*/ 2147483647 h 714"/>
                    <a:gd name="T60" fmla="*/ 2147483647 w 630"/>
                    <a:gd name="T61" fmla="*/ 2147483647 h 714"/>
                    <a:gd name="T62" fmla="*/ 2147483647 w 630"/>
                    <a:gd name="T63" fmla="*/ 2147483647 h 714"/>
                    <a:gd name="T64" fmla="*/ 2147483647 w 630"/>
                    <a:gd name="T65" fmla="*/ 2147483647 h 714"/>
                    <a:gd name="T66" fmla="*/ 2147483647 w 630"/>
                    <a:gd name="T67" fmla="*/ 2147483647 h 714"/>
                    <a:gd name="T68" fmla="*/ 2147483647 w 630"/>
                    <a:gd name="T69" fmla="*/ 2147483647 h 714"/>
                    <a:gd name="T70" fmla="*/ 2147483647 w 630"/>
                    <a:gd name="T71" fmla="*/ 2147483647 h 714"/>
                    <a:gd name="T72" fmla="*/ 2147483647 w 630"/>
                    <a:gd name="T73" fmla="*/ 2147483647 h 714"/>
                    <a:gd name="T74" fmla="*/ 2147483647 w 630"/>
                    <a:gd name="T75" fmla="*/ 2147483647 h 714"/>
                    <a:gd name="T76" fmla="*/ 2147483647 w 630"/>
                    <a:gd name="T77" fmla="*/ 2147483647 h 714"/>
                    <a:gd name="T78" fmla="*/ 2147483647 w 630"/>
                    <a:gd name="T79" fmla="*/ 2147483647 h 714"/>
                    <a:gd name="T80" fmla="*/ 2147483647 w 630"/>
                    <a:gd name="T81" fmla="*/ 2147483647 h 714"/>
                    <a:gd name="T82" fmla="*/ 2147483647 w 630"/>
                    <a:gd name="T83" fmla="*/ 2147483647 h 714"/>
                    <a:gd name="T84" fmla="*/ 2147483647 w 630"/>
                    <a:gd name="T85" fmla="*/ 2147483647 h 714"/>
                    <a:gd name="T86" fmla="*/ 2147483647 w 630"/>
                    <a:gd name="T87" fmla="*/ 2147483647 h 714"/>
                    <a:gd name="T88" fmla="*/ 2147483647 w 630"/>
                    <a:gd name="T89" fmla="*/ 2147483647 h 714"/>
                    <a:gd name="T90" fmla="*/ 2147483647 w 630"/>
                    <a:gd name="T91" fmla="*/ 2147483647 h 714"/>
                    <a:gd name="T92" fmla="*/ 2147483647 w 630"/>
                    <a:gd name="T93" fmla="*/ 2147483647 h 714"/>
                    <a:gd name="T94" fmla="*/ 2147483647 w 630"/>
                    <a:gd name="T95" fmla="*/ 2147483647 h 714"/>
                    <a:gd name="T96" fmla="*/ 2147483647 w 630"/>
                    <a:gd name="T97" fmla="*/ 2147483647 h 714"/>
                    <a:gd name="T98" fmla="*/ 2147483647 w 630"/>
                    <a:gd name="T99" fmla="*/ 2147483647 h 714"/>
                    <a:gd name="T100" fmla="*/ 2147483647 w 630"/>
                    <a:gd name="T101" fmla="*/ 2147483647 h 714"/>
                    <a:gd name="T102" fmla="*/ 2147483647 w 630"/>
                    <a:gd name="T103" fmla="*/ 2147483647 h 714"/>
                    <a:gd name="T104" fmla="*/ 2147483647 w 630"/>
                    <a:gd name="T105" fmla="*/ 2147483647 h 714"/>
                    <a:gd name="T106" fmla="*/ 2147483647 w 630"/>
                    <a:gd name="T107" fmla="*/ 0 h 714"/>
                    <a:gd name="T108" fmla="*/ 2147483647 w 630"/>
                    <a:gd name="T109" fmla="*/ 2147483647 h 714"/>
                    <a:gd name="T110" fmla="*/ 2147483647 w 630"/>
                    <a:gd name="T111" fmla="*/ 2147483647 h 714"/>
                    <a:gd name="T112" fmla="*/ 2147483647 w 630"/>
                    <a:gd name="T113" fmla="*/ 2147483647 h 714"/>
                    <a:gd name="T114" fmla="*/ 2147483647 w 630"/>
                    <a:gd name="T115" fmla="*/ 2147483647 h 714"/>
                    <a:gd name="T116" fmla="*/ 2147483647 w 630"/>
                    <a:gd name="T117" fmla="*/ 2147483647 h 71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30"/>
                    <a:gd name="T178" fmla="*/ 0 h 714"/>
                    <a:gd name="T179" fmla="*/ 630 w 630"/>
                    <a:gd name="T180" fmla="*/ 714 h 71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30" h="714">
                      <a:moveTo>
                        <a:pt x="162" y="84"/>
                      </a:moveTo>
                      <a:lnTo>
                        <a:pt x="156" y="90"/>
                      </a:lnTo>
                      <a:lnTo>
                        <a:pt x="144" y="96"/>
                      </a:lnTo>
                      <a:lnTo>
                        <a:pt x="132" y="96"/>
                      </a:lnTo>
                      <a:lnTo>
                        <a:pt x="126" y="90"/>
                      </a:lnTo>
                      <a:lnTo>
                        <a:pt x="108" y="90"/>
                      </a:lnTo>
                      <a:lnTo>
                        <a:pt x="96" y="84"/>
                      </a:lnTo>
                      <a:lnTo>
                        <a:pt x="84" y="84"/>
                      </a:lnTo>
                      <a:lnTo>
                        <a:pt x="72" y="72"/>
                      </a:lnTo>
                      <a:lnTo>
                        <a:pt x="60" y="66"/>
                      </a:lnTo>
                      <a:lnTo>
                        <a:pt x="54" y="54"/>
                      </a:lnTo>
                      <a:lnTo>
                        <a:pt x="48" y="48"/>
                      </a:lnTo>
                      <a:lnTo>
                        <a:pt x="30" y="48"/>
                      </a:lnTo>
                      <a:lnTo>
                        <a:pt x="24" y="54"/>
                      </a:lnTo>
                      <a:lnTo>
                        <a:pt x="24" y="66"/>
                      </a:lnTo>
                      <a:lnTo>
                        <a:pt x="6" y="60"/>
                      </a:lnTo>
                      <a:lnTo>
                        <a:pt x="0" y="66"/>
                      </a:lnTo>
                      <a:lnTo>
                        <a:pt x="6" y="72"/>
                      </a:lnTo>
                      <a:lnTo>
                        <a:pt x="18" y="78"/>
                      </a:lnTo>
                      <a:lnTo>
                        <a:pt x="24" y="84"/>
                      </a:lnTo>
                      <a:lnTo>
                        <a:pt x="36" y="90"/>
                      </a:lnTo>
                      <a:lnTo>
                        <a:pt x="48" y="90"/>
                      </a:lnTo>
                      <a:lnTo>
                        <a:pt x="54" y="96"/>
                      </a:lnTo>
                      <a:lnTo>
                        <a:pt x="60" y="96"/>
                      </a:lnTo>
                      <a:lnTo>
                        <a:pt x="72" y="108"/>
                      </a:lnTo>
                      <a:lnTo>
                        <a:pt x="108" y="108"/>
                      </a:lnTo>
                      <a:lnTo>
                        <a:pt x="138" y="126"/>
                      </a:lnTo>
                      <a:lnTo>
                        <a:pt x="150" y="126"/>
                      </a:lnTo>
                      <a:lnTo>
                        <a:pt x="156" y="132"/>
                      </a:lnTo>
                      <a:lnTo>
                        <a:pt x="162" y="132"/>
                      </a:lnTo>
                      <a:lnTo>
                        <a:pt x="162" y="156"/>
                      </a:lnTo>
                      <a:lnTo>
                        <a:pt x="156" y="162"/>
                      </a:lnTo>
                      <a:lnTo>
                        <a:pt x="156" y="168"/>
                      </a:lnTo>
                      <a:lnTo>
                        <a:pt x="168" y="174"/>
                      </a:lnTo>
                      <a:lnTo>
                        <a:pt x="162" y="198"/>
                      </a:lnTo>
                      <a:lnTo>
                        <a:pt x="186" y="210"/>
                      </a:lnTo>
                      <a:lnTo>
                        <a:pt x="180" y="222"/>
                      </a:lnTo>
                      <a:lnTo>
                        <a:pt x="174" y="228"/>
                      </a:lnTo>
                      <a:lnTo>
                        <a:pt x="168" y="240"/>
                      </a:lnTo>
                      <a:lnTo>
                        <a:pt x="168" y="246"/>
                      </a:lnTo>
                      <a:lnTo>
                        <a:pt x="180" y="258"/>
                      </a:lnTo>
                      <a:lnTo>
                        <a:pt x="192" y="264"/>
                      </a:lnTo>
                      <a:lnTo>
                        <a:pt x="198" y="270"/>
                      </a:lnTo>
                      <a:lnTo>
                        <a:pt x="210" y="306"/>
                      </a:lnTo>
                      <a:lnTo>
                        <a:pt x="222" y="294"/>
                      </a:lnTo>
                      <a:lnTo>
                        <a:pt x="228" y="294"/>
                      </a:lnTo>
                      <a:lnTo>
                        <a:pt x="234" y="300"/>
                      </a:lnTo>
                      <a:lnTo>
                        <a:pt x="246" y="300"/>
                      </a:lnTo>
                      <a:lnTo>
                        <a:pt x="270" y="324"/>
                      </a:lnTo>
                      <a:lnTo>
                        <a:pt x="270" y="336"/>
                      </a:lnTo>
                      <a:lnTo>
                        <a:pt x="276" y="348"/>
                      </a:lnTo>
                      <a:lnTo>
                        <a:pt x="276" y="354"/>
                      </a:lnTo>
                      <a:lnTo>
                        <a:pt x="264" y="348"/>
                      </a:lnTo>
                      <a:lnTo>
                        <a:pt x="246" y="348"/>
                      </a:lnTo>
                      <a:lnTo>
                        <a:pt x="240" y="354"/>
                      </a:lnTo>
                      <a:lnTo>
                        <a:pt x="234" y="366"/>
                      </a:lnTo>
                      <a:lnTo>
                        <a:pt x="228" y="372"/>
                      </a:lnTo>
                      <a:lnTo>
                        <a:pt x="222" y="384"/>
                      </a:lnTo>
                      <a:lnTo>
                        <a:pt x="216" y="390"/>
                      </a:lnTo>
                      <a:lnTo>
                        <a:pt x="180" y="420"/>
                      </a:lnTo>
                      <a:lnTo>
                        <a:pt x="144" y="432"/>
                      </a:lnTo>
                      <a:lnTo>
                        <a:pt x="138" y="438"/>
                      </a:lnTo>
                      <a:lnTo>
                        <a:pt x="126" y="444"/>
                      </a:lnTo>
                      <a:lnTo>
                        <a:pt x="120" y="456"/>
                      </a:lnTo>
                      <a:lnTo>
                        <a:pt x="120" y="462"/>
                      </a:lnTo>
                      <a:lnTo>
                        <a:pt x="108" y="474"/>
                      </a:lnTo>
                      <a:lnTo>
                        <a:pt x="90" y="474"/>
                      </a:lnTo>
                      <a:lnTo>
                        <a:pt x="66" y="504"/>
                      </a:lnTo>
                      <a:lnTo>
                        <a:pt x="66" y="534"/>
                      </a:lnTo>
                      <a:lnTo>
                        <a:pt x="72" y="540"/>
                      </a:lnTo>
                      <a:lnTo>
                        <a:pt x="72" y="570"/>
                      </a:lnTo>
                      <a:lnTo>
                        <a:pt x="96" y="588"/>
                      </a:lnTo>
                      <a:lnTo>
                        <a:pt x="96" y="594"/>
                      </a:lnTo>
                      <a:lnTo>
                        <a:pt x="90" y="600"/>
                      </a:lnTo>
                      <a:lnTo>
                        <a:pt x="90" y="612"/>
                      </a:lnTo>
                      <a:lnTo>
                        <a:pt x="84" y="630"/>
                      </a:lnTo>
                      <a:lnTo>
                        <a:pt x="84" y="648"/>
                      </a:lnTo>
                      <a:lnTo>
                        <a:pt x="90" y="654"/>
                      </a:lnTo>
                      <a:lnTo>
                        <a:pt x="96" y="666"/>
                      </a:lnTo>
                      <a:lnTo>
                        <a:pt x="108" y="678"/>
                      </a:lnTo>
                      <a:lnTo>
                        <a:pt x="132" y="690"/>
                      </a:lnTo>
                      <a:lnTo>
                        <a:pt x="174" y="690"/>
                      </a:lnTo>
                      <a:lnTo>
                        <a:pt x="174" y="696"/>
                      </a:lnTo>
                      <a:lnTo>
                        <a:pt x="168" y="702"/>
                      </a:lnTo>
                      <a:lnTo>
                        <a:pt x="168" y="708"/>
                      </a:lnTo>
                      <a:lnTo>
                        <a:pt x="174" y="714"/>
                      </a:lnTo>
                      <a:lnTo>
                        <a:pt x="240" y="714"/>
                      </a:lnTo>
                      <a:lnTo>
                        <a:pt x="252" y="708"/>
                      </a:lnTo>
                      <a:lnTo>
                        <a:pt x="270" y="708"/>
                      </a:lnTo>
                      <a:lnTo>
                        <a:pt x="300" y="696"/>
                      </a:lnTo>
                      <a:lnTo>
                        <a:pt x="336" y="696"/>
                      </a:lnTo>
                      <a:lnTo>
                        <a:pt x="384" y="672"/>
                      </a:lnTo>
                      <a:lnTo>
                        <a:pt x="462" y="672"/>
                      </a:lnTo>
                      <a:lnTo>
                        <a:pt x="456" y="660"/>
                      </a:lnTo>
                      <a:lnTo>
                        <a:pt x="516" y="630"/>
                      </a:lnTo>
                      <a:lnTo>
                        <a:pt x="576" y="570"/>
                      </a:lnTo>
                      <a:lnTo>
                        <a:pt x="582" y="570"/>
                      </a:lnTo>
                      <a:lnTo>
                        <a:pt x="618" y="534"/>
                      </a:lnTo>
                      <a:lnTo>
                        <a:pt x="624" y="522"/>
                      </a:lnTo>
                      <a:lnTo>
                        <a:pt x="630" y="516"/>
                      </a:lnTo>
                      <a:lnTo>
                        <a:pt x="630" y="504"/>
                      </a:lnTo>
                      <a:lnTo>
                        <a:pt x="624" y="492"/>
                      </a:lnTo>
                      <a:lnTo>
                        <a:pt x="618" y="486"/>
                      </a:lnTo>
                      <a:lnTo>
                        <a:pt x="612" y="474"/>
                      </a:lnTo>
                      <a:lnTo>
                        <a:pt x="540" y="438"/>
                      </a:lnTo>
                      <a:lnTo>
                        <a:pt x="546" y="438"/>
                      </a:lnTo>
                      <a:lnTo>
                        <a:pt x="570" y="414"/>
                      </a:lnTo>
                      <a:lnTo>
                        <a:pt x="570" y="408"/>
                      </a:lnTo>
                      <a:lnTo>
                        <a:pt x="564" y="402"/>
                      </a:lnTo>
                      <a:lnTo>
                        <a:pt x="552" y="396"/>
                      </a:lnTo>
                      <a:lnTo>
                        <a:pt x="528" y="390"/>
                      </a:lnTo>
                      <a:lnTo>
                        <a:pt x="534" y="378"/>
                      </a:lnTo>
                      <a:lnTo>
                        <a:pt x="540" y="372"/>
                      </a:lnTo>
                      <a:lnTo>
                        <a:pt x="540" y="366"/>
                      </a:lnTo>
                      <a:lnTo>
                        <a:pt x="534" y="360"/>
                      </a:lnTo>
                      <a:lnTo>
                        <a:pt x="528" y="360"/>
                      </a:lnTo>
                      <a:lnTo>
                        <a:pt x="522" y="354"/>
                      </a:lnTo>
                      <a:lnTo>
                        <a:pt x="510" y="354"/>
                      </a:lnTo>
                      <a:lnTo>
                        <a:pt x="510" y="342"/>
                      </a:lnTo>
                      <a:lnTo>
                        <a:pt x="498" y="330"/>
                      </a:lnTo>
                      <a:lnTo>
                        <a:pt x="504" y="300"/>
                      </a:lnTo>
                      <a:lnTo>
                        <a:pt x="510" y="300"/>
                      </a:lnTo>
                      <a:lnTo>
                        <a:pt x="522" y="306"/>
                      </a:lnTo>
                      <a:lnTo>
                        <a:pt x="534" y="306"/>
                      </a:lnTo>
                      <a:lnTo>
                        <a:pt x="540" y="300"/>
                      </a:lnTo>
                      <a:lnTo>
                        <a:pt x="540" y="294"/>
                      </a:lnTo>
                      <a:lnTo>
                        <a:pt x="534" y="288"/>
                      </a:lnTo>
                      <a:lnTo>
                        <a:pt x="522" y="282"/>
                      </a:lnTo>
                      <a:lnTo>
                        <a:pt x="498" y="258"/>
                      </a:lnTo>
                      <a:lnTo>
                        <a:pt x="486" y="252"/>
                      </a:lnTo>
                      <a:lnTo>
                        <a:pt x="480" y="240"/>
                      </a:lnTo>
                      <a:lnTo>
                        <a:pt x="468" y="234"/>
                      </a:lnTo>
                      <a:lnTo>
                        <a:pt x="450" y="216"/>
                      </a:lnTo>
                      <a:lnTo>
                        <a:pt x="456" y="210"/>
                      </a:lnTo>
                      <a:lnTo>
                        <a:pt x="468" y="204"/>
                      </a:lnTo>
                      <a:lnTo>
                        <a:pt x="474" y="204"/>
                      </a:lnTo>
                      <a:lnTo>
                        <a:pt x="474" y="192"/>
                      </a:lnTo>
                      <a:lnTo>
                        <a:pt x="480" y="192"/>
                      </a:lnTo>
                      <a:lnTo>
                        <a:pt x="492" y="186"/>
                      </a:lnTo>
                      <a:lnTo>
                        <a:pt x="498" y="186"/>
                      </a:lnTo>
                      <a:lnTo>
                        <a:pt x="498" y="174"/>
                      </a:lnTo>
                      <a:lnTo>
                        <a:pt x="450" y="126"/>
                      </a:lnTo>
                      <a:lnTo>
                        <a:pt x="432" y="126"/>
                      </a:lnTo>
                      <a:lnTo>
                        <a:pt x="426" y="132"/>
                      </a:lnTo>
                      <a:lnTo>
                        <a:pt x="420" y="132"/>
                      </a:lnTo>
                      <a:lnTo>
                        <a:pt x="414" y="126"/>
                      </a:lnTo>
                      <a:lnTo>
                        <a:pt x="414" y="120"/>
                      </a:lnTo>
                      <a:lnTo>
                        <a:pt x="408" y="108"/>
                      </a:lnTo>
                      <a:lnTo>
                        <a:pt x="408" y="96"/>
                      </a:lnTo>
                      <a:lnTo>
                        <a:pt x="426" y="96"/>
                      </a:lnTo>
                      <a:lnTo>
                        <a:pt x="426" y="90"/>
                      </a:lnTo>
                      <a:lnTo>
                        <a:pt x="414" y="78"/>
                      </a:lnTo>
                      <a:lnTo>
                        <a:pt x="420" y="54"/>
                      </a:lnTo>
                      <a:lnTo>
                        <a:pt x="426" y="54"/>
                      </a:lnTo>
                      <a:lnTo>
                        <a:pt x="426" y="60"/>
                      </a:lnTo>
                      <a:lnTo>
                        <a:pt x="432" y="60"/>
                      </a:lnTo>
                      <a:lnTo>
                        <a:pt x="432" y="42"/>
                      </a:lnTo>
                      <a:lnTo>
                        <a:pt x="426" y="30"/>
                      </a:lnTo>
                      <a:lnTo>
                        <a:pt x="414" y="18"/>
                      </a:lnTo>
                      <a:lnTo>
                        <a:pt x="408" y="18"/>
                      </a:lnTo>
                      <a:lnTo>
                        <a:pt x="372" y="12"/>
                      </a:lnTo>
                      <a:lnTo>
                        <a:pt x="372" y="0"/>
                      </a:lnTo>
                      <a:lnTo>
                        <a:pt x="336" y="0"/>
                      </a:lnTo>
                      <a:lnTo>
                        <a:pt x="324" y="6"/>
                      </a:lnTo>
                      <a:lnTo>
                        <a:pt x="294" y="6"/>
                      </a:lnTo>
                      <a:lnTo>
                        <a:pt x="282" y="12"/>
                      </a:lnTo>
                      <a:lnTo>
                        <a:pt x="276" y="12"/>
                      </a:lnTo>
                      <a:lnTo>
                        <a:pt x="264" y="18"/>
                      </a:lnTo>
                      <a:lnTo>
                        <a:pt x="264" y="30"/>
                      </a:lnTo>
                      <a:lnTo>
                        <a:pt x="258" y="36"/>
                      </a:lnTo>
                      <a:lnTo>
                        <a:pt x="258" y="72"/>
                      </a:lnTo>
                      <a:lnTo>
                        <a:pt x="234" y="72"/>
                      </a:lnTo>
                      <a:lnTo>
                        <a:pt x="234" y="78"/>
                      </a:lnTo>
                      <a:lnTo>
                        <a:pt x="228" y="84"/>
                      </a:lnTo>
                      <a:lnTo>
                        <a:pt x="228" y="96"/>
                      </a:lnTo>
                      <a:lnTo>
                        <a:pt x="210" y="96"/>
                      </a:lnTo>
                      <a:lnTo>
                        <a:pt x="204" y="90"/>
                      </a:lnTo>
                      <a:lnTo>
                        <a:pt x="192" y="84"/>
                      </a:lnTo>
                      <a:lnTo>
                        <a:pt x="162" y="84"/>
                      </a:lnTo>
                      <a:close/>
                    </a:path>
                  </a:pathLst>
                </a:custGeom>
                <a:solidFill>
                  <a:schemeClr val="accent1"/>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641" name="Ethiopia"/>
                <p:cNvSpPr>
                  <a:spLocks/>
                </p:cNvSpPr>
                <p:nvPr/>
              </p:nvSpPr>
              <p:spPr bwMode="gray">
                <a:xfrm>
                  <a:off x="3253" y="2003"/>
                  <a:ext cx="270" cy="236"/>
                </a:xfrm>
                <a:custGeom>
                  <a:avLst/>
                  <a:gdLst>
                    <a:gd name="T0" fmla="*/ 2147483647 w 1056"/>
                    <a:gd name="T1" fmla="*/ 2147483647 h 924"/>
                    <a:gd name="T2" fmla="*/ 2147483647 w 1056"/>
                    <a:gd name="T3" fmla="*/ 2147483647 h 924"/>
                    <a:gd name="T4" fmla="*/ 2147483647 w 1056"/>
                    <a:gd name="T5" fmla="*/ 2147483647 h 924"/>
                    <a:gd name="T6" fmla="*/ 2147483647 w 1056"/>
                    <a:gd name="T7" fmla="*/ 2147483647 h 924"/>
                    <a:gd name="T8" fmla="*/ 2147483647 w 1056"/>
                    <a:gd name="T9" fmla="*/ 2147483647 h 924"/>
                    <a:gd name="T10" fmla="*/ 2147483647 w 1056"/>
                    <a:gd name="T11" fmla="*/ 2147483647 h 924"/>
                    <a:gd name="T12" fmla="*/ 2147483647 w 1056"/>
                    <a:gd name="T13" fmla="*/ 2147483647 h 924"/>
                    <a:gd name="T14" fmla="*/ 2147483647 w 1056"/>
                    <a:gd name="T15" fmla="*/ 2147483647 h 924"/>
                    <a:gd name="T16" fmla="*/ 2147483647 w 1056"/>
                    <a:gd name="T17" fmla="*/ 2147483647 h 924"/>
                    <a:gd name="T18" fmla="*/ 2147483647 w 1056"/>
                    <a:gd name="T19" fmla="*/ 2147483647 h 924"/>
                    <a:gd name="T20" fmla="*/ 2147483647 w 1056"/>
                    <a:gd name="T21" fmla="*/ 2147483647 h 924"/>
                    <a:gd name="T22" fmla="*/ 2147483647 w 1056"/>
                    <a:gd name="T23" fmla="*/ 2147483647 h 924"/>
                    <a:gd name="T24" fmla="*/ 2147483647 w 1056"/>
                    <a:gd name="T25" fmla="*/ 2147483647 h 924"/>
                    <a:gd name="T26" fmla="*/ 2147483647 w 1056"/>
                    <a:gd name="T27" fmla="*/ 2147483647 h 924"/>
                    <a:gd name="T28" fmla="*/ 2147483647 w 1056"/>
                    <a:gd name="T29" fmla="*/ 2147483647 h 924"/>
                    <a:gd name="T30" fmla="*/ 2147483647 w 1056"/>
                    <a:gd name="T31" fmla="*/ 2147483647 h 924"/>
                    <a:gd name="T32" fmla="*/ 2147483647 w 1056"/>
                    <a:gd name="T33" fmla="*/ 2147483647 h 924"/>
                    <a:gd name="T34" fmla="*/ 2147483647 w 1056"/>
                    <a:gd name="T35" fmla="*/ 2147483647 h 924"/>
                    <a:gd name="T36" fmla="*/ 2147483647 w 1056"/>
                    <a:gd name="T37" fmla="*/ 2147483647 h 924"/>
                    <a:gd name="T38" fmla="*/ 2147483647 w 1056"/>
                    <a:gd name="T39" fmla="*/ 2147483647 h 924"/>
                    <a:gd name="T40" fmla="*/ 2147483647 w 1056"/>
                    <a:gd name="T41" fmla="*/ 2147483647 h 924"/>
                    <a:gd name="T42" fmla="*/ 2147483647 w 1056"/>
                    <a:gd name="T43" fmla="*/ 2147483647 h 924"/>
                    <a:gd name="T44" fmla="*/ 2147483647 w 1056"/>
                    <a:gd name="T45" fmla="*/ 2147483647 h 924"/>
                    <a:gd name="T46" fmla="*/ 2147483647 w 1056"/>
                    <a:gd name="T47" fmla="*/ 2147483647 h 924"/>
                    <a:gd name="T48" fmla="*/ 2147483647 w 1056"/>
                    <a:gd name="T49" fmla="*/ 2147483647 h 924"/>
                    <a:gd name="T50" fmla="*/ 2147483647 w 1056"/>
                    <a:gd name="T51" fmla="*/ 2147483647 h 924"/>
                    <a:gd name="T52" fmla="*/ 2147483647 w 1056"/>
                    <a:gd name="T53" fmla="*/ 2147483647 h 924"/>
                    <a:gd name="T54" fmla="*/ 2147483647 w 1056"/>
                    <a:gd name="T55" fmla="*/ 2147483647 h 924"/>
                    <a:gd name="T56" fmla="*/ 2147483647 w 1056"/>
                    <a:gd name="T57" fmla="*/ 2147483647 h 924"/>
                    <a:gd name="T58" fmla="*/ 2147483647 w 1056"/>
                    <a:gd name="T59" fmla="*/ 2147483647 h 924"/>
                    <a:gd name="T60" fmla="*/ 2147483647 w 1056"/>
                    <a:gd name="T61" fmla="*/ 2147483647 h 924"/>
                    <a:gd name="T62" fmla="*/ 2147483647 w 1056"/>
                    <a:gd name="T63" fmla="*/ 2147483647 h 924"/>
                    <a:gd name="T64" fmla="*/ 2147483647 w 1056"/>
                    <a:gd name="T65" fmla="*/ 2147483647 h 924"/>
                    <a:gd name="T66" fmla="*/ 2147483647 w 1056"/>
                    <a:gd name="T67" fmla="*/ 2147483647 h 924"/>
                    <a:gd name="T68" fmla="*/ 2147483647 w 1056"/>
                    <a:gd name="T69" fmla="*/ 2147483647 h 924"/>
                    <a:gd name="T70" fmla="*/ 2147483647 w 1056"/>
                    <a:gd name="T71" fmla="*/ 2147483647 h 924"/>
                    <a:gd name="T72" fmla="*/ 2147483647 w 1056"/>
                    <a:gd name="T73" fmla="*/ 0 h 924"/>
                    <a:gd name="T74" fmla="*/ 2147483647 w 1056"/>
                    <a:gd name="T75" fmla="*/ 2147483647 h 924"/>
                    <a:gd name="T76" fmla="*/ 2147483647 w 1056"/>
                    <a:gd name="T77" fmla="*/ 2147483647 h 924"/>
                    <a:gd name="T78" fmla="*/ 2147483647 w 1056"/>
                    <a:gd name="T79" fmla="*/ 2147483647 h 924"/>
                    <a:gd name="T80" fmla="*/ 2147483647 w 1056"/>
                    <a:gd name="T81" fmla="*/ 2147483647 h 924"/>
                    <a:gd name="T82" fmla="*/ 2147483647 w 1056"/>
                    <a:gd name="T83" fmla="*/ 2147483647 h 924"/>
                    <a:gd name="T84" fmla="*/ 2147483647 w 1056"/>
                    <a:gd name="T85" fmla="*/ 2147483647 h 924"/>
                    <a:gd name="T86" fmla="*/ 2147483647 w 1056"/>
                    <a:gd name="T87" fmla="*/ 2147483647 h 924"/>
                    <a:gd name="T88" fmla="*/ 2147483647 w 1056"/>
                    <a:gd name="T89" fmla="*/ 2147483647 h 924"/>
                    <a:gd name="T90" fmla="*/ 2147483647 w 1056"/>
                    <a:gd name="T91" fmla="*/ 2147483647 h 924"/>
                    <a:gd name="T92" fmla="*/ 2147483647 w 1056"/>
                    <a:gd name="T93" fmla="*/ 2147483647 h 924"/>
                    <a:gd name="T94" fmla="*/ 2147483647 w 1056"/>
                    <a:gd name="T95" fmla="*/ 2147483647 h 924"/>
                    <a:gd name="T96" fmla="*/ 2147483647 w 1056"/>
                    <a:gd name="T97" fmla="*/ 2147483647 h 924"/>
                    <a:gd name="T98" fmla="*/ 2147483647 w 1056"/>
                    <a:gd name="T99" fmla="*/ 2147483647 h 924"/>
                    <a:gd name="T100" fmla="*/ 2147483647 w 1056"/>
                    <a:gd name="T101" fmla="*/ 2147483647 h 924"/>
                    <a:gd name="T102" fmla="*/ 2147483647 w 1056"/>
                    <a:gd name="T103" fmla="*/ 2147483647 h 924"/>
                    <a:gd name="T104" fmla="*/ 2147483647 w 1056"/>
                    <a:gd name="T105" fmla="*/ 2147483647 h 924"/>
                    <a:gd name="T106" fmla="*/ 2147483647 w 1056"/>
                    <a:gd name="T107" fmla="*/ 2147483647 h 924"/>
                    <a:gd name="T108" fmla="*/ 2147483647 w 1056"/>
                    <a:gd name="T109" fmla="*/ 2147483647 h 924"/>
                    <a:gd name="T110" fmla="*/ 2147483647 w 1056"/>
                    <a:gd name="T111" fmla="*/ 2147483647 h 924"/>
                    <a:gd name="T112" fmla="*/ 2147483647 w 1056"/>
                    <a:gd name="T113" fmla="*/ 2147483647 h 924"/>
                    <a:gd name="T114" fmla="*/ 2147483647 w 1056"/>
                    <a:gd name="T115" fmla="*/ 2147483647 h 924"/>
                    <a:gd name="T116" fmla="*/ 2147483647 w 1056"/>
                    <a:gd name="T117" fmla="*/ 2147483647 h 92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056"/>
                    <a:gd name="T178" fmla="*/ 0 h 924"/>
                    <a:gd name="T179" fmla="*/ 1056 w 1056"/>
                    <a:gd name="T180" fmla="*/ 924 h 92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056" h="924">
                      <a:moveTo>
                        <a:pt x="84" y="642"/>
                      </a:moveTo>
                      <a:lnTo>
                        <a:pt x="108" y="642"/>
                      </a:lnTo>
                      <a:lnTo>
                        <a:pt x="114" y="666"/>
                      </a:lnTo>
                      <a:lnTo>
                        <a:pt x="126" y="666"/>
                      </a:lnTo>
                      <a:lnTo>
                        <a:pt x="126" y="702"/>
                      </a:lnTo>
                      <a:lnTo>
                        <a:pt x="138" y="708"/>
                      </a:lnTo>
                      <a:lnTo>
                        <a:pt x="138" y="726"/>
                      </a:lnTo>
                      <a:lnTo>
                        <a:pt x="156" y="762"/>
                      </a:lnTo>
                      <a:lnTo>
                        <a:pt x="168" y="768"/>
                      </a:lnTo>
                      <a:lnTo>
                        <a:pt x="186" y="768"/>
                      </a:lnTo>
                      <a:lnTo>
                        <a:pt x="192" y="774"/>
                      </a:lnTo>
                      <a:lnTo>
                        <a:pt x="198" y="786"/>
                      </a:lnTo>
                      <a:lnTo>
                        <a:pt x="198" y="804"/>
                      </a:lnTo>
                      <a:lnTo>
                        <a:pt x="210" y="840"/>
                      </a:lnTo>
                      <a:lnTo>
                        <a:pt x="282" y="846"/>
                      </a:lnTo>
                      <a:lnTo>
                        <a:pt x="360" y="906"/>
                      </a:lnTo>
                      <a:lnTo>
                        <a:pt x="390" y="906"/>
                      </a:lnTo>
                      <a:lnTo>
                        <a:pt x="402" y="912"/>
                      </a:lnTo>
                      <a:lnTo>
                        <a:pt x="432" y="912"/>
                      </a:lnTo>
                      <a:lnTo>
                        <a:pt x="444" y="918"/>
                      </a:lnTo>
                      <a:lnTo>
                        <a:pt x="450" y="918"/>
                      </a:lnTo>
                      <a:lnTo>
                        <a:pt x="462" y="924"/>
                      </a:lnTo>
                      <a:lnTo>
                        <a:pt x="486" y="906"/>
                      </a:lnTo>
                      <a:lnTo>
                        <a:pt x="486" y="894"/>
                      </a:lnTo>
                      <a:lnTo>
                        <a:pt x="498" y="882"/>
                      </a:lnTo>
                      <a:lnTo>
                        <a:pt x="510" y="882"/>
                      </a:lnTo>
                      <a:lnTo>
                        <a:pt x="522" y="876"/>
                      </a:lnTo>
                      <a:lnTo>
                        <a:pt x="528" y="870"/>
                      </a:lnTo>
                      <a:lnTo>
                        <a:pt x="534" y="870"/>
                      </a:lnTo>
                      <a:lnTo>
                        <a:pt x="552" y="852"/>
                      </a:lnTo>
                      <a:lnTo>
                        <a:pt x="576" y="882"/>
                      </a:lnTo>
                      <a:lnTo>
                        <a:pt x="606" y="882"/>
                      </a:lnTo>
                      <a:lnTo>
                        <a:pt x="612" y="876"/>
                      </a:lnTo>
                      <a:lnTo>
                        <a:pt x="636" y="882"/>
                      </a:lnTo>
                      <a:lnTo>
                        <a:pt x="636" y="876"/>
                      </a:lnTo>
                      <a:lnTo>
                        <a:pt x="648" y="864"/>
                      </a:lnTo>
                      <a:lnTo>
                        <a:pt x="660" y="864"/>
                      </a:lnTo>
                      <a:lnTo>
                        <a:pt x="672" y="858"/>
                      </a:lnTo>
                      <a:lnTo>
                        <a:pt x="696" y="858"/>
                      </a:lnTo>
                      <a:lnTo>
                        <a:pt x="714" y="840"/>
                      </a:lnTo>
                      <a:lnTo>
                        <a:pt x="714" y="828"/>
                      </a:lnTo>
                      <a:lnTo>
                        <a:pt x="726" y="822"/>
                      </a:lnTo>
                      <a:lnTo>
                        <a:pt x="732" y="816"/>
                      </a:lnTo>
                      <a:lnTo>
                        <a:pt x="744" y="810"/>
                      </a:lnTo>
                      <a:lnTo>
                        <a:pt x="756" y="810"/>
                      </a:lnTo>
                      <a:lnTo>
                        <a:pt x="762" y="804"/>
                      </a:lnTo>
                      <a:lnTo>
                        <a:pt x="846" y="804"/>
                      </a:lnTo>
                      <a:lnTo>
                        <a:pt x="1056" y="558"/>
                      </a:lnTo>
                      <a:lnTo>
                        <a:pt x="984" y="564"/>
                      </a:lnTo>
                      <a:lnTo>
                        <a:pt x="948" y="546"/>
                      </a:lnTo>
                      <a:lnTo>
                        <a:pt x="936" y="534"/>
                      </a:lnTo>
                      <a:lnTo>
                        <a:pt x="918" y="528"/>
                      </a:lnTo>
                      <a:lnTo>
                        <a:pt x="906" y="522"/>
                      </a:lnTo>
                      <a:lnTo>
                        <a:pt x="882" y="516"/>
                      </a:lnTo>
                      <a:lnTo>
                        <a:pt x="810" y="492"/>
                      </a:lnTo>
                      <a:lnTo>
                        <a:pt x="774" y="474"/>
                      </a:lnTo>
                      <a:lnTo>
                        <a:pt x="768" y="462"/>
                      </a:lnTo>
                      <a:lnTo>
                        <a:pt x="762" y="456"/>
                      </a:lnTo>
                      <a:lnTo>
                        <a:pt x="756" y="444"/>
                      </a:lnTo>
                      <a:lnTo>
                        <a:pt x="732" y="444"/>
                      </a:lnTo>
                      <a:lnTo>
                        <a:pt x="732" y="438"/>
                      </a:lnTo>
                      <a:lnTo>
                        <a:pt x="726" y="432"/>
                      </a:lnTo>
                      <a:lnTo>
                        <a:pt x="714" y="408"/>
                      </a:lnTo>
                      <a:lnTo>
                        <a:pt x="708" y="402"/>
                      </a:lnTo>
                      <a:lnTo>
                        <a:pt x="702" y="390"/>
                      </a:lnTo>
                      <a:lnTo>
                        <a:pt x="696" y="384"/>
                      </a:lnTo>
                      <a:lnTo>
                        <a:pt x="690" y="372"/>
                      </a:lnTo>
                      <a:lnTo>
                        <a:pt x="690" y="360"/>
                      </a:lnTo>
                      <a:lnTo>
                        <a:pt x="678" y="348"/>
                      </a:lnTo>
                      <a:lnTo>
                        <a:pt x="696" y="318"/>
                      </a:lnTo>
                      <a:lnTo>
                        <a:pt x="690" y="312"/>
                      </a:lnTo>
                      <a:lnTo>
                        <a:pt x="678" y="306"/>
                      </a:lnTo>
                      <a:lnTo>
                        <a:pt x="666" y="306"/>
                      </a:lnTo>
                      <a:lnTo>
                        <a:pt x="660" y="312"/>
                      </a:lnTo>
                      <a:lnTo>
                        <a:pt x="654" y="312"/>
                      </a:lnTo>
                      <a:lnTo>
                        <a:pt x="648" y="318"/>
                      </a:lnTo>
                      <a:lnTo>
                        <a:pt x="624" y="318"/>
                      </a:lnTo>
                      <a:lnTo>
                        <a:pt x="612" y="306"/>
                      </a:lnTo>
                      <a:lnTo>
                        <a:pt x="612" y="294"/>
                      </a:lnTo>
                      <a:lnTo>
                        <a:pt x="606" y="276"/>
                      </a:lnTo>
                      <a:lnTo>
                        <a:pt x="606" y="264"/>
                      </a:lnTo>
                      <a:lnTo>
                        <a:pt x="624" y="246"/>
                      </a:lnTo>
                      <a:lnTo>
                        <a:pt x="654" y="192"/>
                      </a:lnTo>
                      <a:lnTo>
                        <a:pt x="642" y="174"/>
                      </a:lnTo>
                      <a:lnTo>
                        <a:pt x="630" y="174"/>
                      </a:lnTo>
                      <a:lnTo>
                        <a:pt x="618" y="168"/>
                      </a:lnTo>
                      <a:lnTo>
                        <a:pt x="612" y="162"/>
                      </a:lnTo>
                      <a:lnTo>
                        <a:pt x="612" y="138"/>
                      </a:lnTo>
                      <a:lnTo>
                        <a:pt x="600" y="126"/>
                      </a:lnTo>
                      <a:lnTo>
                        <a:pt x="576" y="114"/>
                      </a:lnTo>
                      <a:lnTo>
                        <a:pt x="570" y="108"/>
                      </a:lnTo>
                      <a:lnTo>
                        <a:pt x="546" y="72"/>
                      </a:lnTo>
                      <a:lnTo>
                        <a:pt x="534" y="66"/>
                      </a:lnTo>
                      <a:lnTo>
                        <a:pt x="528" y="60"/>
                      </a:lnTo>
                      <a:lnTo>
                        <a:pt x="516" y="60"/>
                      </a:lnTo>
                      <a:lnTo>
                        <a:pt x="498" y="36"/>
                      </a:lnTo>
                      <a:lnTo>
                        <a:pt x="468" y="36"/>
                      </a:lnTo>
                      <a:lnTo>
                        <a:pt x="462" y="30"/>
                      </a:lnTo>
                      <a:lnTo>
                        <a:pt x="444" y="30"/>
                      </a:lnTo>
                      <a:lnTo>
                        <a:pt x="432" y="36"/>
                      </a:lnTo>
                      <a:lnTo>
                        <a:pt x="420" y="36"/>
                      </a:lnTo>
                      <a:lnTo>
                        <a:pt x="420" y="24"/>
                      </a:lnTo>
                      <a:lnTo>
                        <a:pt x="414" y="18"/>
                      </a:lnTo>
                      <a:lnTo>
                        <a:pt x="408" y="24"/>
                      </a:lnTo>
                      <a:lnTo>
                        <a:pt x="402" y="36"/>
                      </a:lnTo>
                      <a:lnTo>
                        <a:pt x="372" y="36"/>
                      </a:lnTo>
                      <a:lnTo>
                        <a:pt x="366" y="24"/>
                      </a:lnTo>
                      <a:lnTo>
                        <a:pt x="360" y="18"/>
                      </a:lnTo>
                      <a:lnTo>
                        <a:pt x="354" y="18"/>
                      </a:lnTo>
                      <a:lnTo>
                        <a:pt x="342" y="6"/>
                      </a:lnTo>
                      <a:lnTo>
                        <a:pt x="330" y="0"/>
                      </a:lnTo>
                      <a:lnTo>
                        <a:pt x="330" y="12"/>
                      </a:lnTo>
                      <a:lnTo>
                        <a:pt x="324" y="24"/>
                      </a:lnTo>
                      <a:lnTo>
                        <a:pt x="318" y="42"/>
                      </a:lnTo>
                      <a:lnTo>
                        <a:pt x="318" y="54"/>
                      </a:lnTo>
                      <a:lnTo>
                        <a:pt x="306" y="66"/>
                      </a:lnTo>
                      <a:lnTo>
                        <a:pt x="288" y="48"/>
                      </a:lnTo>
                      <a:lnTo>
                        <a:pt x="288" y="42"/>
                      </a:lnTo>
                      <a:lnTo>
                        <a:pt x="282" y="36"/>
                      </a:lnTo>
                      <a:lnTo>
                        <a:pt x="276" y="36"/>
                      </a:lnTo>
                      <a:lnTo>
                        <a:pt x="276" y="42"/>
                      </a:lnTo>
                      <a:lnTo>
                        <a:pt x="270" y="48"/>
                      </a:lnTo>
                      <a:lnTo>
                        <a:pt x="234" y="48"/>
                      </a:lnTo>
                      <a:lnTo>
                        <a:pt x="234" y="90"/>
                      </a:lnTo>
                      <a:lnTo>
                        <a:pt x="228" y="96"/>
                      </a:lnTo>
                      <a:lnTo>
                        <a:pt x="222" y="108"/>
                      </a:lnTo>
                      <a:lnTo>
                        <a:pt x="216" y="114"/>
                      </a:lnTo>
                      <a:lnTo>
                        <a:pt x="210" y="126"/>
                      </a:lnTo>
                      <a:lnTo>
                        <a:pt x="210" y="174"/>
                      </a:lnTo>
                      <a:lnTo>
                        <a:pt x="180" y="174"/>
                      </a:lnTo>
                      <a:lnTo>
                        <a:pt x="174" y="180"/>
                      </a:lnTo>
                      <a:lnTo>
                        <a:pt x="168" y="192"/>
                      </a:lnTo>
                      <a:lnTo>
                        <a:pt x="162" y="198"/>
                      </a:lnTo>
                      <a:lnTo>
                        <a:pt x="162" y="234"/>
                      </a:lnTo>
                      <a:lnTo>
                        <a:pt x="156" y="240"/>
                      </a:lnTo>
                      <a:lnTo>
                        <a:pt x="144" y="240"/>
                      </a:lnTo>
                      <a:lnTo>
                        <a:pt x="138" y="246"/>
                      </a:lnTo>
                      <a:lnTo>
                        <a:pt x="138" y="270"/>
                      </a:lnTo>
                      <a:lnTo>
                        <a:pt x="126" y="288"/>
                      </a:lnTo>
                      <a:lnTo>
                        <a:pt x="126" y="294"/>
                      </a:lnTo>
                      <a:lnTo>
                        <a:pt x="132" y="300"/>
                      </a:lnTo>
                      <a:lnTo>
                        <a:pt x="132" y="336"/>
                      </a:lnTo>
                      <a:lnTo>
                        <a:pt x="126" y="342"/>
                      </a:lnTo>
                      <a:lnTo>
                        <a:pt x="114" y="342"/>
                      </a:lnTo>
                      <a:lnTo>
                        <a:pt x="108" y="336"/>
                      </a:lnTo>
                      <a:lnTo>
                        <a:pt x="108" y="324"/>
                      </a:lnTo>
                      <a:lnTo>
                        <a:pt x="102" y="324"/>
                      </a:lnTo>
                      <a:lnTo>
                        <a:pt x="84" y="342"/>
                      </a:lnTo>
                      <a:lnTo>
                        <a:pt x="84" y="360"/>
                      </a:lnTo>
                      <a:lnTo>
                        <a:pt x="90" y="372"/>
                      </a:lnTo>
                      <a:lnTo>
                        <a:pt x="90" y="390"/>
                      </a:lnTo>
                      <a:lnTo>
                        <a:pt x="84" y="396"/>
                      </a:lnTo>
                      <a:lnTo>
                        <a:pt x="72" y="402"/>
                      </a:lnTo>
                      <a:lnTo>
                        <a:pt x="66" y="414"/>
                      </a:lnTo>
                      <a:lnTo>
                        <a:pt x="66" y="426"/>
                      </a:lnTo>
                      <a:lnTo>
                        <a:pt x="72" y="438"/>
                      </a:lnTo>
                      <a:lnTo>
                        <a:pt x="72" y="450"/>
                      </a:lnTo>
                      <a:lnTo>
                        <a:pt x="78" y="456"/>
                      </a:lnTo>
                      <a:lnTo>
                        <a:pt x="78" y="492"/>
                      </a:lnTo>
                      <a:lnTo>
                        <a:pt x="72" y="504"/>
                      </a:lnTo>
                      <a:lnTo>
                        <a:pt x="72" y="516"/>
                      </a:lnTo>
                      <a:lnTo>
                        <a:pt x="66" y="522"/>
                      </a:lnTo>
                      <a:lnTo>
                        <a:pt x="54" y="522"/>
                      </a:lnTo>
                      <a:lnTo>
                        <a:pt x="48" y="528"/>
                      </a:lnTo>
                      <a:lnTo>
                        <a:pt x="42" y="522"/>
                      </a:lnTo>
                      <a:lnTo>
                        <a:pt x="6" y="522"/>
                      </a:lnTo>
                      <a:lnTo>
                        <a:pt x="12" y="546"/>
                      </a:lnTo>
                      <a:lnTo>
                        <a:pt x="6" y="552"/>
                      </a:lnTo>
                      <a:lnTo>
                        <a:pt x="0" y="564"/>
                      </a:lnTo>
                      <a:lnTo>
                        <a:pt x="0" y="576"/>
                      </a:lnTo>
                      <a:lnTo>
                        <a:pt x="6" y="576"/>
                      </a:lnTo>
                      <a:lnTo>
                        <a:pt x="18" y="582"/>
                      </a:lnTo>
                      <a:lnTo>
                        <a:pt x="42" y="582"/>
                      </a:lnTo>
                      <a:lnTo>
                        <a:pt x="48" y="588"/>
                      </a:lnTo>
                      <a:lnTo>
                        <a:pt x="60" y="594"/>
                      </a:lnTo>
                      <a:lnTo>
                        <a:pt x="66" y="606"/>
                      </a:lnTo>
                      <a:lnTo>
                        <a:pt x="78" y="612"/>
                      </a:lnTo>
                      <a:lnTo>
                        <a:pt x="78" y="630"/>
                      </a:lnTo>
                      <a:lnTo>
                        <a:pt x="84" y="642"/>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642" name="Estonia"/>
                <p:cNvSpPr>
                  <a:spLocks noEditPoints="1"/>
                </p:cNvSpPr>
                <p:nvPr/>
              </p:nvSpPr>
              <p:spPr bwMode="gray">
                <a:xfrm>
                  <a:off x="3009" y="1096"/>
                  <a:ext cx="89" cy="40"/>
                </a:xfrm>
                <a:custGeom>
                  <a:avLst/>
                  <a:gdLst>
                    <a:gd name="T0" fmla="*/ 2147483647 w 348"/>
                    <a:gd name="T1" fmla="*/ 2147483647 h 156"/>
                    <a:gd name="T2" fmla="*/ 2147483647 w 348"/>
                    <a:gd name="T3" fmla="*/ 2147483647 h 156"/>
                    <a:gd name="T4" fmla="*/ 2147483647 w 348"/>
                    <a:gd name="T5" fmla="*/ 2147483647 h 156"/>
                    <a:gd name="T6" fmla="*/ 2147483647 w 348"/>
                    <a:gd name="T7" fmla="*/ 2147483647 h 156"/>
                    <a:gd name="T8" fmla="*/ 2147483647 w 348"/>
                    <a:gd name="T9" fmla="*/ 2147483647 h 156"/>
                    <a:gd name="T10" fmla="*/ 2147483647 w 348"/>
                    <a:gd name="T11" fmla="*/ 2147483647 h 156"/>
                    <a:gd name="T12" fmla="*/ 2147483647 w 348"/>
                    <a:gd name="T13" fmla="*/ 2147483647 h 156"/>
                    <a:gd name="T14" fmla="*/ 2147483647 w 348"/>
                    <a:gd name="T15" fmla="*/ 0 h 156"/>
                    <a:gd name="T16" fmla="*/ 2147483647 w 348"/>
                    <a:gd name="T17" fmla="*/ 2147483647 h 156"/>
                    <a:gd name="T18" fmla="*/ 2147483647 w 348"/>
                    <a:gd name="T19" fmla="*/ 2147483647 h 156"/>
                    <a:gd name="T20" fmla="*/ 2147483647 w 348"/>
                    <a:gd name="T21" fmla="*/ 2147483647 h 156"/>
                    <a:gd name="T22" fmla="*/ 2147483647 w 348"/>
                    <a:gd name="T23" fmla="*/ 2147483647 h 156"/>
                    <a:gd name="T24" fmla="*/ 2147483647 w 348"/>
                    <a:gd name="T25" fmla="*/ 2147483647 h 156"/>
                    <a:gd name="T26" fmla="*/ 2147483647 w 348"/>
                    <a:gd name="T27" fmla="*/ 2147483647 h 156"/>
                    <a:gd name="T28" fmla="*/ 2147483647 w 348"/>
                    <a:gd name="T29" fmla="*/ 2147483647 h 156"/>
                    <a:gd name="T30" fmla="*/ 2147483647 w 348"/>
                    <a:gd name="T31" fmla="*/ 2147483647 h 156"/>
                    <a:gd name="T32" fmla="*/ 2147483647 w 348"/>
                    <a:gd name="T33" fmla="*/ 2147483647 h 156"/>
                    <a:gd name="T34" fmla="*/ 2147483647 w 348"/>
                    <a:gd name="T35" fmla="*/ 2147483647 h 156"/>
                    <a:gd name="T36" fmla="*/ 2147483647 w 348"/>
                    <a:gd name="T37" fmla="*/ 2147483647 h 156"/>
                    <a:gd name="T38" fmla="*/ 2147483647 w 348"/>
                    <a:gd name="T39" fmla="*/ 2147483647 h 156"/>
                    <a:gd name="T40" fmla="*/ 2147483647 w 348"/>
                    <a:gd name="T41" fmla="*/ 2147483647 h 156"/>
                    <a:gd name="T42" fmla="*/ 2147483647 w 348"/>
                    <a:gd name="T43" fmla="*/ 2147483647 h 156"/>
                    <a:gd name="T44" fmla="*/ 2147483647 w 348"/>
                    <a:gd name="T45" fmla="*/ 2147483647 h 156"/>
                    <a:gd name="T46" fmla="*/ 2147483647 w 348"/>
                    <a:gd name="T47" fmla="*/ 2147483647 h 156"/>
                    <a:gd name="T48" fmla="*/ 0 w 348"/>
                    <a:gd name="T49" fmla="*/ 2147483647 h 156"/>
                    <a:gd name="T50" fmla="*/ 2147483647 w 348"/>
                    <a:gd name="T51" fmla="*/ 2147483647 h 156"/>
                    <a:gd name="T52" fmla="*/ 2147483647 w 348"/>
                    <a:gd name="T53" fmla="*/ 2147483647 h 156"/>
                    <a:gd name="T54" fmla="*/ 2147483647 w 348"/>
                    <a:gd name="T55" fmla="*/ 2147483647 h 156"/>
                    <a:gd name="T56" fmla="*/ 2147483647 w 348"/>
                    <a:gd name="T57" fmla="*/ 2147483647 h 156"/>
                    <a:gd name="T58" fmla="*/ 2147483647 w 348"/>
                    <a:gd name="T59" fmla="*/ 2147483647 h 156"/>
                    <a:gd name="T60" fmla="*/ 2147483647 w 348"/>
                    <a:gd name="T61" fmla="*/ 2147483647 h 156"/>
                    <a:gd name="T62" fmla="*/ 2147483647 w 348"/>
                    <a:gd name="T63" fmla="*/ 2147483647 h 156"/>
                    <a:gd name="T64" fmla="*/ 2147483647 w 348"/>
                    <a:gd name="T65" fmla="*/ 2147483647 h 156"/>
                    <a:gd name="T66" fmla="*/ 2147483647 w 348"/>
                    <a:gd name="T67" fmla="*/ 2147483647 h 156"/>
                    <a:gd name="T68" fmla="*/ 2147483647 w 348"/>
                    <a:gd name="T69" fmla="*/ 2147483647 h 156"/>
                    <a:gd name="T70" fmla="*/ 2147483647 w 348"/>
                    <a:gd name="T71" fmla="*/ 2147483647 h 15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48"/>
                    <a:gd name="T109" fmla="*/ 0 h 156"/>
                    <a:gd name="T110" fmla="*/ 348 w 348"/>
                    <a:gd name="T111" fmla="*/ 156 h 15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48" h="156">
                      <a:moveTo>
                        <a:pt x="336" y="114"/>
                      </a:moveTo>
                      <a:lnTo>
                        <a:pt x="324" y="108"/>
                      </a:lnTo>
                      <a:lnTo>
                        <a:pt x="336" y="84"/>
                      </a:lnTo>
                      <a:lnTo>
                        <a:pt x="318" y="78"/>
                      </a:lnTo>
                      <a:lnTo>
                        <a:pt x="318" y="60"/>
                      </a:lnTo>
                      <a:lnTo>
                        <a:pt x="330" y="48"/>
                      </a:lnTo>
                      <a:lnTo>
                        <a:pt x="336" y="48"/>
                      </a:lnTo>
                      <a:lnTo>
                        <a:pt x="342" y="42"/>
                      </a:lnTo>
                      <a:lnTo>
                        <a:pt x="336" y="30"/>
                      </a:lnTo>
                      <a:lnTo>
                        <a:pt x="342" y="18"/>
                      </a:lnTo>
                      <a:lnTo>
                        <a:pt x="330" y="12"/>
                      </a:lnTo>
                      <a:lnTo>
                        <a:pt x="312" y="12"/>
                      </a:lnTo>
                      <a:lnTo>
                        <a:pt x="294" y="6"/>
                      </a:lnTo>
                      <a:lnTo>
                        <a:pt x="276" y="6"/>
                      </a:lnTo>
                      <a:lnTo>
                        <a:pt x="264" y="0"/>
                      </a:lnTo>
                      <a:lnTo>
                        <a:pt x="204" y="0"/>
                      </a:lnTo>
                      <a:lnTo>
                        <a:pt x="192" y="6"/>
                      </a:lnTo>
                      <a:lnTo>
                        <a:pt x="156" y="6"/>
                      </a:lnTo>
                      <a:lnTo>
                        <a:pt x="150" y="12"/>
                      </a:lnTo>
                      <a:lnTo>
                        <a:pt x="126" y="24"/>
                      </a:lnTo>
                      <a:lnTo>
                        <a:pt x="108" y="30"/>
                      </a:lnTo>
                      <a:lnTo>
                        <a:pt x="96" y="36"/>
                      </a:lnTo>
                      <a:lnTo>
                        <a:pt x="90" y="36"/>
                      </a:lnTo>
                      <a:lnTo>
                        <a:pt x="84" y="42"/>
                      </a:lnTo>
                      <a:lnTo>
                        <a:pt x="84" y="48"/>
                      </a:lnTo>
                      <a:lnTo>
                        <a:pt x="90" y="60"/>
                      </a:lnTo>
                      <a:lnTo>
                        <a:pt x="90" y="72"/>
                      </a:lnTo>
                      <a:lnTo>
                        <a:pt x="96" y="78"/>
                      </a:lnTo>
                      <a:lnTo>
                        <a:pt x="96" y="84"/>
                      </a:lnTo>
                      <a:lnTo>
                        <a:pt x="150" y="90"/>
                      </a:lnTo>
                      <a:lnTo>
                        <a:pt x="138" y="126"/>
                      </a:lnTo>
                      <a:lnTo>
                        <a:pt x="150" y="126"/>
                      </a:lnTo>
                      <a:lnTo>
                        <a:pt x="180" y="114"/>
                      </a:lnTo>
                      <a:lnTo>
                        <a:pt x="210" y="114"/>
                      </a:lnTo>
                      <a:lnTo>
                        <a:pt x="234" y="126"/>
                      </a:lnTo>
                      <a:lnTo>
                        <a:pt x="240" y="132"/>
                      </a:lnTo>
                      <a:lnTo>
                        <a:pt x="252" y="138"/>
                      </a:lnTo>
                      <a:lnTo>
                        <a:pt x="270" y="156"/>
                      </a:lnTo>
                      <a:lnTo>
                        <a:pt x="288" y="156"/>
                      </a:lnTo>
                      <a:lnTo>
                        <a:pt x="294" y="150"/>
                      </a:lnTo>
                      <a:lnTo>
                        <a:pt x="312" y="150"/>
                      </a:lnTo>
                      <a:lnTo>
                        <a:pt x="318" y="156"/>
                      </a:lnTo>
                      <a:lnTo>
                        <a:pt x="330" y="156"/>
                      </a:lnTo>
                      <a:lnTo>
                        <a:pt x="330" y="144"/>
                      </a:lnTo>
                      <a:lnTo>
                        <a:pt x="348" y="132"/>
                      </a:lnTo>
                      <a:lnTo>
                        <a:pt x="336" y="114"/>
                      </a:lnTo>
                      <a:close/>
                      <a:moveTo>
                        <a:pt x="36" y="78"/>
                      </a:moveTo>
                      <a:lnTo>
                        <a:pt x="6" y="78"/>
                      </a:lnTo>
                      <a:lnTo>
                        <a:pt x="0" y="84"/>
                      </a:lnTo>
                      <a:lnTo>
                        <a:pt x="0" y="102"/>
                      </a:lnTo>
                      <a:lnTo>
                        <a:pt x="6" y="108"/>
                      </a:lnTo>
                      <a:lnTo>
                        <a:pt x="18" y="132"/>
                      </a:lnTo>
                      <a:lnTo>
                        <a:pt x="24" y="126"/>
                      </a:lnTo>
                      <a:lnTo>
                        <a:pt x="30" y="114"/>
                      </a:lnTo>
                      <a:lnTo>
                        <a:pt x="42" y="108"/>
                      </a:lnTo>
                      <a:lnTo>
                        <a:pt x="54" y="108"/>
                      </a:lnTo>
                      <a:lnTo>
                        <a:pt x="60" y="102"/>
                      </a:lnTo>
                      <a:lnTo>
                        <a:pt x="72" y="96"/>
                      </a:lnTo>
                      <a:lnTo>
                        <a:pt x="78" y="90"/>
                      </a:lnTo>
                      <a:lnTo>
                        <a:pt x="72" y="72"/>
                      </a:lnTo>
                      <a:lnTo>
                        <a:pt x="36" y="78"/>
                      </a:lnTo>
                      <a:close/>
                      <a:moveTo>
                        <a:pt x="36" y="66"/>
                      </a:moveTo>
                      <a:lnTo>
                        <a:pt x="48" y="66"/>
                      </a:lnTo>
                      <a:lnTo>
                        <a:pt x="54" y="54"/>
                      </a:lnTo>
                      <a:lnTo>
                        <a:pt x="60" y="48"/>
                      </a:lnTo>
                      <a:lnTo>
                        <a:pt x="60" y="42"/>
                      </a:lnTo>
                      <a:lnTo>
                        <a:pt x="54" y="36"/>
                      </a:lnTo>
                      <a:lnTo>
                        <a:pt x="48" y="36"/>
                      </a:lnTo>
                      <a:lnTo>
                        <a:pt x="36" y="42"/>
                      </a:lnTo>
                      <a:lnTo>
                        <a:pt x="30" y="48"/>
                      </a:lnTo>
                      <a:lnTo>
                        <a:pt x="24" y="60"/>
                      </a:lnTo>
                      <a:lnTo>
                        <a:pt x="30" y="66"/>
                      </a:lnTo>
                      <a:lnTo>
                        <a:pt x="36" y="66"/>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643" name="Eritrea"/>
                <p:cNvSpPr>
                  <a:spLocks/>
                </p:cNvSpPr>
                <p:nvPr/>
              </p:nvSpPr>
              <p:spPr bwMode="gray">
                <a:xfrm>
                  <a:off x="3310" y="1938"/>
                  <a:ext cx="123" cy="117"/>
                </a:xfrm>
                <a:custGeom>
                  <a:avLst/>
                  <a:gdLst>
                    <a:gd name="T0" fmla="*/ 2147483647 w 480"/>
                    <a:gd name="T1" fmla="*/ 2147483647 h 456"/>
                    <a:gd name="T2" fmla="*/ 2147483647 w 480"/>
                    <a:gd name="T3" fmla="*/ 2147483647 h 456"/>
                    <a:gd name="T4" fmla="*/ 2147483647 w 480"/>
                    <a:gd name="T5" fmla="*/ 2147483647 h 456"/>
                    <a:gd name="T6" fmla="*/ 2147483647 w 480"/>
                    <a:gd name="T7" fmla="*/ 2147483647 h 456"/>
                    <a:gd name="T8" fmla="*/ 2147483647 w 480"/>
                    <a:gd name="T9" fmla="*/ 2147483647 h 456"/>
                    <a:gd name="T10" fmla="*/ 2147483647 w 480"/>
                    <a:gd name="T11" fmla="*/ 2147483647 h 456"/>
                    <a:gd name="T12" fmla="*/ 2147483647 w 480"/>
                    <a:gd name="T13" fmla="*/ 2147483647 h 456"/>
                    <a:gd name="T14" fmla="*/ 2147483647 w 480"/>
                    <a:gd name="T15" fmla="*/ 2147483647 h 456"/>
                    <a:gd name="T16" fmla="*/ 0 w 480"/>
                    <a:gd name="T17" fmla="*/ 2147483647 h 456"/>
                    <a:gd name="T18" fmla="*/ 2147483647 w 480"/>
                    <a:gd name="T19" fmla="*/ 2147483647 h 456"/>
                    <a:gd name="T20" fmla="*/ 2147483647 w 480"/>
                    <a:gd name="T21" fmla="*/ 2147483647 h 456"/>
                    <a:gd name="T22" fmla="*/ 2147483647 w 480"/>
                    <a:gd name="T23" fmla="*/ 2147483647 h 456"/>
                    <a:gd name="T24" fmla="*/ 2147483647 w 480"/>
                    <a:gd name="T25" fmla="*/ 2147483647 h 456"/>
                    <a:gd name="T26" fmla="*/ 2147483647 w 480"/>
                    <a:gd name="T27" fmla="*/ 2147483647 h 456"/>
                    <a:gd name="T28" fmla="*/ 2147483647 w 480"/>
                    <a:gd name="T29" fmla="*/ 2147483647 h 456"/>
                    <a:gd name="T30" fmla="*/ 2147483647 w 480"/>
                    <a:gd name="T31" fmla="*/ 2147483647 h 456"/>
                    <a:gd name="T32" fmla="*/ 2147483647 w 480"/>
                    <a:gd name="T33" fmla="*/ 2147483647 h 456"/>
                    <a:gd name="T34" fmla="*/ 2147483647 w 480"/>
                    <a:gd name="T35" fmla="*/ 2147483647 h 456"/>
                    <a:gd name="T36" fmla="*/ 2147483647 w 480"/>
                    <a:gd name="T37" fmla="*/ 2147483647 h 456"/>
                    <a:gd name="T38" fmla="*/ 2147483647 w 480"/>
                    <a:gd name="T39" fmla="*/ 2147483647 h 456"/>
                    <a:gd name="T40" fmla="*/ 2147483647 w 480"/>
                    <a:gd name="T41" fmla="*/ 2147483647 h 456"/>
                    <a:gd name="T42" fmla="*/ 2147483647 w 480"/>
                    <a:gd name="T43" fmla="*/ 2147483647 h 456"/>
                    <a:gd name="T44" fmla="*/ 2147483647 w 480"/>
                    <a:gd name="T45" fmla="*/ 2147483647 h 456"/>
                    <a:gd name="T46" fmla="*/ 2147483647 w 480"/>
                    <a:gd name="T47" fmla="*/ 2147483647 h 456"/>
                    <a:gd name="T48" fmla="*/ 2147483647 w 480"/>
                    <a:gd name="T49" fmla="*/ 2147483647 h 456"/>
                    <a:gd name="T50" fmla="*/ 2147483647 w 480"/>
                    <a:gd name="T51" fmla="*/ 2147483647 h 456"/>
                    <a:gd name="T52" fmla="*/ 2147483647 w 480"/>
                    <a:gd name="T53" fmla="*/ 2147483647 h 456"/>
                    <a:gd name="T54" fmla="*/ 2147483647 w 480"/>
                    <a:gd name="T55" fmla="*/ 2147483647 h 456"/>
                    <a:gd name="T56" fmla="*/ 2147483647 w 480"/>
                    <a:gd name="T57" fmla="*/ 2147483647 h 456"/>
                    <a:gd name="T58" fmla="*/ 2147483647 w 480"/>
                    <a:gd name="T59" fmla="*/ 2147483647 h 456"/>
                    <a:gd name="T60" fmla="*/ 2147483647 w 480"/>
                    <a:gd name="T61" fmla="*/ 2147483647 h 456"/>
                    <a:gd name="T62" fmla="*/ 2147483647 w 480"/>
                    <a:gd name="T63" fmla="*/ 2147483647 h 456"/>
                    <a:gd name="T64" fmla="*/ 2147483647 w 480"/>
                    <a:gd name="T65" fmla="*/ 2147483647 h 456"/>
                    <a:gd name="T66" fmla="*/ 2147483647 w 480"/>
                    <a:gd name="T67" fmla="*/ 2147483647 h 456"/>
                    <a:gd name="T68" fmla="*/ 2147483647 w 480"/>
                    <a:gd name="T69" fmla="*/ 2147483647 h 456"/>
                    <a:gd name="T70" fmla="*/ 2147483647 w 480"/>
                    <a:gd name="T71" fmla="*/ 2147483647 h 456"/>
                    <a:gd name="T72" fmla="*/ 2147483647 w 480"/>
                    <a:gd name="T73" fmla="*/ 2147483647 h 456"/>
                    <a:gd name="T74" fmla="*/ 2147483647 w 480"/>
                    <a:gd name="T75" fmla="*/ 2147483647 h 456"/>
                    <a:gd name="T76" fmla="*/ 2147483647 w 480"/>
                    <a:gd name="T77" fmla="*/ 2147483647 h 456"/>
                    <a:gd name="T78" fmla="*/ 2147483647 w 480"/>
                    <a:gd name="T79" fmla="*/ 2147483647 h 456"/>
                    <a:gd name="T80" fmla="*/ 2147483647 w 480"/>
                    <a:gd name="T81" fmla="*/ 2147483647 h 456"/>
                    <a:gd name="T82" fmla="*/ 2147483647 w 480"/>
                    <a:gd name="T83" fmla="*/ 2147483647 h 456"/>
                    <a:gd name="T84" fmla="*/ 2147483647 w 480"/>
                    <a:gd name="T85" fmla="*/ 2147483647 h 456"/>
                    <a:gd name="T86" fmla="*/ 2147483647 w 480"/>
                    <a:gd name="T87" fmla="*/ 2147483647 h 456"/>
                    <a:gd name="T88" fmla="*/ 2147483647 w 480"/>
                    <a:gd name="T89" fmla="*/ 2147483647 h 456"/>
                    <a:gd name="T90" fmla="*/ 2147483647 w 480"/>
                    <a:gd name="T91" fmla="*/ 2147483647 h 456"/>
                    <a:gd name="T92" fmla="*/ 2147483647 w 480"/>
                    <a:gd name="T93" fmla="*/ 2147483647 h 456"/>
                    <a:gd name="T94" fmla="*/ 2147483647 w 480"/>
                    <a:gd name="T95" fmla="*/ 2147483647 h 456"/>
                    <a:gd name="T96" fmla="*/ 2147483647 w 480"/>
                    <a:gd name="T97" fmla="*/ 0 h 456"/>
                    <a:gd name="T98" fmla="*/ 2147483647 w 480"/>
                    <a:gd name="T99" fmla="*/ 2147483647 h 456"/>
                    <a:gd name="T100" fmla="*/ 2147483647 w 480"/>
                    <a:gd name="T101" fmla="*/ 2147483647 h 456"/>
                    <a:gd name="T102" fmla="*/ 2147483647 w 480"/>
                    <a:gd name="T103" fmla="*/ 2147483647 h 45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480"/>
                    <a:gd name="T157" fmla="*/ 0 h 456"/>
                    <a:gd name="T158" fmla="*/ 480 w 480"/>
                    <a:gd name="T159" fmla="*/ 456 h 45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480" h="456">
                      <a:moveTo>
                        <a:pt x="78" y="54"/>
                      </a:moveTo>
                      <a:lnTo>
                        <a:pt x="78" y="66"/>
                      </a:lnTo>
                      <a:lnTo>
                        <a:pt x="72" y="72"/>
                      </a:lnTo>
                      <a:lnTo>
                        <a:pt x="72" y="78"/>
                      </a:lnTo>
                      <a:lnTo>
                        <a:pt x="66" y="84"/>
                      </a:lnTo>
                      <a:lnTo>
                        <a:pt x="48" y="84"/>
                      </a:lnTo>
                      <a:lnTo>
                        <a:pt x="48" y="102"/>
                      </a:lnTo>
                      <a:lnTo>
                        <a:pt x="42" y="108"/>
                      </a:lnTo>
                      <a:lnTo>
                        <a:pt x="30" y="108"/>
                      </a:lnTo>
                      <a:lnTo>
                        <a:pt x="30" y="120"/>
                      </a:lnTo>
                      <a:lnTo>
                        <a:pt x="36" y="126"/>
                      </a:lnTo>
                      <a:lnTo>
                        <a:pt x="36" y="168"/>
                      </a:lnTo>
                      <a:lnTo>
                        <a:pt x="30" y="180"/>
                      </a:lnTo>
                      <a:lnTo>
                        <a:pt x="24" y="186"/>
                      </a:lnTo>
                      <a:lnTo>
                        <a:pt x="18" y="186"/>
                      </a:lnTo>
                      <a:lnTo>
                        <a:pt x="18" y="222"/>
                      </a:lnTo>
                      <a:lnTo>
                        <a:pt x="12" y="222"/>
                      </a:lnTo>
                      <a:lnTo>
                        <a:pt x="0" y="228"/>
                      </a:lnTo>
                      <a:lnTo>
                        <a:pt x="0" y="246"/>
                      </a:lnTo>
                      <a:lnTo>
                        <a:pt x="6" y="252"/>
                      </a:lnTo>
                      <a:lnTo>
                        <a:pt x="12" y="300"/>
                      </a:lnTo>
                      <a:lnTo>
                        <a:pt x="48" y="300"/>
                      </a:lnTo>
                      <a:lnTo>
                        <a:pt x="54" y="294"/>
                      </a:lnTo>
                      <a:lnTo>
                        <a:pt x="54" y="288"/>
                      </a:lnTo>
                      <a:lnTo>
                        <a:pt x="60" y="288"/>
                      </a:lnTo>
                      <a:lnTo>
                        <a:pt x="66" y="294"/>
                      </a:lnTo>
                      <a:lnTo>
                        <a:pt x="66" y="300"/>
                      </a:lnTo>
                      <a:lnTo>
                        <a:pt x="84" y="318"/>
                      </a:lnTo>
                      <a:lnTo>
                        <a:pt x="96" y="306"/>
                      </a:lnTo>
                      <a:lnTo>
                        <a:pt x="96" y="294"/>
                      </a:lnTo>
                      <a:lnTo>
                        <a:pt x="102" y="276"/>
                      </a:lnTo>
                      <a:lnTo>
                        <a:pt x="108" y="264"/>
                      </a:lnTo>
                      <a:lnTo>
                        <a:pt x="108" y="252"/>
                      </a:lnTo>
                      <a:lnTo>
                        <a:pt x="120" y="258"/>
                      </a:lnTo>
                      <a:lnTo>
                        <a:pt x="132" y="270"/>
                      </a:lnTo>
                      <a:lnTo>
                        <a:pt x="138" y="270"/>
                      </a:lnTo>
                      <a:lnTo>
                        <a:pt x="144" y="276"/>
                      </a:lnTo>
                      <a:lnTo>
                        <a:pt x="150" y="288"/>
                      </a:lnTo>
                      <a:lnTo>
                        <a:pt x="180" y="288"/>
                      </a:lnTo>
                      <a:lnTo>
                        <a:pt x="186" y="276"/>
                      </a:lnTo>
                      <a:lnTo>
                        <a:pt x="192" y="270"/>
                      </a:lnTo>
                      <a:lnTo>
                        <a:pt x="198" y="276"/>
                      </a:lnTo>
                      <a:lnTo>
                        <a:pt x="198" y="288"/>
                      </a:lnTo>
                      <a:lnTo>
                        <a:pt x="210" y="288"/>
                      </a:lnTo>
                      <a:lnTo>
                        <a:pt x="222" y="282"/>
                      </a:lnTo>
                      <a:lnTo>
                        <a:pt x="240" y="282"/>
                      </a:lnTo>
                      <a:lnTo>
                        <a:pt x="246" y="288"/>
                      </a:lnTo>
                      <a:lnTo>
                        <a:pt x="276" y="288"/>
                      </a:lnTo>
                      <a:lnTo>
                        <a:pt x="294" y="312"/>
                      </a:lnTo>
                      <a:lnTo>
                        <a:pt x="306" y="312"/>
                      </a:lnTo>
                      <a:lnTo>
                        <a:pt x="312" y="318"/>
                      </a:lnTo>
                      <a:lnTo>
                        <a:pt x="324" y="324"/>
                      </a:lnTo>
                      <a:lnTo>
                        <a:pt x="348" y="360"/>
                      </a:lnTo>
                      <a:lnTo>
                        <a:pt x="354" y="366"/>
                      </a:lnTo>
                      <a:lnTo>
                        <a:pt x="378" y="378"/>
                      </a:lnTo>
                      <a:lnTo>
                        <a:pt x="390" y="390"/>
                      </a:lnTo>
                      <a:lnTo>
                        <a:pt x="390" y="414"/>
                      </a:lnTo>
                      <a:lnTo>
                        <a:pt x="396" y="420"/>
                      </a:lnTo>
                      <a:lnTo>
                        <a:pt x="408" y="426"/>
                      </a:lnTo>
                      <a:lnTo>
                        <a:pt x="420" y="426"/>
                      </a:lnTo>
                      <a:lnTo>
                        <a:pt x="432" y="444"/>
                      </a:lnTo>
                      <a:lnTo>
                        <a:pt x="456" y="456"/>
                      </a:lnTo>
                      <a:lnTo>
                        <a:pt x="468" y="438"/>
                      </a:lnTo>
                      <a:lnTo>
                        <a:pt x="480" y="432"/>
                      </a:lnTo>
                      <a:lnTo>
                        <a:pt x="474" y="420"/>
                      </a:lnTo>
                      <a:lnTo>
                        <a:pt x="456" y="402"/>
                      </a:lnTo>
                      <a:lnTo>
                        <a:pt x="432" y="402"/>
                      </a:lnTo>
                      <a:lnTo>
                        <a:pt x="426" y="396"/>
                      </a:lnTo>
                      <a:lnTo>
                        <a:pt x="426" y="360"/>
                      </a:lnTo>
                      <a:lnTo>
                        <a:pt x="420" y="360"/>
                      </a:lnTo>
                      <a:lnTo>
                        <a:pt x="414" y="354"/>
                      </a:lnTo>
                      <a:lnTo>
                        <a:pt x="366" y="330"/>
                      </a:lnTo>
                      <a:lnTo>
                        <a:pt x="360" y="324"/>
                      </a:lnTo>
                      <a:lnTo>
                        <a:pt x="360" y="312"/>
                      </a:lnTo>
                      <a:lnTo>
                        <a:pt x="354" y="300"/>
                      </a:lnTo>
                      <a:lnTo>
                        <a:pt x="354" y="288"/>
                      </a:lnTo>
                      <a:lnTo>
                        <a:pt x="348" y="276"/>
                      </a:lnTo>
                      <a:lnTo>
                        <a:pt x="348" y="270"/>
                      </a:lnTo>
                      <a:lnTo>
                        <a:pt x="336" y="270"/>
                      </a:lnTo>
                      <a:lnTo>
                        <a:pt x="324" y="264"/>
                      </a:lnTo>
                      <a:lnTo>
                        <a:pt x="306" y="264"/>
                      </a:lnTo>
                      <a:lnTo>
                        <a:pt x="282" y="240"/>
                      </a:lnTo>
                      <a:lnTo>
                        <a:pt x="264" y="246"/>
                      </a:lnTo>
                      <a:lnTo>
                        <a:pt x="252" y="228"/>
                      </a:lnTo>
                      <a:lnTo>
                        <a:pt x="234" y="222"/>
                      </a:lnTo>
                      <a:lnTo>
                        <a:pt x="216" y="204"/>
                      </a:lnTo>
                      <a:lnTo>
                        <a:pt x="210" y="192"/>
                      </a:lnTo>
                      <a:lnTo>
                        <a:pt x="204" y="186"/>
                      </a:lnTo>
                      <a:lnTo>
                        <a:pt x="198" y="174"/>
                      </a:lnTo>
                      <a:lnTo>
                        <a:pt x="198" y="114"/>
                      </a:lnTo>
                      <a:lnTo>
                        <a:pt x="192" y="90"/>
                      </a:lnTo>
                      <a:lnTo>
                        <a:pt x="186" y="78"/>
                      </a:lnTo>
                      <a:lnTo>
                        <a:pt x="180" y="60"/>
                      </a:lnTo>
                      <a:lnTo>
                        <a:pt x="168" y="42"/>
                      </a:lnTo>
                      <a:lnTo>
                        <a:pt x="162" y="24"/>
                      </a:lnTo>
                      <a:lnTo>
                        <a:pt x="156" y="12"/>
                      </a:lnTo>
                      <a:lnTo>
                        <a:pt x="150" y="6"/>
                      </a:lnTo>
                      <a:lnTo>
                        <a:pt x="150" y="0"/>
                      </a:lnTo>
                      <a:lnTo>
                        <a:pt x="144" y="0"/>
                      </a:lnTo>
                      <a:lnTo>
                        <a:pt x="144" y="12"/>
                      </a:lnTo>
                      <a:lnTo>
                        <a:pt x="132" y="36"/>
                      </a:lnTo>
                      <a:lnTo>
                        <a:pt x="108" y="48"/>
                      </a:lnTo>
                      <a:lnTo>
                        <a:pt x="90" y="54"/>
                      </a:lnTo>
                      <a:lnTo>
                        <a:pt x="78" y="54"/>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644" name="Equatorial Guinea"/>
                <p:cNvSpPr>
                  <a:spLocks/>
                </p:cNvSpPr>
                <p:nvPr/>
              </p:nvSpPr>
              <p:spPr bwMode="gray">
                <a:xfrm>
                  <a:off x="2822" y="2262"/>
                  <a:ext cx="37" cy="28"/>
                </a:xfrm>
                <a:custGeom>
                  <a:avLst/>
                  <a:gdLst>
                    <a:gd name="T0" fmla="*/ 2147483647 w 144"/>
                    <a:gd name="T1" fmla="*/ 2147483647 h 108"/>
                    <a:gd name="T2" fmla="*/ 2147483647 w 144"/>
                    <a:gd name="T3" fmla="*/ 2147483647 h 108"/>
                    <a:gd name="T4" fmla="*/ 2147483647 w 144"/>
                    <a:gd name="T5" fmla="*/ 2147483647 h 108"/>
                    <a:gd name="T6" fmla="*/ 2147483647 w 144"/>
                    <a:gd name="T7" fmla="*/ 0 h 108"/>
                    <a:gd name="T8" fmla="*/ 2147483647 w 144"/>
                    <a:gd name="T9" fmla="*/ 2147483647 h 108"/>
                    <a:gd name="T10" fmla="*/ 2147483647 w 144"/>
                    <a:gd name="T11" fmla="*/ 2147483647 h 108"/>
                    <a:gd name="T12" fmla="*/ 2147483647 w 144"/>
                    <a:gd name="T13" fmla="*/ 2147483647 h 108"/>
                    <a:gd name="T14" fmla="*/ 2147483647 w 144"/>
                    <a:gd name="T15" fmla="*/ 2147483647 h 108"/>
                    <a:gd name="T16" fmla="*/ 2147483647 w 144"/>
                    <a:gd name="T17" fmla="*/ 2147483647 h 108"/>
                    <a:gd name="T18" fmla="*/ 0 w 144"/>
                    <a:gd name="T19" fmla="*/ 2147483647 h 108"/>
                    <a:gd name="T20" fmla="*/ 0 w 144"/>
                    <a:gd name="T21" fmla="*/ 2147483647 h 108"/>
                    <a:gd name="T22" fmla="*/ 2147483647 w 144"/>
                    <a:gd name="T23" fmla="*/ 2147483647 h 108"/>
                    <a:gd name="T24" fmla="*/ 2147483647 w 144"/>
                    <a:gd name="T25" fmla="*/ 2147483647 h 108"/>
                    <a:gd name="T26" fmla="*/ 2147483647 w 144"/>
                    <a:gd name="T27" fmla="*/ 2147483647 h 108"/>
                    <a:gd name="T28" fmla="*/ 2147483647 w 144"/>
                    <a:gd name="T29" fmla="*/ 2147483647 h 108"/>
                    <a:gd name="T30" fmla="*/ 2147483647 w 144"/>
                    <a:gd name="T31" fmla="*/ 2147483647 h 108"/>
                    <a:gd name="T32" fmla="*/ 2147483647 w 144"/>
                    <a:gd name="T33" fmla="*/ 2147483647 h 108"/>
                    <a:gd name="T34" fmla="*/ 2147483647 w 144"/>
                    <a:gd name="T35" fmla="*/ 2147483647 h 108"/>
                    <a:gd name="T36" fmla="*/ 2147483647 w 144"/>
                    <a:gd name="T37" fmla="*/ 2147483647 h 108"/>
                    <a:gd name="T38" fmla="*/ 2147483647 w 144"/>
                    <a:gd name="T39" fmla="*/ 2147483647 h 10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44"/>
                    <a:gd name="T61" fmla="*/ 0 h 108"/>
                    <a:gd name="T62" fmla="*/ 144 w 144"/>
                    <a:gd name="T63" fmla="*/ 108 h 10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44" h="108">
                      <a:moveTo>
                        <a:pt x="138" y="48"/>
                      </a:moveTo>
                      <a:lnTo>
                        <a:pt x="144" y="12"/>
                      </a:lnTo>
                      <a:lnTo>
                        <a:pt x="48" y="12"/>
                      </a:lnTo>
                      <a:lnTo>
                        <a:pt x="36" y="0"/>
                      </a:lnTo>
                      <a:lnTo>
                        <a:pt x="30" y="6"/>
                      </a:lnTo>
                      <a:lnTo>
                        <a:pt x="30" y="42"/>
                      </a:lnTo>
                      <a:lnTo>
                        <a:pt x="18" y="54"/>
                      </a:lnTo>
                      <a:lnTo>
                        <a:pt x="12" y="66"/>
                      </a:lnTo>
                      <a:lnTo>
                        <a:pt x="6" y="72"/>
                      </a:lnTo>
                      <a:lnTo>
                        <a:pt x="0" y="84"/>
                      </a:lnTo>
                      <a:lnTo>
                        <a:pt x="0" y="90"/>
                      </a:lnTo>
                      <a:lnTo>
                        <a:pt x="6" y="96"/>
                      </a:lnTo>
                      <a:lnTo>
                        <a:pt x="18" y="102"/>
                      </a:lnTo>
                      <a:lnTo>
                        <a:pt x="36" y="102"/>
                      </a:lnTo>
                      <a:lnTo>
                        <a:pt x="36" y="108"/>
                      </a:lnTo>
                      <a:lnTo>
                        <a:pt x="138" y="108"/>
                      </a:lnTo>
                      <a:lnTo>
                        <a:pt x="138" y="102"/>
                      </a:lnTo>
                      <a:lnTo>
                        <a:pt x="144" y="84"/>
                      </a:lnTo>
                      <a:lnTo>
                        <a:pt x="144" y="54"/>
                      </a:lnTo>
                      <a:lnTo>
                        <a:pt x="138" y="48"/>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645" name="El Salvador"/>
                <p:cNvSpPr>
                  <a:spLocks/>
                </p:cNvSpPr>
                <p:nvPr/>
              </p:nvSpPr>
              <p:spPr bwMode="gray">
                <a:xfrm>
                  <a:off x="1024" y="2012"/>
                  <a:ext cx="44" cy="29"/>
                </a:xfrm>
                <a:custGeom>
                  <a:avLst/>
                  <a:gdLst>
                    <a:gd name="T0" fmla="*/ 2147483647 w 174"/>
                    <a:gd name="T1" fmla="*/ 2147483647 h 114"/>
                    <a:gd name="T2" fmla="*/ 2147483647 w 174"/>
                    <a:gd name="T3" fmla="*/ 2147483647 h 114"/>
                    <a:gd name="T4" fmla="*/ 2147483647 w 174"/>
                    <a:gd name="T5" fmla="*/ 2147483647 h 114"/>
                    <a:gd name="T6" fmla="*/ 2147483647 w 174"/>
                    <a:gd name="T7" fmla="*/ 2147483647 h 114"/>
                    <a:gd name="T8" fmla="*/ 2147483647 w 174"/>
                    <a:gd name="T9" fmla="*/ 2147483647 h 114"/>
                    <a:gd name="T10" fmla="*/ 2147483647 w 174"/>
                    <a:gd name="T11" fmla="*/ 2147483647 h 114"/>
                    <a:gd name="T12" fmla="*/ 2147483647 w 174"/>
                    <a:gd name="T13" fmla="*/ 2147483647 h 114"/>
                    <a:gd name="T14" fmla="*/ 2147483647 w 174"/>
                    <a:gd name="T15" fmla="*/ 2147483647 h 114"/>
                    <a:gd name="T16" fmla="*/ 2147483647 w 174"/>
                    <a:gd name="T17" fmla="*/ 2147483647 h 114"/>
                    <a:gd name="T18" fmla="*/ 2147483647 w 174"/>
                    <a:gd name="T19" fmla="*/ 0 h 114"/>
                    <a:gd name="T20" fmla="*/ 2147483647 w 174"/>
                    <a:gd name="T21" fmla="*/ 2147483647 h 114"/>
                    <a:gd name="T22" fmla="*/ 2147483647 w 174"/>
                    <a:gd name="T23" fmla="*/ 2147483647 h 114"/>
                    <a:gd name="T24" fmla="*/ 2147483647 w 174"/>
                    <a:gd name="T25" fmla="*/ 2147483647 h 114"/>
                    <a:gd name="T26" fmla="*/ 2147483647 w 174"/>
                    <a:gd name="T27" fmla="*/ 2147483647 h 114"/>
                    <a:gd name="T28" fmla="*/ 2147483647 w 174"/>
                    <a:gd name="T29" fmla="*/ 2147483647 h 114"/>
                    <a:gd name="T30" fmla="*/ 2147483647 w 174"/>
                    <a:gd name="T31" fmla="*/ 2147483647 h 114"/>
                    <a:gd name="T32" fmla="*/ 2147483647 w 174"/>
                    <a:gd name="T33" fmla="*/ 2147483647 h 114"/>
                    <a:gd name="T34" fmla="*/ 2147483647 w 174"/>
                    <a:gd name="T35" fmla="*/ 2147483647 h 114"/>
                    <a:gd name="T36" fmla="*/ 0 w 174"/>
                    <a:gd name="T37" fmla="*/ 2147483647 h 114"/>
                    <a:gd name="T38" fmla="*/ 2147483647 w 174"/>
                    <a:gd name="T39" fmla="*/ 2147483647 h 114"/>
                    <a:gd name="T40" fmla="*/ 2147483647 w 174"/>
                    <a:gd name="T41" fmla="*/ 2147483647 h 114"/>
                    <a:gd name="T42" fmla="*/ 2147483647 w 174"/>
                    <a:gd name="T43" fmla="*/ 2147483647 h 114"/>
                    <a:gd name="T44" fmla="*/ 2147483647 w 174"/>
                    <a:gd name="T45" fmla="*/ 2147483647 h 114"/>
                    <a:gd name="T46" fmla="*/ 2147483647 w 174"/>
                    <a:gd name="T47" fmla="*/ 2147483647 h 114"/>
                    <a:gd name="T48" fmla="*/ 2147483647 w 174"/>
                    <a:gd name="T49" fmla="*/ 2147483647 h 114"/>
                    <a:gd name="T50" fmla="*/ 2147483647 w 174"/>
                    <a:gd name="T51" fmla="*/ 2147483647 h 114"/>
                    <a:gd name="T52" fmla="*/ 2147483647 w 174"/>
                    <a:gd name="T53" fmla="*/ 2147483647 h 114"/>
                    <a:gd name="T54" fmla="*/ 2147483647 w 174"/>
                    <a:gd name="T55" fmla="*/ 2147483647 h 114"/>
                    <a:gd name="T56" fmla="*/ 2147483647 w 174"/>
                    <a:gd name="T57" fmla="*/ 2147483647 h 11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74"/>
                    <a:gd name="T88" fmla="*/ 0 h 114"/>
                    <a:gd name="T89" fmla="*/ 174 w 174"/>
                    <a:gd name="T90" fmla="*/ 114 h 114"/>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74" h="114">
                      <a:moveTo>
                        <a:pt x="174" y="84"/>
                      </a:moveTo>
                      <a:lnTo>
                        <a:pt x="174" y="42"/>
                      </a:lnTo>
                      <a:lnTo>
                        <a:pt x="138" y="42"/>
                      </a:lnTo>
                      <a:lnTo>
                        <a:pt x="132" y="48"/>
                      </a:lnTo>
                      <a:lnTo>
                        <a:pt x="120" y="48"/>
                      </a:lnTo>
                      <a:lnTo>
                        <a:pt x="114" y="42"/>
                      </a:lnTo>
                      <a:lnTo>
                        <a:pt x="114" y="24"/>
                      </a:lnTo>
                      <a:lnTo>
                        <a:pt x="90" y="24"/>
                      </a:lnTo>
                      <a:lnTo>
                        <a:pt x="78" y="12"/>
                      </a:lnTo>
                      <a:lnTo>
                        <a:pt x="72" y="0"/>
                      </a:lnTo>
                      <a:lnTo>
                        <a:pt x="60" y="6"/>
                      </a:lnTo>
                      <a:lnTo>
                        <a:pt x="48" y="6"/>
                      </a:lnTo>
                      <a:lnTo>
                        <a:pt x="48" y="18"/>
                      </a:lnTo>
                      <a:lnTo>
                        <a:pt x="42" y="24"/>
                      </a:lnTo>
                      <a:lnTo>
                        <a:pt x="36" y="36"/>
                      </a:lnTo>
                      <a:lnTo>
                        <a:pt x="30" y="36"/>
                      </a:lnTo>
                      <a:lnTo>
                        <a:pt x="24" y="42"/>
                      </a:lnTo>
                      <a:lnTo>
                        <a:pt x="12" y="48"/>
                      </a:lnTo>
                      <a:lnTo>
                        <a:pt x="0" y="60"/>
                      </a:lnTo>
                      <a:lnTo>
                        <a:pt x="6" y="66"/>
                      </a:lnTo>
                      <a:lnTo>
                        <a:pt x="18" y="72"/>
                      </a:lnTo>
                      <a:lnTo>
                        <a:pt x="24" y="78"/>
                      </a:lnTo>
                      <a:lnTo>
                        <a:pt x="72" y="78"/>
                      </a:lnTo>
                      <a:lnTo>
                        <a:pt x="96" y="102"/>
                      </a:lnTo>
                      <a:lnTo>
                        <a:pt x="132" y="96"/>
                      </a:lnTo>
                      <a:lnTo>
                        <a:pt x="150" y="114"/>
                      </a:lnTo>
                      <a:lnTo>
                        <a:pt x="168" y="84"/>
                      </a:lnTo>
                      <a:lnTo>
                        <a:pt x="174" y="90"/>
                      </a:lnTo>
                      <a:lnTo>
                        <a:pt x="174" y="84"/>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646" name="Egypt"/>
                <p:cNvSpPr>
                  <a:spLocks/>
                </p:cNvSpPr>
                <p:nvPr/>
              </p:nvSpPr>
              <p:spPr bwMode="gray">
                <a:xfrm>
                  <a:off x="3091" y="1657"/>
                  <a:ext cx="202" cy="206"/>
                </a:xfrm>
                <a:custGeom>
                  <a:avLst/>
                  <a:gdLst>
                    <a:gd name="T0" fmla="*/ 2147483647 w 792"/>
                    <a:gd name="T1" fmla="*/ 2147483647 h 804"/>
                    <a:gd name="T2" fmla="*/ 2147483647 w 792"/>
                    <a:gd name="T3" fmla="*/ 2147483647 h 804"/>
                    <a:gd name="T4" fmla="*/ 2147483647 w 792"/>
                    <a:gd name="T5" fmla="*/ 2147483647 h 804"/>
                    <a:gd name="T6" fmla="*/ 2147483647 w 792"/>
                    <a:gd name="T7" fmla="*/ 2147483647 h 804"/>
                    <a:gd name="T8" fmla="*/ 2147483647 w 792"/>
                    <a:gd name="T9" fmla="*/ 2147483647 h 804"/>
                    <a:gd name="T10" fmla="*/ 2147483647 w 792"/>
                    <a:gd name="T11" fmla="*/ 2147483647 h 804"/>
                    <a:gd name="T12" fmla="*/ 2147483647 w 792"/>
                    <a:gd name="T13" fmla="*/ 2147483647 h 804"/>
                    <a:gd name="T14" fmla="*/ 2147483647 w 792"/>
                    <a:gd name="T15" fmla="*/ 2147483647 h 804"/>
                    <a:gd name="T16" fmla="*/ 2147483647 w 792"/>
                    <a:gd name="T17" fmla="*/ 2147483647 h 804"/>
                    <a:gd name="T18" fmla="*/ 2147483647 w 792"/>
                    <a:gd name="T19" fmla="*/ 2147483647 h 804"/>
                    <a:gd name="T20" fmla="*/ 2147483647 w 792"/>
                    <a:gd name="T21" fmla="*/ 2147483647 h 804"/>
                    <a:gd name="T22" fmla="*/ 2147483647 w 792"/>
                    <a:gd name="T23" fmla="*/ 2147483647 h 804"/>
                    <a:gd name="T24" fmla="*/ 2147483647 w 792"/>
                    <a:gd name="T25" fmla="*/ 2147483647 h 804"/>
                    <a:gd name="T26" fmla="*/ 2147483647 w 792"/>
                    <a:gd name="T27" fmla="*/ 2147483647 h 804"/>
                    <a:gd name="T28" fmla="*/ 2147483647 w 792"/>
                    <a:gd name="T29" fmla="*/ 2147483647 h 804"/>
                    <a:gd name="T30" fmla="*/ 2147483647 w 792"/>
                    <a:gd name="T31" fmla="*/ 2147483647 h 804"/>
                    <a:gd name="T32" fmla="*/ 2147483647 w 792"/>
                    <a:gd name="T33" fmla="*/ 2147483647 h 804"/>
                    <a:gd name="T34" fmla="*/ 2147483647 w 792"/>
                    <a:gd name="T35" fmla="*/ 2147483647 h 804"/>
                    <a:gd name="T36" fmla="*/ 2147483647 w 792"/>
                    <a:gd name="T37" fmla="*/ 2147483647 h 804"/>
                    <a:gd name="T38" fmla="*/ 2147483647 w 792"/>
                    <a:gd name="T39" fmla="*/ 2147483647 h 804"/>
                    <a:gd name="T40" fmla="*/ 2147483647 w 792"/>
                    <a:gd name="T41" fmla="*/ 2147483647 h 804"/>
                    <a:gd name="T42" fmla="*/ 2147483647 w 792"/>
                    <a:gd name="T43" fmla="*/ 2147483647 h 804"/>
                    <a:gd name="T44" fmla="*/ 2147483647 w 792"/>
                    <a:gd name="T45" fmla="*/ 2147483647 h 804"/>
                    <a:gd name="T46" fmla="*/ 2147483647 w 792"/>
                    <a:gd name="T47" fmla="*/ 2147483647 h 804"/>
                    <a:gd name="T48" fmla="*/ 2147483647 w 792"/>
                    <a:gd name="T49" fmla="*/ 2147483647 h 804"/>
                    <a:gd name="T50" fmla="*/ 2147483647 w 792"/>
                    <a:gd name="T51" fmla="*/ 2147483647 h 804"/>
                    <a:gd name="T52" fmla="*/ 2147483647 w 792"/>
                    <a:gd name="T53" fmla="*/ 2147483647 h 804"/>
                    <a:gd name="T54" fmla="*/ 2147483647 w 792"/>
                    <a:gd name="T55" fmla="*/ 2147483647 h 804"/>
                    <a:gd name="T56" fmla="*/ 2147483647 w 792"/>
                    <a:gd name="T57" fmla="*/ 2147483647 h 804"/>
                    <a:gd name="T58" fmla="*/ 2147483647 w 792"/>
                    <a:gd name="T59" fmla="*/ 2147483647 h 804"/>
                    <a:gd name="T60" fmla="*/ 2147483647 w 792"/>
                    <a:gd name="T61" fmla="*/ 2147483647 h 804"/>
                    <a:gd name="T62" fmla="*/ 2147483647 w 792"/>
                    <a:gd name="T63" fmla="*/ 2147483647 h 804"/>
                    <a:gd name="T64" fmla="*/ 2147483647 w 792"/>
                    <a:gd name="T65" fmla="*/ 2147483647 h 804"/>
                    <a:gd name="T66" fmla="*/ 2147483647 w 792"/>
                    <a:gd name="T67" fmla="*/ 2147483647 h 804"/>
                    <a:gd name="T68" fmla="*/ 2147483647 w 792"/>
                    <a:gd name="T69" fmla="*/ 2147483647 h 804"/>
                    <a:gd name="T70" fmla="*/ 2147483647 w 792"/>
                    <a:gd name="T71" fmla="*/ 2147483647 h 804"/>
                    <a:gd name="T72" fmla="*/ 2147483647 w 792"/>
                    <a:gd name="T73" fmla="*/ 2147483647 h 804"/>
                    <a:gd name="T74" fmla="*/ 2147483647 w 792"/>
                    <a:gd name="T75" fmla="*/ 2147483647 h 804"/>
                    <a:gd name="T76" fmla="*/ 2147483647 w 792"/>
                    <a:gd name="T77" fmla="*/ 2147483647 h 804"/>
                    <a:gd name="T78" fmla="*/ 2147483647 w 792"/>
                    <a:gd name="T79" fmla="*/ 2147483647 h 804"/>
                    <a:gd name="T80" fmla="*/ 2147483647 w 792"/>
                    <a:gd name="T81" fmla="*/ 2147483647 h 804"/>
                    <a:gd name="T82" fmla="*/ 2147483647 w 792"/>
                    <a:gd name="T83" fmla="*/ 2147483647 h 804"/>
                    <a:gd name="T84" fmla="*/ 2147483647 w 792"/>
                    <a:gd name="T85" fmla="*/ 2147483647 h 804"/>
                    <a:gd name="T86" fmla="*/ 2147483647 w 792"/>
                    <a:gd name="T87" fmla="*/ 2147483647 h 804"/>
                    <a:gd name="T88" fmla="*/ 2147483647 w 792"/>
                    <a:gd name="T89" fmla="*/ 2147483647 h 804"/>
                    <a:gd name="T90" fmla="*/ 2147483647 w 792"/>
                    <a:gd name="T91" fmla="*/ 0 h 804"/>
                    <a:gd name="T92" fmla="*/ 2147483647 w 792"/>
                    <a:gd name="T93" fmla="*/ 2147483647 h 804"/>
                    <a:gd name="T94" fmla="*/ 2147483647 w 792"/>
                    <a:gd name="T95" fmla="*/ 0 h 80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92"/>
                    <a:gd name="T145" fmla="*/ 0 h 804"/>
                    <a:gd name="T146" fmla="*/ 792 w 792"/>
                    <a:gd name="T147" fmla="*/ 804 h 804"/>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92" h="804">
                      <a:moveTo>
                        <a:pt x="12" y="18"/>
                      </a:moveTo>
                      <a:lnTo>
                        <a:pt x="6" y="24"/>
                      </a:lnTo>
                      <a:lnTo>
                        <a:pt x="6" y="54"/>
                      </a:lnTo>
                      <a:lnTo>
                        <a:pt x="18" y="60"/>
                      </a:lnTo>
                      <a:lnTo>
                        <a:pt x="24" y="72"/>
                      </a:lnTo>
                      <a:lnTo>
                        <a:pt x="24" y="78"/>
                      </a:lnTo>
                      <a:lnTo>
                        <a:pt x="18" y="84"/>
                      </a:lnTo>
                      <a:lnTo>
                        <a:pt x="12" y="96"/>
                      </a:lnTo>
                      <a:lnTo>
                        <a:pt x="6" y="102"/>
                      </a:lnTo>
                      <a:lnTo>
                        <a:pt x="0" y="114"/>
                      </a:lnTo>
                      <a:lnTo>
                        <a:pt x="0" y="120"/>
                      </a:lnTo>
                      <a:lnTo>
                        <a:pt x="6" y="132"/>
                      </a:lnTo>
                      <a:lnTo>
                        <a:pt x="18" y="144"/>
                      </a:lnTo>
                      <a:lnTo>
                        <a:pt x="30" y="180"/>
                      </a:lnTo>
                      <a:lnTo>
                        <a:pt x="30" y="264"/>
                      </a:lnTo>
                      <a:lnTo>
                        <a:pt x="36" y="342"/>
                      </a:lnTo>
                      <a:lnTo>
                        <a:pt x="36" y="438"/>
                      </a:lnTo>
                      <a:lnTo>
                        <a:pt x="42" y="534"/>
                      </a:lnTo>
                      <a:lnTo>
                        <a:pt x="42" y="624"/>
                      </a:lnTo>
                      <a:lnTo>
                        <a:pt x="48" y="702"/>
                      </a:lnTo>
                      <a:lnTo>
                        <a:pt x="48" y="774"/>
                      </a:lnTo>
                      <a:lnTo>
                        <a:pt x="474" y="780"/>
                      </a:lnTo>
                      <a:lnTo>
                        <a:pt x="492" y="762"/>
                      </a:lnTo>
                      <a:lnTo>
                        <a:pt x="498" y="762"/>
                      </a:lnTo>
                      <a:lnTo>
                        <a:pt x="498" y="774"/>
                      </a:lnTo>
                      <a:lnTo>
                        <a:pt x="618" y="780"/>
                      </a:lnTo>
                      <a:lnTo>
                        <a:pt x="624" y="786"/>
                      </a:lnTo>
                      <a:lnTo>
                        <a:pt x="630" y="798"/>
                      </a:lnTo>
                      <a:lnTo>
                        <a:pt x="636" y="804"/>
                      </a:lnTo>
                      <a:lnTo>
                        <a:pt x="654" y="804"/>
                      </a:lnTo>
                      <a:lnTo>
                        <a:pt x="660" y="798"/>
                      </a:lnTo>
                      <a:lnTo>
                        <a:pt x="672" y="774"/>
                      </a:lnTo>
                      <a:lnTo>
                        <a:pt x="684" y="762"/>
                      </a:lnTo>
                      <a:lnTo>
                        <a:pt x="696" y="762"/>
                      </a:lnTo>
                      <a:lnTo>
                        <a:pt x="702" y="756"/>
                      </a:lnTo>
                      <a:lnTo>
                        <a:pt x="720" y="756"/>
                      </a:lnTo>
                      <a:lnTo>
                        <a:pt x="726" y="750"/>
                      </a:lnTo>
                      <a:lnTo>
                        <a:pt x="732" y="738"/>
                      </a:lnTo>
                      <a:lnTo>
                        <a:pt x="732" y="714"/>
                      </a:lnTo>
                      <a:lnTo>
                        <a:pt x="762" y="714"/>
                      </a:lnTo>
                      <a:lnTo>
                        <a:pt x="786" y="690"/>
                      </a:lnTo>
                      <a:lnTo>
                        <a:pt x="780" y="684"/>
                      </a:lnTo>
                      <a:lnTo>
                        <a:pt x="774" y="672"/>
                      </a:lnTo>
                      <a:lnTo>
                        <a:pt x="774" y="624"/>
                      </a:lnTo>
                      <a:lnTo>
                        <a:pt x="792" y="618"/>
                      </a:lnTo>
                      <a:lnTo>
                        <a:pt x="786" y="618"/>
                      </a:lnTo>
                      <a:lnTo>
                        <a:pt x="756" y="588"/>
                      </a:lnTo>
                      <a:lnTo>
                        <a:pt x="732" y="552"/>
                      </a:lnTo>
                      <a:lnTo>
                        <a:pt x="726" y="528"/>
                      </a:lnTo>
                      <a:lnTo>
                        <a:pt x="714" y="492"/>
                      </a:lnTo>
                      <a:lnTo>
                        <a:pt x="702" y="468"/>
                      </a:lnTo>
                      <a:lnTo>
                        <a:pt x="690" y="462"/>
                      </a:lnTo>
                      <a:lnTo>
                        <a:pt x="684" y="450"/>
                      </a:lnTo>
                      <a:lnTo>
                        <a:pt x="672" y="444"/>
                      </a:lnTo>
                      <a:lnTo>
                        <a:pt x="666" y="432"/>
                      </a:lnTo>
                      <a:lnTo>
                        <a:pt x="654" y="396"/>
                      </a:lnTo>
                      <a:lnTo>
                        <a:pt x="654" y="378"/>
                      </a:lnTo>
                      <a:lnTo>
                        <a:pt x="618" y="336"/>
                      </a:lnTo>
                      <a:lnTo>
                        <a:pt x="618" y="318"/>
                      </a:lnTo>
                      <a:lnTo>
                        <a:pt x="606" y="294"/>
                      </a:lnTo>
                      <a:lnTo>
                        <a:pt x="594" y="282"/>
                      </a:lnTo>
                      <a:lnTo>
                        <a:pt x="588" y="270"/>
                      </a:lnTo>
                      <a:lnTo>
                        <a:pt x="576" y="258"/>
                      </a:lnTo>
                      <a:lnTo>
                        <a:pt x="570" y="246"/>
                      </a:lnTo>
                      <a:lnTo>
                        <a:pt x="558" y="234"/>
                      </a:lnTo>
                      <a:lnTo>
                        <a:pt x="552" y="222"/>
                      </a:lnTo>
                      <a:lnTo>
                        <a:pt x="546" y="216"/>
                      </a:lnTo>
                      <a:lnTo>
                        <a:pt x="552" y="210"/>
                      </a:lnTo>
                      <a:lnTo>
                        <a:pt x="552" y="198"/>
                      </a:lnTo>
                      <a:lnTo>
                        <a:pt x="540" y="174"/>
                      </a:lnTo>
                      <a:lnTo>
                        <a:pt x="528" y="168"/>
                      </a:lnTo>
                      <a:lnTo>
                        <a:pt x="522" y="168"/>
                      </a:lnTo>
                      <a:lnTo>
                        <a:pt x="540" y="144"/>
                      </a:lnTo>
                      <a:lnTo>
                        <a:pt x="558" y="156"/>
                      </a:lnTo>
                      <a:lnTo>
                        <a:pt x="558" y="174"/>
                      </a:lnTo>
                      <a:lnTo>
                        <a:pt x="564" y="186"/>
                      </a:lnTo>
                      <a:lnTo>
                        <a:pt x="576" y="198"/>
                      </a:lnTo>
                      <a:lnTo>
                        <a:pt x="582" y="210"/>
                      </a:lnTo>
                      <a:lnTo>
                        <a:pt x="588" y="216"/>
                      </a:lnTo>
                      <a:lnTo>
                        <a:pt x="588" y="246"/>
                      </a:lnTo>
                      <a:lnTo>
                        <a:pt x="606" y="264"/>
                      </a:lnTo>
                      <a:lnTo>
                        <a:pt x="612" y="276"/>
                      </a:lnTo>
                      <a:lnTo>
                        <a:pt x="636" y="300"/>
                      </a:lnTo>
                      <a:lnTo>
                        <a:pt x="648" y="306"/>
                      </a:lnTo>
                      <a:lnTo>
                        <a:pt x="654" y="306"/>
                      </a:lnTo>
                      <a:lnTo>
                        <a:pt x="666" y="300"/>
                      </a:lnTo>
                      <a:lnTo>
                        <a:pt x="678" y="288"/>
                      </a:lnTo>
                      <a:lnTo>
                        <a:pt x="672" y="270"/>
                      </a:lnTo>
                      <a:lnTo>
                        <a:pt x="684" y="246"/>
                      </a:lnTo>
                      <a:lnTo>
                        <a:pt x="684" y="234"/>
                      </a:lnTo>
                      <a:lnTo>
                        <a:pt x="690" y="222"/>
                      </a:lnTo>
                      <a:lnTo>
                        <a:pt x="690" y="198"/>
                      </a:lnTo>
                      <a:lnTo>
                        <a:pt x="696" y="186"/>
                      </a:lnTo>
                      <a:lnTo>
                        <a:pt x="696" y="180"/>
                      </a:lnTo>
                      <a:lnTo>
                        <a:pt x="702" y="168"/>
                      </a:lnTo>
                      <a:lnTo>
                        <a:pt x="648" y="24"/>
                      </a:lnTo>
                      <a:lnTo>
                        <a:pt x="642" y="24"/>
                      </a:lnTo>
                      <a:lnTo>
                        <a:pt x="636" y="30"/>
                      </a:lnTo>
                      <a:lnTo>
                        <a:pt x="624" y="30"/>
                      </a:lnTo>
                      <a:lnTo>
                        <a:pt x="600" y="42"/>
                      </a:lnTo>
                      <a:lnTo>
                        <a:pt x="576" y="42"/>
                      </a:lnTo>
                      <a:lnTo>
                        <a:pt x="564" y="36"/>
                      </a:lnTo>
                      <a:lnTo>
                        <a:pt x="558" y="30"/>
                      </a:lnTo>
                      <a:lnTo>
                        <a:pt x="552" y="36"/>
                      </a:lnTo>
                      <a:lnTo>
                        <a:pt x="540" y="42"/>
                      </a:lnTo>
                      <a:lnTo>
                        <a:pt x="534" y="42"/>
                      </a:lnTo>
                      <a:lnTo>
                        <a:pt x="510" y="30"/>
                      </a:lnTo>
                      <a:lnTo>
                        <a:pt x="504" y="24"/>
                      </a:lnTo>
                      <a:lnTo>
                        <a:pt x="504" y="18"/>
                      </a:lnTo>
                      <a:lnTo>
                        <a:pt x="498" y="12"/>
                      </a:lnTo>
                      <a:lnTo>
                        <a:pt x="486" y="6"/>
                      </a:lnTo>
                      <a:lnTo>
                        <a:pt x="468" y="6"/>
                      </a:lnTo>
                      <a:lnTo>
                        <a:pt x="456" y="12"/>
                      </a:lnTo>
                      <a:lnTo>
                        <a:pt x="438" y="12"/>
                      </a:lnTo>
                      <a:lnTo>
                        <a:pt x="432" y="18"/>
                      </a:lnTo>
                      <a:lnTo>
                        <a:pt x="420" y="18"/>
                      </a:lnTo>
                      <a:lnTo>
                        <a:pt x="414" y="12"/>
                      </a:lnTo>
                      <a:lnTo>
                        <a:pt x="390" y="12"/>
                      </a:lnTo>
                      <a:lnTo>
                        <a:pt x="378" y="18"/>
                      </a:lnTo>
                      <a:lnTo>
                        <a:pt x="372" y="24"/>
                      </a:lnTo>
                      <a:lnTo>
                        <a:pt x="366" y="36"/>
                      </a:lnTo>
                      <a:lnTo>
                        <a:pt x="360" y="42"/>
                      </a:lnTo>
                      <a:lnTo>
                        <a:pt x="336" y="42"/>
                      </a:lnTo>
                      <a:lnTo>
                        <a:pt x="324" y="54"/>
                      </a:lnTo>
                      <a:lnTo>
                        <a:pt x="312" y="60"/>
                      </a:lnTo>
                      <a:lnTo>
                        <a:pt x="306" y="60"/>
                      </a:lnTo>
                      <a:lnTo>
                        <a:pt x="300" y="54"/>
                      </a:lnTo>
                      <a:lnTo>
                        <a:pt x="288" y="54"/>
                      </a:lnTo>
                      <a:lnTo>
                        <a:pt x="276" y="48"/>
                      </a:lnTo>
                      <a:lnTo>
                        <a:pt x="264" y="48"/>
                      </a:lnTo>
                      <a:lnTo>
                        <a:pt x="258" y="42"/>
                      </a:lnTo>
                      <a:lnTo>
                        <a:pt x="204" y="42"/>
                      </a:lnTo>
                      <a:lnTo>
                        <a:pt x="198" y="36"/>
                      </a:lnTo>
                      <a:lnTo>
                        <a:pt x="186" y="30"/>
                      </a:lnTo>
                      <a:lnTo>
                        <a:pt x="174" y="18"/>
                      </a:lnTo>
                      <a:lnTo>
                        <a:pt x="126" y="18"/>
                      </a:lnTo>
                      <a:lnTo>
                        <a:pt x="120" y="12"/>
                      </a:lnTo>
                      <a:lnTo>
                        <a:pt x="96" y="0"/>
                      </a:lnTo>
                      <a:lnTo>
                        <a:pt x="78" y="0"/>
                      </a:lnTo>
                      <a:lnTo>
                        <a:pt x="66" y="12"/>
                      </a:lnTo>
                      <a:lnTo>
                        <a:pt x="54" y="12"/>
                      </a:lnTo>
                      <a:lnTo>
                        <a:pt x="42" y="6"/>
                      </a:lnTo>
                      <a:lnTo>
                        <a:pt x="36" y="6"/>
                      </a:lnTo>
                      <a:lnTo>
                        <a:pt x="36" y="0"/>
                      </a:lnTo>
                      <a:lnTo>
                        <a:pt x="30" y="0"/>
                      </a:lnTo>
                      <a:lnTo>
                        <a:pt x="12" y="18"/>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647" name="Ecuador"/>
                <p:cNvSpPr>
                  <a:spLocks noEditPoints="1"/>
                </p:cNvSpPr>
                <p:nvPr/>
              </p:nvSpPr>
              <p:spPr bwMode="gray">
                <a:xfrm>
                  <a:off x="1176" y="2277"/>
                  <a:ext cx="106" cy="135"/>
                </a:xfrm>
                <a:custGeom>
                  <a:avLst/>
                  <a:gdLst>
                    <a:gd name="T0" fmla="*/ 2147483647 w 414"/>
                    <a:gd name="T1" fmla="*/ 2147483647 h 528"/>
                    <a:gd name="T2" fmla="*/ 2147483647 w 414"/>
                    <a:gd name="T3" fmla="*/ 2147483647 h 528"/>
                    <a:gd name="T4" fmla="*/ 2147483647 w 414"/>
                    <a:gd name="T5" fmla="*/ 2147483647 h 528"/>
                    <a:gd name="T6" fmla="*/ 2147483647 w 414"/>
                    <a:gd name="T7" fmla="*/ 2147483647 h 528"/>
                    <a:gd name="T8" fmla="*/ 2147483647 w 414"/>
                    <a:gd name="T9" fmla="*/ 2147483647 h 528"/>
                    <a:gd name="T10" fmla="*/ 2147483647 w 414"/>
                    <a:gd name="T11" fmla="*/ 2147483647 h 528"/>
                    <a:gd name="T12" fmla="*/ 2147483647 w 414"/>
                    <a:gd name="T13" fmla="*/ 2147483647 h 528"/>
                    <a:gd name="T14" fmla="*/ 2147483647 w 414"/>
                    <a:gd name="T15" fmla="*/ 2147483647 h 528"/>
                    <a:gd name="T16" fmla="*/ 2147483647 w 414"/>
                    <a:gd name="T17" fmla="*/ 2147483647 h 528"/>
                    <a:gd name="T18" fmla="*/ 2147483647 w 414"/>
                    <a:gd name="T19" fmla="*/ 2147483647 h 528"/>
                    <a:gd name="T20" fmla="*/ 2147483647 w 414"/>
                    <a:gd name="T21" fmla="*/ 2147483647 h 528"/>
                    <a:gd name="T22" fmla="*/ 2147483647 w 414"/>
                    <a:gd name="T23" fmla="*/ 2147483647 h 528"/>
                    <a:gd name="T24" fmla="*/ 2147483647 w 414"/>
                    <a:gd name="T25" fmla="*/ 2147483647 h 528"/>
                    <a:gd name="T26" fmla="*/ 2147483647 w 414"/>
                    <a:gd name="T27" fmla="*/ 2147483647 h 528"/>
                    <a:gd name="T28" fmla="*/ 2147483647 w 414"/>
                    <a:gd name="T29" fmla="*/ 2147483647 h 528"/>
                    <a:gd name="T30" fmla="*/ 2147483647 w 414"/>
                    <a:gd name="T31" fmla="*/ 2147483647 h 528"/>
                    <a:gd name="T32" fmla="*/ 2147483647 w 414"/>
                    <a:gd name="T33" fmla="*/ 2147483647 h 528"/>
                    <a:gd name="T34" fmla="*/ 2147483647 w 414"/>
                    <a:gd name="T35" fmla="*/ 2147483647 h 528"/>
                    <a:gd name="T36" fmla="*/ 2147483647 w 414"/>
                    <a:gd name="T37" fmla="*/ 2147483647 h 528"/>
                    <a:gd name="T38" fmla="*/ 2147483647 w 414"/>
                    <a:gd name="T39" fmla="*/ 2147483647 h 528"/>
                    <a:gd name="T40" fmla="*/ 2147483647 w 414"/>
                    <a:gd name="T41" fmla="*/ 2147483647 h 528"/>
                    <a:gd name="T42" fmla="*/ 2147483647 w 414"/>
                    <a:gd name="T43" fmla="*/ 2147483647 h 528"/>
                    <a:gd name="T44" fmla="*/ 2147483647 w 414"/>
                    <a:gd name="T45" fmla="*/ 2147483647 h 528"/>
                    <a:gd name="T46" fmla="*/ 2147483647 w 414"/>
                    <a:gd name="T47" fmla="*/ 2147483647 h 528"/>
                    <a:gd name="T48" fmla="*/ 2147483647 w 414"/>
                    <a:gd name="T49" fmla="*/ 2147483647 h 528"/>
                    <a:gd name="T50" fmla="*/ 2147483647 w 414"/>
                    <a:gd name="T51" fmla="*/ 2147483647 h 528"/>
                    <a:gd name="T52" fmla="*/ 2147483647 w 414"/>
                    <a:gd name="T53" fmla="*/ 2147483647 h 528"/>
                    <a:gd name="T54" fmla="*/ 2147483647 w 414"/>
                    <a:gd name="T55" fmla="*/ 2147483647 h 528"/>
                    <a:gd name="T56" fmla="*/ 2147483647 w 414"/>
                    <a:gd name="T57" fmla="*/ 2147483647 h 528"/>
                    <a:gd name="T58" fmla="*/ 2147483647 w 414"/>
                    <a:gd name="T59" fmla="*/ 2147483647 h 528"/>
                    <a:gd name="T60" fmla="*/ 2147483647 w 414"/>
                    <a:gd name="T61" fmla="*/ 2147483647 h 528"/>
                    <a:gd name="T62" fmla="*/ 2147483647 w 414"/>
                    <a:gd name="T63" fmla="*/ 2147483647 h 528"/>
                    <a:gd name="T64" fmla="*/ 2147483647 w 414"/>
                    <a:gd name="T65" fmla="*/ 2147483647 h 528"/>
                    <a:gd name="T66" fmla="*/ 2147483647 w 414"/>
                    <a:gd name="T67" fmla="*/ 2147483647 h 528"/>
                    <a:gd name="T68" fmla="*/ 2147483647 w 414"/>
                    <a:gd name="T69" fmla="*/ 2147483647 h 528"/>
                    <a:gd name="T70" fmla="*/ 2147483647 w 414"/>
                    <a:gd name="T71" fmla="*/ 2147483647 h 528"/>
                    <a:gd name="T72" fmla="*/ 2147483647 w 414"/>
                    <a:gd name="T73" fmla="*/ 2147483647 h 528"/>
                    <a:gd name="T74" fmla="*/ 2147483647 w 414"/>
                    <a:gd name="T75" fmla="*/ 2147483647 h 528"/>
                    <a:gd name="T76" fmla="*/ 2147483647 w 414"/>
                    <a:gd name="T77" fmla="*/ 2147483647 h 528"/>
                    <a:gd name="T78" fmla="*/ 2147483647 w 414"/>
                    <a:gd name="T79" fmla="*/ 2147483647 h 528"/>
                    <a:gd name="T80" fmla="*/ 2147483647 w 414"/>
                    <a:gd name="T81" fmla="*/ 2147483647 h 528"/>
                    <a:gd name="T82" fmla="*/ 2147483647 w 414"/>
                    <a:gd name="T83" fmla="*/ 2147483647 h 528"/>
                    <a:gd name="T84" fmla="*/ 2147483647 w 414"/>
                    <a:gd name="T85" fmla="*/ 2147483647 h 528"/>
                    <a:gd name="T86" fmla="*/ 2147483647 w 414"/>
                    <a:gd name="T87" fmla="*/ 2147483647 h 528"/>
                    <a:gd name="T88" fmla="*/ 2147483647 w 414"/>
                    <a:gd name="T89" fmla="*/ 2147483647 h 52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14"/>
                    <a:gd name="T136" fmla="*/ 0 h 528"/>
                    <a:gd name="T137" fmla="*/ 414 w 414"/>
                    <a:gd name="T138" fmla="*/ 528 h 528"/>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14" h="528">
                      <a:moveTo>
                        <a:pt x="60" y="372"/>
                      </a:moveTo>
                      <a:lnTo>
                        <a:pt x="72" y="366"/>
                      </a:lnTo>
                      <a:lnTo>
                        <a:pt x="78" y="360"/>
                      </a:lnTo>
                      <a:lnTo>
                        <a:pt x="78" y="342"/>
                      </a:lnTo>
                      <a:lnTo>
                        <a:pt x="72" y="342"/>
                      </a:lnTo>
                      <a:lnTo>
                        <a:pt x="54" y="360"/>
                      </a:lnTo>
                      <a:lnTo>
                        <a:pt x="54" y="372"/>
                      </a:lnTo>
                      <a:lnTo>
                        <a:pt x="60" y="372"/>
                      </a:lnTo>
                      <a:close/>
                      <a:moveTo>
                        <a:pt x="414" y="174"/>
                      </a:moveTo>
                      <a:lnTo>
                        <a:pt x="390" y="156"/>
                      </a:lnTo>
                      <a:lnTo>
                        <a:pt x="396" y="156"/>
                      </a:lnTo>
                      <a:lnTo>
                        <a:pt x="396" y="150"/>
                      </a:lnTo>
                      <a:lnTo>
                        <a:pt x="402" y="150"/>
                      </a:lnTo>
                      <a:lnTo>
                        <a:pt x="402" y="126"/>
                      </a:lnTo>
                      <a:lnTo>
                        <a:pt x="372" y="126"/>
                      </a:lnTo>
                      <a:lnTo>
                        <a:pt x="360" y="114"/>
                      </a:lnTo>
                      <a:lnTo>
                        <a:pt x="360" y="108"/>
                      </a:lnTo>
                      <a:lnTo>
                        <a:pt x="354" y="102"/>
                      </a:lnTo>
                      <a:lnTo>
                        <a:pt x="354" y="96"/>
                      </a:lnTo>
                      <a:lnTo>
                        <a:pt x="342" y="90"/>
                      </a:lnTo>
                      <a:lnTo>
                        <a:pt x="336" y="90"/>
                      </a:lnTo>
                      <a:lnTo>
                        <a:pt x="330" y="96"/>
                      </a:lnTo>
                      <a:lnTo>
                        <a:pt x="330" y="108"/>
                      </a:lnTo>
                      <a:lnTo>
                        <a:pt x="306" y="108"/>
                      </a:lnTo>
                      <a:lnTo>
                        <a:pt x="300" y="102"/>
                      </a:lnTo>
                      <a:lnTo>
                        <a:pt x="288" y="96"/>
                      </a:lnTo>
                      <a:lnTo>
                        <a:pt x="282" y="102"/>
                      </a:lnTo>
                      <a:lnTo>
                        <a:pt x="270" y="102"/>
                      </a:lnTo>
                      <a:lnTo>
                        <a:pt x="258" y="96"/>
                      </a:lnTo>
                      <a:lnTo>
                        <a:pt x="252" y="90"/>
                      </a:lnTo>
                      <a:lnTo>
                        <a:pt x="252" y="84"/>
                      </a:lnTo>
                      <a:lnTo>
                        <a:pt x="246" y="72"/>
                      </a:lnTo>
                      <a:lnTo>
                        <a:pt x="240" y="66"/>
                      </a:lnTo>
                      <a:lnTo>
                        <a:pt x="228" y="60"/>
                      </a:lnTo>
                      <a:lnTo>
                        <a:pt x="210" y="60"/>
                      </a:lnTo>
                      <a:lnTo>
                        <a:pt x="204" y="48"/>
                      </a:lnTo>
                      <a:lnTo>
                        <a:pt x="168" y="30"/>
                      </a:lnTo>
                      <a:lnTo>
                        <a:pt x="162" y="18"/>
                      </a:lnTo>
                      <a:lnTo>
                        <a:pt x="150" y="12"/>
                      </a:lnTo>
                      <a:lnTo>
                        <a:pt x="144" y="0"/>
                      </a:lnTo>
                      <a:lnTo>
                        <a:pt x="144" y="12"/>
                      </a:lnTo>
                      <a:lnTo>
                        <a:pt x="150" y="18"/>
                      </a:lnTo>
                      <a:lnTo>
                        <a:pt x="150" y="36"/>
                      </a:lnTo>
                      <a:lnTo>
                        <a:pt x="144" y="42"/>
                      </a:lnTo>
                      <a:lnTo>
                        <a:pt x="120" y="54"/>
                      </a:lnTo>
                      <a:lnTo>
                        <a:pt x="102" y="54"/>
                      </a:lnTo>
                      <a:lnTo>
                        <a:pt x="96" y="42"/>
                      </a:lnTo>
                      <a:lnTo>
                        <a:pt x="90" y="42"/>
                      </a:lnTo>
                      <a:lnTo>
                        <a:pt x="78" y="54"/>
                      </a:lnTo>
                      <a:lnTo>
                        <a:pt x="66" y="60"/>
                      </a:lnTo>
                      <a:lnTo>
                        <a:pt x="60" y="72"/>
                      </a:lnTo>
                      <a:lnTo>
                        <a:pt x="60" y="84"/>
                      </a:lnTo>
                      <a:lnTo>
                        <a:pt x="66" y="90"/>
                      </a:lnTo>
                      <a:lnTo>
                        <a:pt x="72" y="102"/>
                      </a:lnTo>
                      <a:lnTo>
                        <a:pt x="72" y="120"/>
                      </a:lnTo>
                      <a:lnTo>
                        <a:pt x="66" y="126"/>
                      </a:lnTo>
                      <a:lnTo>
                        <a:pt x="54" y="132"/>
                      </a:lnTo>
                      <a:lnTo>
                        <a:pt x="42" y="144"/>
                      </a:lnTo>
                      <a:lnTo>
                        <a:pt x="42" y="162"/>
                      </a:lnTo>
                      <a:lnTo>
                        <a:pt x="48" y="168"/>
                      </a:lnTo>
                      <a:lnTo>
                        <a:pt x="54" y="180"/>
                      </a:lnTo>
                      <a:lnTo>
                        <a:pt x="36" y="180"/>
                      </a:lnTo>
                      <a:lnTo>
                        <a:pt x="36" y="198"/>
                      </a:lnTo>
                      <a:lnTo>
                        <a:pt x="0" y="216"/>
                      </a:lnTo>
                      <a:lnTo>
                        <a:pt x="24" y="228"/>
                      </a:lnTo>
                      <a:lnTo>
                        <a:pt x="12" y="258"/>
                      </a:lnTo>
                      <a:lnTo>
                        <a:pt x="24" y="270"/>
                      </a:lnTo>
                      <a:lnTo>
                        <a:pt x="24" y="282"/>
                      </a:lnTo>
                      <a:lnTo>
                        <a:pt x="6" y="300"/>
                      </a:lnTo>
                      <a:lnTo>
                        <a:pt x="0" y="300"/>
                      </a:lnTo>
                      <a:lnTo>
                        <a:pt x="12" y="312"/>
                      </a:lnTo>
                      <a:lnTo>
                        <a:pt x="6" y="318"/>
                      </a:lnTo>
                      <a:lnTo>
                        <a:pt x="6" y="324"/>
                      </a:lnTo>
                      <a:lnTo>
                        <a:pt x="18" y="336"/>
                      </a:lnTo>
                      <a:lnTo>
                        <a:pt x="30" y="342"/>
                      </a:lnTo>
                      <a:lnTo>
                        <a:pt x="60" y="342"/>
                      </a:lnTo>
                      <a:lnTo>
                        <a:pt x="72" y="330"/>
                      </a:lnTo>
                      <a:lnTo>
                        <a:pt x="72" y="324"/>
                      </a:lnTo>
                      <a:lnTo>
                        <a:pt x="96" y="330"/>
                      </a:lnTo>
                      <a:lnTo>
                        <a:pt x="102" y="342"/>
                      </a:lnTo>
                      <a:lnTo>
                        <a:pt x="102" y="348"/>
                      </a:lnTo>
                      <a:lnTo>
                        <a:pt x="96" y="366"/>
                      </a:lnTo>
                      <a:lnTo>
                        <a:pt x="90" y="372"/>
                      </a:lnTo>
                      <a:lnTo>
                        <a:pt x="90" y="384"/>
                      </a:lnTo>
                      <a:lnTo>
                        <a:pt x="84" y="396"/>
                      </a:lnTo>
                      <a:lnTo>
                        <a:pt x="72" y="402"/>
                      </a:lnTo>
                      <a:lnTo>
                        <a:pt x="66" y="402"/>
                      </a:lnTo>
                      <a:lnTo>
                        <a:pt x="60" y="408"/>
                      </a:lnTo>
                      <a:lnTo>
                        <a:pt x="54" y="408"/>
                      </a:lnTo>
                      <a:lnTo>
                        <a:pt x="60" y="408"/>
                      </a:lnTo>
                      <a:lnTo>
                        <a:pt x="72" y="414"/>
                      </a:lnTo>
                      <a:lnTo>
                        <a:pt x="78" y="414"/>
                      </a:lnTo>
                      <a:lnTo>
                        <a:pt x="78" y="420"/>
                      </a:lnTo>
                      <a:lnTo>
                        <a:pt x="72" y="426"/>
                      </a:lnTo>
                      <a:lnTo>
                        <a:pt x="66" y="438"/>
                      </a:lnTo>
                      <a:lnTo>
                        <a:pt x="54" y="444"/>
                      </a:lnTo>
                      <a:lnTo>
                        <a:pt x="48" y="456"/>
                      </a:lnTo>
                      <a:lnTo>
                        <a:pt x="42" y="462"/>
                      </a:lnTo>
                      <a:lnTo>
                        <a:pt x="54" y="474"/>
                      </a:lnTo>
                      <a:lnTo>
                        <a:pt x="42" y="486"/>
                      </a:lnTo>
                      <a:lnTo>
                        <a:pt x="48" y="492"/>
                      </a:lnTo>
                      <a:lnTo>
                        <a:pt x="54" y="492"/>
                      </a:lnTo>
                      <a:lnTo>
                        <a:pt x="66" y="486"/>
                      </a:lnTo>
                      <a:lnTo>
                        <a:pt x="78" y="474"/>
                      </a:lnTo>
                      <a:lnTo>
                        <a:pt x="90" y="486"/>
                      </a:lnTo>
                      <a:lnTo>
                        <a:pt x="120" y="486"/>
                      </a:lnTo>
                      <a:lnTo>
                        <a:pt x="120" y="492"/>
                      </a:lnTo>
                      <a:lnTo>
                        <a:pt x="126" y="498"/>
                      </a:lnTo>
                      <a:lnTo>
                        <a:pt x="126" y="516"/>
                      </a:lnTo>
                      <a:lnTo>
                        <a:pt x="132" y="528"/>
                      </a:lnTo>
                      <a:lnTo>
                        <a:pt x="150" y="528"/>
                      </a:lnTo>
                      <a:lnTo>
                        <a:pt x="150" y="522"/>
                      </a:lnTo>
                      <a:lnTo>
                        <a:pt x="156" y="516"/>
                      </a:lnTo>
                      <a:lnTo>
                        <a:pt x="156" y="510"/>
                      </a:lnTo>
                      <a:lnTo>
                        <a:pt x="162" y="504"/>
                      </a:lnTo>
                      <a:lnTo>
                        <a:pt x="180" y="504"/>
                      </a:lnTo>
                      <a:lnTo>
                        <a:pt x="180" y="474"/>
                      </a:lnTo>
                      <a:lnTo>
                        <a:pt x="186" y="462"/>
                      </a:lnTo>
                      <a:lnTo>
                        <a:pt x="186" y="438"/>
                      </a:lnTo>
                      <a:lnTo>
                        <a:pt x="198" y="426"/>
                      </a:lnTo>
                      <a:lnTo>
                        <a:pt x="198" y="408"/>
                      </a:lnTo>
                      <a:lnTo>
                        <a:pt x="210" y="402"/>
                      </a:lnTo>
                      <a:lnTo>
                        <a:pt x="210" y="396"/>
                      </a:lnTo>
                      <a:lnTo>
                        <a:pt x="228" y="378"/>
                      </a:lnTo>
                      <a:lnTo>
                        <a:pt x="246" y="366"/>
                      </a:lnTo>
                      <a:lnTo>
                        <a:pt x="264" y="360"/>
                      </a:lnTo>
                      <a:lnTo>
                        <a:pt x="324" y="330"/>
                      </a:lnTo>
                      <a:lnTo>
                        <a:pt x="342" y="318"/>
                      </a:lnTo>
                      <a:lnTo>
                        <a:pt x="354" y="300"/>
                      </a:lnTo>
                      <a:lnTo>
                        <a:pt x="366" y="288"/>
                      </a:lnTo>
                      <a:lnTo>
                        <a:pt x="372" y="276"/>
                      </a:lnTo>
                      <a:lnTo>
                        <a:pt x="384" y="264"/>
                      </a:lnTo>
                      <a:lnTo>
                        <a:pt x="390" y="252"/>
                      </a:lnTo>
                      <a:lnTo>
                        <a:pt x="402" y="210"/>
                      </a:lnTo>
                      <a:lnTo>
                        <a:pt x="414" y="204"/>
                      </a:lnTo>
                      <a:lnTo>
                        <a:pt x="414" y="174"/>
                      </a:lnTo>
                      <a:close/>
                    </a:path>
                  </a:pathLst>
                </a:custGeom>
                <a:solidFill>
                  <a:schemeClr val="accent1"/>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648" name="East Timor"/>
                <p:cNvSpPr>
                  <a:spLocks noEditPoints="1"/>
                </p:cNvSpPr>
                <p:nvPr/>
              </p:nvSpPr>
              <p:spPr bwMode="gray">
                <a:xfrm>
                  <a:off x="4903" y="2480"/>
                  <a:ext cx="64" cy="30"/>
                </a:xfrm>
                <a:custGeom>
                  <a:avLst/>
                  <a:gdLst>
                    <a:gd name="T0" fmla="*/ 2147483647 w 252"/>
                    <a:gd name="T1" fmla="*/ 0 h 120"/>
                    <a:gd name="T2" fmla="*/ 2147483647 w 252"/>
                    <a:gd name="T3" fmla="*/ 2147483647 h 120"/>
                    <a:gd name="T4" fmla="*/ 2147483647 w 252"/>
                    <a:gd name="T5" fmla="*/ 2147483647 h 120"/>
                    <a:gd name="T6" fmla="*/ 2147483647 w 252"/>
                    <a:gd name="T7" fmla="*/ 2147483647 h 120"/>
                    <a:gd name="T8" fmla="*/ 2147483647 w 252"/>
                    <a:gd name="T9" fmla="*/ 2147483647 h 120"/>
                    <a:gd name="T10" fmla="*/ 2147483647 w 252"/>
                    <a:gd name="T11" fmla="*/ 2147483647 h 120"/>
                    <a:gd name="T12" fmla="*/ 2147483647 w 252"/>
                    <a:gd name="T13" fmla="*/ 2147483647 h 120"/>
                    <a:gd name="T14" fmla="*/ 2147483647 w 252"/>
                    <a:gd name="T15" fmla="*/ 2147483647 h 120"/>
                    <a:gd name="T16" fmla="*/ 2147483647 w 252"/>
                    <a:gd name="T17" fmla="*/ 2147483647 h 120"/>
                    <a:gd name="T18" fmla="*/ 2147483647 w 252"/>
                    <a:gd name="T19" fmla="*/ 2147483647 h 120"/>
                    <a:gd name="T20" fmla="*/ 2147483647 w 252"/>
                    <a:gd name="T21" fmla="*/ 2147483647 h 120"/>
                    <a:gd name="T22" fmla="*/ 2147483647 w 252"/>
                    <a:gd name="T23" fmla="*/ 2147483647 h 120"/>
                    <a:gd name="T24" fmla="*/ 2147483647 w 252"/>
                    <a:gd name="T25" fmla="*/ 2147483647 h 120"/>
                    <a:gd name="T26" fmla="*/ 2147483647 w 252"/>
                    <a:gd name="T27" fmla="*/ 2147483647 h 120"/>
                    <a:gd name="T28" fmla="*/ 2147483647 w 252"/>
                    <a:gd name="T29" fmla="*/ 2147483647 h 120"/>
                    <a:gd name="T30" fmla="*/ 2147483647 w 252"/>
                    <a:gd name="T31" fmla="*/ 2147483647 h 120"/>
                    <a:gd name="T32" fmla="*/ 2147483647 w 252"/>
                    <a:gd name="T33" fmla="*/ 2147483647 h 120"/>
                    <a:gd name="T34" fmla="*/ 2147483647 w 252"/>
                    <a:gd name="T35" fmla="*/ 2147483647 h 120"/>
                    <a:gd name="T36" fmla="*/ 2147483647 w 252"/>
                    <a:gd name="T37" fmla="*/ 2147483647 h 120"/>
                    <a:gd name="T38" fmla="*/ 2147483647 w 252"/>
                    <a:gd name="T39" fmla="*/ 2147483647 h 120"/>
                    <a:gd name="T40" fmla="*/ 2147483647 w 252"/>
                    <a:gd name="T41" fmla="*/ 2147483647 h 120"/>
                    <a:gd name="T42" fmla="*/ 2147483647 w 252"/>
                    <a:gd name="T43" fmla="*/ 2147483647 h 120"/>
                    <a:gd name="T44" fmla="*/ 2147483647 w 252"/>
                    <a:gd name="T45" fmla="*/ 2147483647 h 120"/>
                    <a:gd name="T46" fmla="*/ 2147483647 w 252"/>
                    <a:gd name="T47" fmla="*/ 0 h 120"/>
                    <a:gd name="T48" fmla="*/ 0 w 252"/>
                    <a:gd name="T49" fmla="*/ 2147483647 h 120"/>
                    <a:gd name="T50" fmla="*/ 2147483647 w 252"/>
                    <a:gd name="T51" fmla="*/ 2147483647 h 120"/>
                    <a:gd name="T52" fmla="*/ 2147483647 w 252"/>
                    <a:gd name="T53" fmla="*/ 2147483647 h 120"/>
                    <a:gd name="T54" fmla="*/ 2147483647 w 252"/>
                    <a:gd name="T55" fmla="*/ 2147483647 h 120"/>
                    <a:gd name="T56" fmla="*/ 2147483647 w 252"/>
                    <a:gd name="T57" fmla="*/ 2147483647 h 120"/>
                    <a:gd name="T58" fmla="*/ 2147483647 w 252"/>
                    <a:gd name="T59" fmla="*/ 2147483647 h 120"/>
                    <a:gd name="T60" fmla="*/ 2147483647 w 252"/>
                    <a:gd name="T61" fmla="*/ 2147483647 h 120"/>
                    <a:gd name="T62" fmla="*/ 2147483647 w 252"/>
                    <a:gd name="T63" fmla="*/ 2147483647 h 120"/>
                    <a:gd name="T64" fmla="*/ 0 w 252"/>
                    <a:gd name="T65" fmla="*/ 2147483647 h 12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52"/>
                    <a:gd name="T100" fmla="*/ 0 h 120"/>
                    <a:gd name="T101" fmla="*/ 252 w 252"/>
                    <a:gd name="T102" fmla="*/ 120 h 12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52" h="120">
                      <a:moveTo>
                        <a:pt x="228" y="0"/>
                      </a:moveTo>
                      <a:lnTo>
                        <a:pt x="204" y="24"/>
                      </a:lnTo>
                      <a:lnTo>
                        <a:pt x="114" y="24"/>
                      </a:lnTo>
                      <a:lnTo>
                        <a:pt x="108" y="30"/>
                      </a:lnTo>
                      <a:lnTo>
                        <a:pt x="102" y="42"/>
                      </a:lnTo>
                      <a:lnTo>
                        <a:pt x="96" y="48"/>
                      </a:lnTo>
                      <a:lnTo>
                        <a:pt x="90" y="48"/>
                      </a:lnTo>
                      <a:lnTo>
                        <a:pt x="78" y="54"/>
                      </a:lnTo>
                      <a:lnTo>
                        <a:pt x="90" y="72"/>
                      </a:lnTo>
                      <a:lnTo>
                        <a:pt x="84" y="78"/>
                      </a:lnTo>
                      <a:lnTo>
                        <a:pt x="72" y="102"/>
                      </a:lnTo>
                      <a:lnTo>
                        <a:pt x="72" y="114"/>
                      </a:lnTo>
                      <a:lnTo>
                        <a:pt x="78" y="120"/>
                      </a:lnTo>
                      <a:lnTo>
                        <a:pt x="78" y="114"/>
                      </a:lnTo>
                      <a:lnTo>
                        <a:pt x="84" y="108"/>
                      </a:lnTo>
                      <a:lnTo>
                        <a:pt x="96" y="108"/>
                      </a:lnTo>
                      <a:lnTo>
                        <a:pt x="132" y="84"/>
                      </a:lnTo>
                      <a:lnTo>
                        <a:pt x="138" y="90"/>
                      </a:lnTo>
                      <a:lnTo>
                        <a:pt x="162" y="90"/>
                      </a:lnTo>
                      <a:lnTo>
                        <a:pt x="186" y="78"/>
                      </a:lnTo>
                      <a:lnTo>
                        <a:pt x="198" y="66"/>
                      </a:lnTo>
                      <a:lnTo>
                        <a:pt x="210" y="60"/>
                      </a:lnTo>
                      <a:lnTo>
                        <a:pt x="252" y="18"/>
                      </a:lnTo>
                      <a:lnTo>
                        <a:pt x="228" y="0"/>
                      </a:lnTo>
                      <a:close/>
                      <a:moveTo>
                        <a:pt x="0" y="90"/>
                      </a:moveTo>
                      <a:lnTo>
                        <a:pt x="6" y="102"/>
                      </a:lnTo>
                      <a:lnTo>
                        <a:pt x="18" y="96"/>
                      </a:lnTo>
                      <a:lnTo>
                        <a:pt x="24" y="90"/>
                      </a:lnTo>
                      <a:lnTo>
                        <a:pt x="36" y="90"/>
                      </a:lnTo>
                      <a:lnTo>
                        <a:pt x="36" y="84"/>
                      </a:lnTo>
                      <a:lnTo>
                        <a:pt x="42" y="72"/>
                      </a:lnTo>
                      <a:lnTo>
                        <a:pt x="18" y="72"/>
                      </a:lnTo>
                      <a:lnTo>
                        <a:pt x="0" y="9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649" name="Dominican Republic"/>
                <p:cNvSpPr>
                  <a:spLocks/>
                </p:cNvSpPr>
                <p:nvPr/>
              </p:nvSpPr>
              <p:spPr bwMode="gray">
                <a:xfrm>
                  <a:off x="1365" y="1900"/>
                  <a:ext cx="64" cy="43"/>
                </a:xfrm>
                <a:custGeom>
                  <a:avLst/>
                  <a:gdLst>
                    <a:gd name="T0" fmla="*/ 2147483647 w 252"/>
                    <a:gd name="T1" fmla="*/ 2147483647 h 168"/>
                    <a:gd name="T2" fmla="*/ 2147483647 w 252"/>
                    <a:gd name="T3" fmla="*/ 2147483647 h 168"/>
                    <a:gd name="T4" fmla="*/ 2147483647 w 252"/>
                    <a:gd name="T5" fmla="*/ 2147483647 h 168"/>
                    <a:gd name="T6" fmla="*/ 2147483647 w 252"/>
                    <a:gd name="T7" fmla="*/ 2147483647 h 168"/>
                    <a:gd name="T8" fmla="*/ 2147483647 w 252"/>
                    <a:gd name="T9" fmla="*/ 2147483647 h 168"/>
                    <a:gd name="T10" fmla="*/ 2147483647 w 252"/>
                    <a:gd name="T11" fmla="*/ 2147483647 h 168"/>
                    <a:gd name="T12" fmla="*/ 2147483647 w 252"/>
                    <a:gd name="T13" fmla="*/ 2147483647 h 168"/>
                    <a:gd name="T14" fmla="*/ 2147483647 w 252"/>
                    <a:gd name="T15" fmla="*/ 2147483647 h 168"/>
                    <a:gd name="T16" fmla="*/ 2147483647 w 252"/>
                    <a:gd name="T17" fmla="*/ 2147483647 h 168"/>
                    <a:gd name="T18" fmla="*/ 2147483647 w 252"/>
                    <a:gd name="T19" fmla="*/ 2147483647 h 168"/>
                    <a:gd name="T20" fmla="*/ 2147483647 w 252"/>
                    <a:gd name="T21" fmla="*/ 0 h 168"/>
                    <a:gd name="T22" fmla="*/ 2147483647 w 252"/>
                    <a:gd name="T23" fmla="*/ 0 h 168"/>
                    <a:gd name="T24" fmla="*/ 2147483647 w 252"/>
                    <a:gd name="T25" fmla="*/ 2147483647 h 168"/>
                    <a:gd name="T26" fmla="*/ 2147483647 w 252"/>
                    <a:gd name="T27" fmla="*/ 2147483647 h 168"/>
                    <a:gd name="T28" fmla="*/ 2147483647 w 252"/>
                    <a:gd name="T29" fmla="*/ 2147483647 h 168"/>
                    <a:gd name="T30" fmla="*/ 2147483647 w 252"/>
                    <a:gd name="T31" fmla="*/ 2147483647 h 168"/>
                    <a:gd name="T32" fmla="*/ 2147483647 w 252"/>
                    <a:gd name="T33" fmla="*/ 2147483647 h 168"/>
                    <a:gd name="T34" fmla="*/ 2147483647 w 252"/>
                    <a:gd name="T35" fmla="*/ 2147483647 h 168"/>
                    <a:gd name="T36" fmla="*/ 2147483647 w 252"/>
                    <a:gd name="T37" fmla="*/ 2147483647 h 168"/>
                    <a:gd name="T38" fmla="*/ 2147483647 w 252"/>
                    <a:gd name="T39" fmla="*/ 2147483647 h 168"/>
                    <a:gd name="T40" fmla="*/ 2147483647 w 252"/>
                    <a:gd name="T41" fmla="*/ 2147483647 h 168"/>
                    <a:gd name="T42" fmla="*/ 0 w 252"/>
                    <a:gd name="T43" fmla="*/ 2147483647 h 168"/>
                    <a:gd name="T44" fmla="*/ 0 w 252"/>
                    <a:gd name="T45" fmla="*/ 2147483647 h 168"/>
                    <a:gd name="T46" fmla="*/ 2147483647 w 252"/>
                    <a:gd name="T47" fmla="*/ 2147483647 h 168"/>
                    <a:gd name="T48" fmla="*/ 0 w 252"/>
                    <a:gd name="T49" fmla="*/ 2147483647 h 168"/>
                    <a:gd name="T50" fmla="*/ 2147483647 w 252"/>
                    <a:gd name="T51" fmla="*/ 2147483647 h 168"/>
                    <a:gd name="T52" fmla="*/ 2147483647 w 252"/>
                    <a:gd name="T53" fmla="*/ 2147483647 h 168"/>
                    <a:gd name="T54" fmla="*/ 2147483647 w 252"/>
                    <a:gd name="T55" fmla="*/ 2147483647 h 168"/>
                    <a:gd name="T56" fmla="*/ 2147483647 w 252"/>
                    <a:gd name="T57" fmla="*/ 2147483647 h 168"/>
                    <a:gd name="T58" fmla="*/ 2147483647 w 252"/>
                    <a:gd name="T59" fmla="*/ 2147483647 h 168"/>
                    <a:gd name="T60" fmla="*/ 2147483647 w 252"/>
                    <a:gd name="T61" fmla="*/ 2147483647 h 168"/>
                    <a:gd name="T62" fmla="*/ 2147483647 w 252"/>
                    <a:gd name="T63" fmla="*/ 2147483647 h 168"/>
                    <a:gd name="T64" fmla="*/ 2147483647 w 252"/>
                    <a:gd name="T65" fmla="*/ 2147483647 h 168"/>
                    <a:gd name="T66" fmla="*/ 2147483647 w 252"/>
                    <a:gd name="T67" fmla="*/ 2147483647 h 16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52"/>
                    <a:gd name="T103" fmla="*/ 0 h 168"/>
                    <a:gd name="T104" fmla="*/ 252 w 252"/>
                    <a:gd name="T105" fmla="*/ 168 h 16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52" h="168">
                      <a:moveTo>
                        <a:pt x="246" y="102"/>
                      </a:moveTo>
                      <a:lnTo>
                        <a:pt x="234" y="96"/>
                      </a:lnTo>
                      <a:lnTo>
                        <a:pt x="216" y="78"/>
                      </a:lnTo>
                      <a:lnTo>
                        <a:pt x="192" y="66"/>
                      </a:lnTo>
                      <a:lnTo>
                        <a:pt x="156" y="54"/>
                      </a:lnTo>
                      <a:lnTo>
                        <a:pt x="132" y="42"/>
                      </a:lnTo>
                      <a:lnTo>
                        <a:pt x="126" y="30"/>
                      </a:lnTo>
                      <a:lnTo>
                        <a:pt x="108" y="12"/>
                      </a:lnTo>
                      <a:lnTo>
                        <a:pt x="96" y="6"/>
                      </a:lnTo>
                      <a:lnTo>
                        <a:pt x="84" y="6"/>
                      </a:lnTo>
                      <a:lnTo>
                        <a:pt x="60" y="0"/>
                      </a:lnTo>
                      <a:lnTo>
                        <a:pt x="30" y="0"/>
                      </a:lnTo>
                      <a:lnTo>
                        <a:pt x="24" y="6"/>
                      </a:lnTo>
                      <a:lnTo>
                        <a:pt x="18" y="6"/>
                      </a:lnTo>
                      <a:lnTo>
                        <a:pt x="30" y="42"/>
                      </a:lnTo>
                      <a:lnTo>
                        <a:pt x="30" y="54"/>
                      </a:lnTo>
                      <a:lnTo>
                        <a:pt x="24" y="60"/>
                      </a:lnTo>
                      <a:lnTo>
                        <a:pt x="18" y="72"/>
                      </a:lnTo>
                      <a:lnTo>
                        <a:pt x="12" y="78"/>
                      </a:lnTo>
                      <a:lnTo>
                        <a:pt x="12" y="90"/>
                      </a:lnTo>
                      <a:lnTo>
                        <a:pt x="6" y="102"/>
                      </a:lnTo>
                      <a:lnTo>
                        <a:pt x="0" y="108"/>
                      </a:lnTo>
                      <a:lnTo>
                        <a:pt x="0" y="114"/>
                      </a:lnTo>
                      <a:lnTo>
                        <a:pt x="12" y="144"/>
                      </a:lnTo>
                      <a:lnTo>
                        <a:pt x="0" y="126"/>
                      </a:lnTo>
                      <a:lnTo>
                        <a:pt x="30" y="168"/>
                      </a:lnTo>
                      <a:lnTo>
                        <a:pt x="78" y="132"/>
                      </a:lnTo>
                      <a:lnTo>
                        <a:pt x="174" y="132"/>
                      </a:lnTo>
                      <a:lnTo>
                        <a:pt x="186" y="138"/>
                      </a:lnTo>
                      <a:lnTo>
                        <a:pt x="240" y="138"/>
                      </a:lnTo>
                      <a:lnTo>
                        <a:pt x="246" y="132"/>
                      </a:lnTo>
                      <a:lnTo>
                        <a:pt x="252" y="120"/>
                      </a:lnTo>
                      <a:lnTo>
                        <a:pt x="252" y="114"/>
                      </a:lnTo>
                      <a:lnTo>
                        <a:pt x="246" y="102"/>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650" name="Djibouti"/>
                <p:cNvSpPr>
                  <a:spLocks/>
                </p:cNvSpPr>
                <p:nvPr/>
              </p:nvSpPr>
              <p:spPr bwMode="gray">
                <a:xfrm>
                  <a:off x="3408" y="2049"/>
                  <a:ext cx="30" cy="35"/>
                </a:xfrm>
                <a:custGeom>
                  <a:avLst/>
                  <a:gdLst>
                    <a:gd name="T0" fmla="*/ 2147483647 w 114"/>
                    <a:gd name="T1" fmla="*/ 2147483647 h 138"/>
                    <a:gd name="T2" fmla="*/ 2147483647 w 114"/>
                    <a:gd name="T3" fmla="*/ 2147483647 h 138"/>
                    <a:gd name="T4" fmla="*/ 2147483647 w 114"/>
                    <a:gd name="T5" fmla="*/ 2147483647 h 138"/>
                    <a:gd name="T6" fmla="*/ 0 w 114"/>
                    <a:gd name="T7" fmla="*/ 2147483647 h 138"/>
                    <a:gd name="T8" fmla="*/ 0 w 114"/>
                    <a:gd name="T9" fmla="*/ 2147483647 h 138"/>
                    <a:gd name="T10" fmla="*/ 2147483647 w 114"/>
                    <a:gd name="T11" fmla="*/ 2147483647 h 138"/>
                    <a:gd name="T12" fmla="*/ 2147483647 w 114"/>
                    <a:gd name="T13" fmla="*/ 2147483647 h 138"/>
                    <a:gd name="T14" fmla="*/ 2147483647 w 114"/>
                    <a:gd name="T15" fmla="*/ 2147483647 h 138"/>
                    <a:gd name="T16" fmla="*/ 2147483647 w 114"/>
                    <a:gd name="T17" fmla="*/ 2147483647 h 138"/>
                    <a:gd name="T18" fmla="*/ 2147483647 w 114"/>
                    <a:gd name="T19" fmla="*/ 2147483647 h 138"/>
                    <a:gd name="T20" fmla="*/ 2147483647 w 114"/>
                    <a:gd name="T21" fmla="*/ 2147483647 h 138"/>
                    <a:gd name="T22" fmla="*/ 2147483647 w 114"/>
                    <a:gd name="T23" fmla="*/ 2147483647 h 138"/>
                    <a:gd name="T24" fmla="*/ 2147483647 w 114"/>
                    <a:gd name="T25" fmla="*/ 2147483647 h 138"/>
                    <a:gd name="T26" fmla="*/ 2147483647 w 114"/>
                    <a:gd name="T27" fmla="*/ 2147483647 h 138"/>
                    <a:gd name="T28" fmla="*/ 2147483647 w 114"/>
                    <a:gd name="T29" fmla="*/ 2147483647 h 138"/>
                    <a:gd name="T30" fmla="*/ 2147483647 w 114"/>
                    <a:gd name="T31" fmla="*/ 2147483647 h 138"/>
                    <a:gd name="T32" fmla="*/ 2147483647 w 114"/>
                    <a:gd name="T33" fmla="*/ 2147483647 h 138"/>
                    <a:gd name="T34" fmla="*/ 2147483647 w 114"/>
                    <a:gd name="T35" fmla="*/ 2147483647 h 138"/>
                    <a:gd name="T36" fmla="*/ 2147483647 w 114"/>
                    <a:gd name="T37" fmla="*/ 2147483647 h 138"/>
                    <a:gd name="T38" fmla="*/ 2147483647 w 114"/>
                    <a:gd name="T39" fmla="*/ 2147483647 h 138"/>
                    <a:gd name="T40" fmla="*/ 2147483647 w 114"/>
                    <a:gd name="T41" fmla="*/ 2147483647 h 138"/>
                    <a:gd name="T42" fmla="*/ 2147483647 w 114"/>
                    <a:gd name="T43" fmla="*/ 2147483647 h 138"/>
                    <a:gd name="T44" fmla="*/ 2147483647 w 114"/>
                    <a:gd name="T45" fmla="*/ 2147483647 h 138"/>
                    <a:gd name="T46" fmla="*/ 2147483647 w 114"/>
                    <a:gd name="T47" fmla="*/ 2147483647 h 138"/>
                    <a:gd name="T48" fmla="*/ 2147483647 w 114"/>
                    <a:gd name="T49" fmla="*/ 2147483647 h 138"/>
                    <a:gd name="T50" fmla="*/ 2147483647 w 114"/>
                    <a:gd name="T51" fmla="*/ 2147483647 h 138"/>
                    <a:gd name="T52" fmla="*/ 2147483647 w 114"/>
                    <a:gd name="T53" fmla="*/ 2147483647 h 138"/>
                    <a:gd name="T54" fmla="*/ 2147483647 w 114"/>
                    <a:gd name="T55" fmla="*/ 0 h 138"/>
                    <a:gd name="T56" fmla="*/ 2147483647 w 114"/>
                    <a:gd name="T57" fmla="*/ 2147483647 h 138"/>
                    <a:gd name="T58" fmla="*/ 2147483647 w 114"/>
                    <a:gd name="T59" fmla="*/ 2147483647 h 13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14"/>
                    <a:gd name="T91" fmla="*/ 0 h 138"/>
                    <a:gd name="T92" fmla="*/ 114 w 114"/>
                    <a:gd name="T93" fmla="*/ 138 h 13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14" h="138">
                      <a:moveTo>
                        <a:pt x="72" y="24"/>
                      </a:moveTo>
                      <a:lnTo>
                        <a:pt x="48" y="12"/>
                      </a:lnTo>
                      <a:lnTo>
                        <a:pt x="18" y="66"/>
                      </a:lnTo>
                      <a:lnTo>
                        <a:pt x="0" y="84"/>
                      </a:lnTo>
                      <a:lnTo>
                        <a:pt x="0" y="96"/>
                      </a:lnTo>
                      <a:lnTo>
                        <a:pt x="6" y="114"/>
                      </a:lnTo>
                      <a:lnTo>
                        <a:pt x="6" y="126"/>
                      </a:lnTo>
                      <a:lnTo>
                        <a:pt x="18" y="138"/>
                      </a:lnTo>
                      <a:lnTo>
                        <a:pt x="42" y="138"/>
                      </a:lnTo>
                      <a:lnTo>
                        <a:pt x="48" y="132"/>
                      </a:lnTo>
                      <a:lnTo>
                        <a:pt x="54" y="132"/>
                      </a:lnTo>
                      <a:lnTo>
                        <a:pt x="60" y="126"/>
                      </a:lnTo>
                      <a:lnTo>
                        <a:pt x="72" y="126"/>
                      </a:lnTo>
                      <a:lnTo>
                        <a:pt x="84" y="132"/>
                      </a:lnTo>
                      <a:lnTo>
                        <a:pt x="90" y="138"/>
                      </a:lnTo>
                      <a:lnTo>
                        <a:pt x="90" y="132"/>
                      </a:lnTo>
                      <a:lnTo>
                        <a:pt x="114" y="108"/>
                      </a:lnTo>
                      <a:lnTo>
                        <a:pt x="114" y="102"/>
                      </a:lnTo>
                      <a:lnTo>
                        <a:pt x="102" y="90"/>
                      </a:lnTo>
                      <a:lnTo>
                        <a:pt x="66" y="90"/>
                      </a:lnTo>
                      <a:lnTo>
                        <a:pt x="78" y="84"/>
                      </a:lnTo>
                      <a:lnTo>
                        <a:pt x="84" y="72"/>
                      </a:lnTo>
                      <a:lnTo>
                        <a:pt x="96" y="66"/>
                      </a:lnTo>
                      <a:lnTo>
                        <a:pt x="102" y="54"/>
                      </a:lnTo>
                      <a:lnTo>
                        <a:pt x="114" y="42"/>
                      </a:lnTo>
                      <a:lnTo>
                        <a:pt x="114" y="24"/>
                      </a:lnTo>
                      <a:lnTo>
                        <a:pt x="108" y="12"/>
                      </a:lnTo>
                      <a:lnTo>
                        <a:pt x="96" y="0"/>
                      </a:lnTo>
                      <a:lnTo>
                        <a:pt x="84" y="6"/>
                      </a:lnTo>
                      <a:lnTo>
                        <a:pt x="72" y="24"/>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651" name="Denmark"/>
                <p:cNvSpPr>
                  <a:spLocks noEditPoints="1"/>
                </p:cNvSpPr>
                <p:nvPr/>
              </p:nvSpPr>
              <p:spPr bwMode="gray">
                <a:xfrm>
                  <a:off x="2805" y="1134"/>
                  <a:ext cx="71" cy="60"/>
                </a:xfrm>
                <a:custGeom>
                  <a:avLst/>
                  <a:gdLst>
                    <a:gd name="T0" fmla="*/ 2147483647 w 71"/>
                    <a:gd name="T1" fmla="*/ 2147483647 h 60"/>
                    <a:gd name="T2" fmla="*/ 2147483647 w 71"/>
                    <a:gd name="T3" fmla="*/ 2147483647 h 60"/>
                    <a:gd name="T4" fmla="*/ 2147483647 w 71"/>
                    <a:gd name="T5" fmla="*/ 2147483647 h 60"/>
                    <a:gd name="T6" fmla="*/ 2147483647 w 71"/>
                    <a:gd name="T7" fmla="*/ 2147483647 h 60"/>
                    <a:gd name="T8" fmla="*/ 2147483647 w 71"/>
                    <a:gd name="T9" fmla="*/ 2147483647 h 60"/>
                    <a:gd name="T10" fmla="*/ 2147483647 w 71"/>
                    <a:gd name="T11" fmla="*/ 2147483647 h 60"/>
                    <a:gd name="T12" fmla="*/ 2147483647 w 71"/>
                    <a:gd name="T13" fmla="*/ 2147483647 h 60"/>
                    <a:gd name="T14" fmla="*/ 2147483647 w 71"/>
                    <a:gd name="T15" fmla="*/ 2147483647 h 60"/>
                    <a:gd name="T16" fmla="*/ 2147483647 w 71"/>
                    <a:gd name="T17" fmla="*/ 2147483647 h 60"/>
                    <a:gd name="T18" fmla="*/ 2147483647 w 71"/>
                    <a:gd name="T19" fmla="*/ 2147483647 h 60"/>
                    <a:gd name="T20" fmla="*/ 2147483647 w 71"/>
                    <a:gd name="T21" fmla="*/ 2147483647 h 60"/>
                    <a:gd name="T22" fmla="*/ 2147483647 w 71"/>
                    <a:gd name="T23" fmla="*/ 2147483647 h 60"/>
                    <a:gd name="T24" fmla="*/ 2147483647 w 71"/>
                    <a:gd name="T25" fmla="*/ 2147483647 h 60"/>
                    <a:gd name="T26" fmla="*/ 2147483647 w 71"/>
                    <a:gd name="T27" fmla="*/ 2147483647 h 60"/>
                    <a:gd name="T28" fmla="*/ 2147483647 w 71"/>
                    <a:gd name="T29" fmla="*/ 2147483647 h 60"/>
                    <a:gd name="T30" fmla="*/ 2147483647 w 71"/>
                    <a:gd name="T31" fmla="*/ 2147483647 h 60"/>
                    <a:gd name="T32" fmla="*/ 2147483647 w 71"/>
                    <a:gd name="T33" fmla="*/ 2147483647 h 60"/>
                    <a:gd name="T34" fmla="*/ 2147483647 w 71"/>
                    <a:gd name="T35" fmla="*/ 2147483647 h 60"/>
                    <a:gd name="T36" fmla="*/ 2147483647 w 71"/>
                    <a:gd name="T37" fmla="*/ 2147483647 h 60"/>
                    <a:gd name="T38" fmla="*/ 2147483647 w 71"/>
                    <a:gd name="T39" fmla="*/ 2147483647 h 60"/>
                    <a:gd name="T40" fmla="*/ 2147483647 w 71"/>
                    <a:gd name="T41" fmla="*/ 2147483647 h 60"/>
                    <a:gd name="T42" fmla="*/ 2147483647 w 71"/>
                    <a:gd name="T43" fmla="*/ 2147483647 h 60"/>
                    <a:gd name="T44" fmla="*/ 2147483647 w 71"/>
                    <a:gd name="T45" fmla="*/ 2147483647 h 60"/>
                    <a:gd name="T46" fmla="*/ 2147483647 w 71"/>
                    <a:gd name="T47" fmla="*/ 2147483647 h 60"/>
                    <a:gd name="T48" fmla="*/ 2147483647 w 71"/>
                    <a:gd name="T49" fmla="*/ 2147483647 h 60"/>
                    <a:gd name="T50" fmla="*/ 2147483647 w 71"/>
                    <a:gd name="T51" fmla="*/ 2147483647 h 60"/>
                    <a:gd name="T52" fmla="*/ 2147483647 w 71"/>
                    <a:gd name="T53" fmla="*/ 2147483647 h 60"/>
                    <a:gd name="T54" fmla="*/ 2147483647 w 71"/>
                    <a:gd name="T55" fmla="*/ 2147483647 h 60"/>
                    <a:gd name="T56" fmla="*/ 2147483647 w 71"/>
                    <a:gd name="T57" fmla="*/ 2147483647 h 60"/>
                    <a:gd name="T58" fmla="*/ 2147483647 w 71"/>
                    <a:gd name="T59" fmla="*/ 2147483647 h 60"/>
                    <a:gd name="T60" fmla="*/ 2147483647 w 71"/>
                    <a:gd name="T61" fmla="*/ 2147483647 h 60"/>
                    <a:gd name="T62" fmla="*/ 2147483647 w 71"/>
                    <a:gd name="T63" fmla="*/ 0 h 60"/>
                    <a:gd name="T64" fmla="*/ 2147483647 w 71"/>
                    <a:gd name="T65" fmla="*/ 2147483647 h 60"/>
                    <a:gd name="T66" fmla="*/ 2147483647 w 71"/>
                    <a:gd name="T67" fmla="*/ 2147483647 h 60"/>
                    <a:gd name="T68" fmla="*/ 2147483647 w 71"/>
                    <a:gd name="T69" fmla="*/ 2147483647 h 60"/>
                    <a:gd name="T70" fmla="*/ 2147483647 w 71"/>
                    <a:gd name="T71" fmla="*/ 2147483647 h 60"/>
                    <a:gd name="T72" fmla="*/ 2147483647 w 71"/>
                    <a:gd name="T73" fmla="*/ 2147483647 h 60"/>
                    <a:gd name="T74" fmla="*/ 2147483647 w 71"/>
                    <a:gd name="T75" fmla="*/ 2147483647 h 60"/>
                    <a:gd name="T76" fmla="*/ 2147483647 w 71"/>
                    <a:gd name="T77" fmla="*/ 2147483647 h 60"/>
                    <a:gd name="T78" fmla="*/ 2147483647 w 71"/>
                    <a:gd name="T79" fmla="*/ 2147483647 h 60"/>
                    <a:gd name="T80" fmla="*/ 2147483647 w 71"/>
                    <a:gd name="T81" fmla="*/ 2147483647 h 60"/>
                    <a:gd name="T82" fmla="*/ 0 w 71"/>
                    <a:gd name="T83" fmla="*/ 2147483647 h 60"/>
                    <a:gd name="T84" fmla="*/ 0 w 71"/>
                    <a:gd name="T85" fmla="*/ 2147483647 h 60"/>
                    <a:gd name="T86" fmla="*/ 2147483647 w 71"/>
                    <a:gd name="T87" fmla="*/ 2147483647 h 60"/>
                    <a:gd name="T88" fmla="*/ 2147483647 w 71"/>
                    <a:gd name="T89" fmla="*/ 2147483647 h 60"/>
                    <a:gd name="T90" fmla="*/ 2147483647 w 71"/>
                    <a:gd name="T91" fmla="*/ 2147483647 h 60"/>
                    <a:gd name="T92" fmla="*/ 2147483647 w 71"/>
                    <a:gd name="T93" fmla="*/ 2147483647 h 60"/>
                    <a:gd name="T94" fmla="*/ 2147483647 w 71"/>
                    <a:gd name="T95" fmla="*/ 2147483647 h 60"/>
                    <a:gd name="T96" fmla="*/ 2147483647 w 71"/>
                    <a:gd name="T97" fmla="*/ 2147483647 h 60"/>
                    <a:gd name="T98" fmla="*/ 2147483647 w 71"/>
                    <a:gd name="T99" fmla="*/ 2147483647 h 60"/>
                    <a:gd name="T100" fmla="*/ 2147483647 w 71"/>
                    <a:gd name="T101" fmla="*/ 2147483647 h 60"/>
                    <a:gd name="T102" fmla="*/ 2147483647 w 71"/>
                    <a:gd name="T103" fmla="*/ 2147483647 h 60"/>
                    <a:gd name="T104" fmla="*/ 2147483647 w 71"/>
                    <a:gd name="T105" fmla="*/ 2147483647 h 60"/>
                    <a:gd name="T106" fmla="*/ 2147483647 w 71"/>
                    <a:gd name="T107" fmla="*/ 2147483647 h 60"/>
                    <a:gd name="T108" fmla="*/ 2147483647 w 71"/>
                    <a:gd name="T109" fmla="*/ 2147483647 h 60"/>
                    <a:gd name="T110" fmla="*/ 2147483647 w 71"/>
                    <a:gd name="T111" fmla="*/ 2147483647 h 60"/>
                    <a:gd name="T112" fmla="*/ 2147483647 w 71"/>
                    <a:gd name="T113" fmla="*/ 2147483647 h 60"/>
                    <a:gd name="T114" fmla="*/ 2147483647 w 71"/>
                    <a:gd name="T115" fmla="*/ 2147483647 h 60"/>
                    <a:gd name="T116" fmla="*/ 2147483647 w 71"/>
                    <a:gd name="T117" fmla="*/ 2147483647 h 60"/>
                    <a:gd name="T118" fmla="*/ 2147483647 w 71"/>
                    <a:gd name="T119" fmla="*/ 2147483647 h 60"/>
                    <a:gd name="T120" fmla="*/ 2147483647 w 71"/>
                    <a:gd name="T121" fmla="*/ 2147483647 h 6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71"/>
                    <a:gd name="T184" fmla="*/ 0 h 60"/>
                    <a:gd name="T185" fmla="*/ 71 w 71"/>
                    <a:gd name="T186" fmla="*/ 60 h 6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71" h="60">
                      <a:moveTo>
                        <a:pt x="62" y="48"/>
                      </a:moveTo>
                      <a:lnTo>
                        <a:pt x="67" y="46"/>
                      </a:lnTo>
                      <a:lnTo>
                        <a:pt x="69" y="46"/>
                      </a:lnTo>
                      <a:lnTo>
                        <a:pt x="69" y="43"/>
                      </a:lnTo>
                      <a:lnTo>
                        <a:pt x="67" y="43"/>
                      </a:lnTo>
                      <a:lnTo>
                        <a:pt x="62" y="41"/>
                      </a:lnTo>
                      <a:lnTo>
                        <a:pt x="62" y="38"/>
                      </a:lnTo>
                      <a:lnTo>
                        <a:pt x="64" y="38"/>
                      </a:lnTo>
                      <a:lnTo>
                        <a:pt x="64" y="36"/>
                      </a:lnTo>
                      <a:lnTo>
                        <a:pt x="67" y="34"/>
                      </a:lnTo>
                      <a:lnTo>
                        <a:pt x="67" y="29"/>
                      </a:lnTo>
                      <a:lnTo>
                        <a:pt x="64" y="29"/>
                      </a:lnTo>
                      <a:lnTo>
                        <a:pt x="62" y="29"/>
                      </a:lnTo>
                      <a:lnTo>
                        <a:pt x="60" y="31"/>
                      </a:lnTo>
                      <a:lnTo>
                        <a:pt x="60" y="34"/>
                      </a:lnTo>
                      <a:lnTo>
                        <a:pt x="57" y="36"/>
                      </a:lnTo>
                      <a:lnTo>
                        <a:pt x="57" y="34"/>
                      </a:lnTo>
                      <a:lnTo>
                        <a:pt x="55" y="31"/>
                      </a:lnTo>
                      <a:lnTo>
                        <a:pt x="52" y="34"/>
                      </a:lnTo>
                      <a:lnTo>
                        <a:pt x="45" y="38"/>
                      </a:lnTo>
                      <a:lnTo>
                        <a:pt x="48" y="38"/>
                      </a:lnTo>
                      <a:lnTo>
                        <a:pt x="50" y="41"/>
                      </a:lnTo>
                      <a:lnTo>
                        <a:pt x="50" y="43"/>
                      </a:lnTo>
                      <a:lnTo>
                        <a:pt x="50" y="46"/>
                      </a:lnTo>
                      <a:lnTo>
                        <a:pt x="50" y="48"/>
                      </a:lnTo>
                      <a:lnTo>
                        <a:pt x="48" y="48"/>
                      </a:lnTo>
                      <a:lnTo>
                        <a:pt x="50" y="48"/>
                      </a:lnTo>
                      <a:lnTo>
                        <a:pt x="50" y="50"/>
                      </a:lnTo>
                      <a:lnTo>
                        <a:pt x="55" y="50"/>
                      </a:lnTo>
                      <a:lnTo>
                        <a:pt x="55" y="48"/>
                      </a:lnTo>
                      <a:lnTo>
                        <a:pt x="57" y="48"/>
                      </a:lnTo>
                      <a:lnTo>
                        <a:pt x="57" y="50"/>
                      </a:lnTo>
                      <a:lnTo>
                        <a:pt x="60" y="53"/>
                      </a:lnTo>
                      <a:lnTo>
                        <a:pt x="60" y="55"/>
                      </a:lnTo>
                      <a:lnTo>
                        <a:pt x="62" y="55"/>
                      </a:lnTo>
                      <a:lnTo>
                        <a:pt x="62" y="53"/>
                      </a:lnTo>
                      <a:lnTo>
                        <a:pt x="62" y="48"/>
                      </a:lnTo>
                      <a:close/>
                      <a:moveTo>
                        <a:pt x="71" y="53"/>
                      </a:moveTo>
                      <a:lnTo>
                        <a:pt x="62" y="55"/>
                      </a:lnTo>
                      <a:lnTo>
                        <a:pt x="60" y="58"/>
                      </a:lnTo>
                      <a:lnTo>
                        <a:pt x="57" y="58"/>
                      </a:lnTo>
                      <a:lnTo>
                        <a:pt x="57" y="55"/>
                      </a:lnTo>
                      <a:lnTo>
                        <a:pt x="55" y="55"/>
                      </a:lnTo>
                      <a:lnTo>
                        <a:pt x="50" y="53"/>
                      </a:lnTo>
                      <a:lnTo>
                        <a:pt x="45" y="53"/>
                      </a:lnTo>
                      <a:lnTo>
                        <a:pt x="45" y="58"/>
                      </a:lnTo>
                      <a:lnTo>
                        <a:pt x="50" y="58"/>
                      </a:lnTo>
                      <a:lnTo>
                        <a:pt x="52" y="58"/>
                      </a:lnTo>
                      <a:lnTo>
                        <a:pt x="55" y="60"/>
                      </a:lnTo>
                      <a:lnTo>
                        <a:pt x="57" y="60"/>
                      </a:lnTo>
                      <a:lnTo>
                        <a:pt x="60" y="60"/>
                      </a:lnTo>
                      <a:lnTo>
                        <a:pt x="62" y="60"/>
                      </a:lnTo>
                      <a:lnTo>
                        <a:pt x="69" y="58"/>
                      </a:lnTo>
                      <a:lnTo>
                        <a:pt x="71" y="58"/>
                      </a:lnTo>
                      <a:lnTo>
                        <a:pt x="71" y="53"/>
                      </a:lnTo>
                      <a:close/>
                      <a:moveTo>
                        <a:pt x="31" y="12"/>
                      </a:moveTo>
                      <a:lnTo>
                        <a:pt x="36" y="7"/>
                      </a:lnTo>
                      <a:lnTo>
                        <a:pt x="36" y="3"/>
                      </a:lnTo>
                      <a:lnTo>
                        <a:pt x="36" y="0"/>
                      </a:lnTo>
                      <a:lnTo>
                        <a:pt x="26" y="0"/>
                      </a:lnTo>
                      <a:lnTo>
                        <a:pt x="26" y="3"/>
                      </a:lnTo>
                      <a:lnTo>
                        <a:pt x="21" y="7"/>
                      </a:lnTo>
                      <a:lnTo>
                        <a:pt x="21" y="10"/>
                      </a:lnTo>
                      <a:lnTo>
                        <a:pt x="19" y="10"/>
                      </a:lnTo>
                      <a:lnTo>
                        <a:pt x="19" y="19"/>
                      </a:lnTo>
                      <a:lnTo>
                        <a:pt x="14" y="14"/>
                      </a:lnTo>
                      <a:lnTo>
                        <a:pt x="12" y="7"/>
                      </a:lnTo>
                      <a:lnTo>
                        <a:pt x="7" y="10"/>
                      </a:lnTo>
                      <a:lnTo>
                        <a:pt x="5" y="10"/>
                      </a:lnTo>
                      <a:lnTo>
                        <a:pt x="5" y="12"/>
                      </a:lnTo>
                      <a:lnTo>
                        <a:pt x="5" y="14"/>
                      </a:lnTo>
                      <a:lnTo>
                        <a:pt x="7" y="14"/>
                      </a:lnTo>
                      <a:lnTo>
                        <a:pt x="12" y="19"/>
                      </a:lnTo>
                      <a:lnTo>
                        <a:pt x="12" y="22"/>
                      </a:lnTo>
                      <a:lnTo>
                        <a:pt x="5" y="19"/>
                      </a:lnTo>
                      <a:lnTo>
                        <a:pt x="2" y="24"/>
                      </a:lnTo>
                      <a:lnTo>
                        <a:pt x="0" y="24"/>
                      </a:lnTo>
                      <a:lnTo>
                        <a:pt x="0" y="29"/>
                      </a:lnTo>
                      <a:lnTo>
                        <a:pt x="0" y="31"/>
                      </a:lnTo>
                      <a:lnTo>
                        <a:pt x="5" y="34"/>
                      </a:lnTo>
                      <a:lnTo>
                        <a:pt x="7" y="34"/>
                      </a:lnTo>
                      <a:lnTo>
                        <a:pt x="2" y="38"/>
                      </a:lnTo>
                      <a:lnTo>
                        <a:pt x="2" y="41"/>
                      </a:lnTo>
                      <a:lnTo>
                        <a:pt x="5" y="43"/>
                      </a:lnTo>
                      <a:lnTo>
                        <a:pt x="7" y="43"/>
                      </a:lnTo>
                      <a:lnTo>
                        <a:pt x="7" y="48"/>
                      </a:lnTo>
                      <a:lnTo>
                        <a:pt x="5" y="53"/>
                      </a:lnTo>
                      <a:lnTo>
                        <a:pt x="7" y="53"/>
                      </a:lnTo>
                      <a:lnTo>
                        <a:pt x="17" y="53"/>
                      </a:lnTo>
                      <a:lnTo>
                        <a:pt x="17" y="55"/>
                      </a:lnTo>
                      <a:lnTo>
                        <a:pt x="24" y="55"/>
                      </a:lnTo>
                      <a:lnTo>
                        <a:pt x="26" y="58"/>
                      </a:lnTo>
                      <a:lnTo>
                        <a:pt x="26" y="55"/>
                      </a:lnTo>
                      <a:lnTo>
                        <a:pt x="24" y="53"/>
                      </a:lnTo>
                      <a:lnTo>
                        <a:pt x="24" y="48"/>
                      </a:lnTo>
                      <a:lnTo>
                        <a:pt x="26" y="43"/>
                      </a:lnTo>
                      <a:lnTo>
                        <a:pt x="24" y="41"/>
                      </a:lnTo>
                      <a:lnTo>
                        <a:pt x="24" y="38"/>
                      </a:lnTo>
                      <a:lnTo>
                        <a:pt x="21" y="38"/>
                      </a:lnTo>
                      <a:lnTo>
                        <a:pt x="24" y="38"/>
                      </a:lnTo>
                      <a:lnTo>
                        <a:pt x="31" y="34"/>
                      </a:lnTo>
                      <a:lnTo>
                        <a:pt x="33" y="26"/>
                      </a:lnTo>
                      <a:lnTo>
                        <a:pt x="38" y="26"/>
                      </a:lnTo>
                      <a:lnTo>
                        <a:pt x="41" y="19"/>
                      </a:lnTo>
                      <a:lnTo>
                        <a:pt x="31" y="19"/>
                      </a:lnTo>
                      <a:lnTo>
                        <a:pt x="31" y="12"/>
                      </a:lnTo>
                      <a:close/>
                      <a:moveTo>
                        <a:pt x="29" y="38"/>
                      </a:moveTo>
                      <a:lnTo>
                        <a:pt x="31" y="48"/>
                      </a:lnTo>
                      <a:lnTo>
                        <a:pt x="36" y="53"/>
                      </a:lnTo>
                      <a:lnTo>
                        <a:pt x="38" y="46"/>
                      </a:lnTo>
                      <a:lnTo>
                        <a:pt x="33" y="41"/>
                      </a:lnTo>
                      <a:lnTo>
                        <a:pt x="29" y="38"/>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652" name="Czech Republic"/>
                <p:cNvSpPr>
                  <a:spLocks/>
                </p:cNvSpPr>
                <p:nvPr/>
              </p:nvSpPr>
              <p:spPr bwMode="gray">
                <a:xfrm>
                  <a:off x="2868" y="1263"/>
                  <a:ext cx="108" cy="49"/>
                </a:xfrm>
                <a:custGeom>
                  <a:avLst/>
                  <a:gdLst>
                    <a:gd name="T0" fmla="*/ 2147483647 w 420"/>
                    <a:gd name="T1" fmla="*/ 2147483647 h 192"/>
                    <a:gd name="T2" fmla="*/ 2147483647 w 420"/>
                    <a:gd name="T3" fmla="*/ 2147483647 h 192"/>
                    <a:gd name="T4" fmla="*/ 2147483647 w 420"/>
                    <a:gd name="T5" fmla="*/ 2147483647 h 192"/>
                    <a:gd name="T6" fmla="*/ 2147483647 w 420"/>
                    <a:gd name="T7" fmla="*/ 2147483647 h 192"/>
                    <a:gd name="T8" fmla="*/ 2147483647 w 420"/>
                    <a:gd name="T9" fmla="*/ 2147483647 h 192"/>
                    <a:gd name="T10" fmla="*/ 2147483647 w 420"/>
                    <a:gd name="T11" fmla="*/ 2147483647 h 192"/>
                    <a:gd name="T12" fmla="*/ 2147483647 w 420"/>
                    <a:gd name="T13" fmla="*/ 2147483647 h 192"/>
                    <a:gd name="T14" fmla="*/ 2147483647 w 420"/>
                    <a:gd name="T15" fmla="*/ 2147483647 h 192"/>
                    <a:gd name="T16" fmla="*/ 2147483647 w 420"/>
                    <a:gd name="T17" fmla="*/ 2147483647 h 192"/>
                    <a:gd name="T18" fmla="*/ 2147483647 w 420"/>
                    <a:gd name="T19" fmla="*/ 2147483647 h 192"/>
                    <a:gd name="T20" fmla="*/ 2147483647 w 420"/>
                    <a:gd name="T21" fmla="*/ 2147483647 h 192"/>
                    <a:gd name="T22" fmla="*/ 2147483647 w 420"/>
                    <a:gd name="T23" fmla="*/ 2147483647 h 192"/>
                    <a:gd name="T24" fmla="*/ 2147483647 w 420"/>
                    <a:gd name="T25" fmla="*/ 2147483647 h 192"/>
                    <a:gd name="T26" fmla="*/ 2147483647 w 420"/>
                    <a:gd name="T27" fmla="*/ 2147483647 h 192"/>
                    <a:gd name="T28" fmla="*/ 2147483647 w 420"/>
                    <a:gd name="T29" fmla="*/ 0 h 192"/>
                    <a:gd name="T30" fmla="*/ 2147483647 w 420"/>
                    <a:gd name="T31" fmla="*/ 2147483647 h 192"/>
                    <a:gd name="T32" fmla="*/ 2147483647 w 420"/>
                    <a:gd name="T33" fmla="*/ 0 h 192"/>
                    <a:gd name="T34" fmla="*/ 2147483647 w 420"/>
                    <a:gd name="T35" fmla="*/ 2147483647 h 192"/>
                    <a:gd name="T36" fmla="*/ 2147483647 w 420"/>
                    <a:gd name="T37" fmla="*/ 2147483647 h 192"/>
                    <a:gd name="T38" fmla="*/ 2147483647 w 420"/>
                    <a:gd name="T39" fmla="*/ 2147483647 h 192"/>
                    <a:gd name="T40" fmla="*/ 2147483647 w 420"/>
                    <a:gd name="T41" fmla="*/ 2147483647 h 192"/>
                    <a:gd name="T42" fmla="*/ 2147483647 w 420"/>
                    <a:gd name="T43" fmla="*/ 2147483647 h 192"/>
                    <a:gd name="T44" fmla="*/ 2147483647 w 420"/>
                    <a:gd name="T45" fmla="*/ 2147483647 h 192"/>
                    <a:gd name="T46" fmla="*/ 2147483647 w 420"/>
                    <a:gd name="T47" fmla="*/ 2147483647 h 192"/>
                    <a:gd name="T48" fmla="*/ 2147483647 w 420"/>
                    <a:gd name="T49" fmla="*/ 2147483647 h 192"/>
                    <a:gd name="T50" fmla="*/ 2147483647 w 420"/>
                    <a:gd name="T51" fmla="*/ 2147483647 h 192"/>
                    <a:gd name="T52" fmla="*/ 0 w 420"/>
                    <a:gd name="T53" fmla="*/ 2147483647 h 192"/>
                    <a:gd name="T54" fmla="*/ 2147483647 w 420"/>
                    <a:gd name="T55" fmla="*/ 2147483647 h 192"/>
                    <a:gd name="T56" fmla="*/ 2147483647 w 420"/>
                    <a:gd name="T57" fmla="*/ 2147483647 h 192"/>
                    <a:gd name="T58" fmla="*/ 2147483647 w 420"/>
                    <a:gd name="T59" fmla="*/ 2147483647 h 192"/>
                    <a:gd name="T60" fmla="*/ 2147483647 w 420"/>
                    <a:gd name="T61" fmla="*/ 2147483647 h 192"/>
                    <a:gd name="T62" fmla="*/ 2147483647 w 420"/>
                    <a:gd name="T63" fmla="*/ 2147483647 h 192"/>
                    <a:gd name="T64" fmla="*/ 2147483647 w 420"/>
                    <a:gd name="T65" fmla="*/ 2147483647 h 192"/>
                    <a:gd name="T66" fmla="*/ 2147483647 w 420"/>
                    <a:gd name="T67" fmla="*/ 2147483647 h 192"/>
                    <a:gd name="T68" fmla="*/ 2147483647 w 420"/>
                    <a:gd name="T69" fmla="*/ 2147483647 h 192"/>
                    <a:gd name="T70" fmla="*/ 2147483647 w 420"/>
                    <a:gd name="T71" fmla="*/ 2147483647 h 192"/>
                    <a:gd name="T72" fmla="*/ 2147483647 w 420"/>
                    <a:gd name="T73" fmla="*/ 2147483647 h 192"/>
                    <a:gd name="T74" fmla="*/ 2147483647 w 420"/>
                    <a:gd name="T75" fmla="*/ 2147483647 h 192"/>
                    <a:gd name="T76" fmla="*/ 2147483647 w 420"/>
                    <a:gd name="T77" fmla="*/ 2147483647 h 192"/>
                    <a:gd name="T78" fmla="*/ 2147483647 w 420"/>
                    <a:gd name="T79" fmla="*/ 2147483647 h 192"/>
                    <a:gd name="T80" fmla="*/ 2147483647 w 420"/>
                    <a:gd name="T81" fmla="*/ 2147483647 h 192"/>
                    <a:gd name="T82" fmla="*/ 2147483647 w 420"/>
                    <a:gd name="T83" fmla="*/ 2147483647 h 192"/>
                    <a:gd name="T84" fmla="*/ 2147483647 w 420"/>
                    <a:gd name="T85" fmla="*/ 2147483647 h 192"/>
                    <a:gd name="T86" fmla="*/ 2147483647 w 420"/>
                    <a:gd name="T87" fmla="*/ 2147483647 h 192"/>
                    <a:gd name="T88" fmla="*/ 2147483647 w 420"/>
                    <a:gd name="T89" fmla="*/ 2147483647 h 192"/>
                    <a:gd name="T90" fmla="*/ 2147483647 w 420"/>
                    <a:gd name="T91" fmla="*/ 2147483647 h 192"/>
                    <a:gd name="T92" fmla="*/ 2147483647 w 420"/>
                    <a:gd name="T93" fmla="*/ 2147483647 h 192"/>
                    <a:gd name="T94" fmla="*/ 2147483647 w 420"/>
                    <a:gd name="T95" fmla="*/ 2147483647 h 192"/>
                    <a:gd name="T96" fmla="*/ 2147483647 w 420"/>
                    <a:gd name="T97" fmla="*/ 2147483647 h 192"/>
                    <a:gd name="T98" fmla="*/ 2147483647 w 420"/>
                    <a:gd name="T99" fmla="*/ 2147483647 h 192"/>
                    <a:gd name="T100" fmla="*/ 2147483647 w 420"/>
                    <a:gd name="T101" fmla="*/ 2147483647 h 192"/>
                    <a:gd name="T102" fmla="*/ 2147483647 w 420"/>
                    <a:gd name="T103" fmla="*/ 2147483647 h 192"/>
                    <a:gd name="T104" fmla="*/ 2147483647 w 420"/>
                    <a:gd name="T105" fmla="*/ 2147483647 h 19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20"/>
                    <a:gd name="T160" fmla="*/ 0 h 192"/>
                    <a:gd name="T161" fmla="*/ 420 w 420"/>
                    <a:gd name="T162" fmla="*/ 192 h 19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20" h="192">
                      <a:moveTo>
                        <a:pt x="408" y="108"/>
                      </a:moveTo>
                      <a:lnTo>
                        <a:pt x="402" y="96"/>
                      </a:lnTo>
                      <a:lnTo>
                        <a:pt x="402" y="90"/>
                      </a:lnTo>
                      <a:lnTo>
                        <a:pt x="390" y="84"/>
                      </a:lnTo>
                      <a:lnTo>
                        <a:pt x="372" y="84"/>
                      </a:lnTo>
                      <a:lnTo>
                        <a:pt x="372" y="78"/>
                      </a:lnTo>
                      <a:lnTo>
                        <a:pt x="366" y="72"/>
                      </a:lnTo>
                      <a:lnTo>
                        <a:pt x="360" y="84"/>
                      </a:lnTo>
                      <a:lnTo>
                        <a:pt x="354" y="78"/>
                      </a:lnTo>
                      <a:lnTo>
                        <a:pt x="348" y="66"/>
                      </a:lnTo>
                      <a:lnTo>
                        <a:pt x="342" y="60"/>
                      </a:lnTo>
                      <a:lnTo>
                        <a:pt x="324" y="60"/>
                      </a:lnTo>
                      <a:lnTo>
                        <a:pt x="330" y="54"/>
                      </a:lnTo>
                      <a:lnTo>
                        <a:pt x="312" y="54"/>
                      </a:lnTo>
                      <a:lnTo>
                        <a:pt x="300" y="60"/>
                      </a:lnTo>
                      <a:lnTo>
                        <a:pt x="294" y="60"/>
                      </a:lnTo>
                      <a:lnTo>
                        <a:pt x="294" y="66"/>
                      </a:lnTo>
                      <a:lnTo>
                        <a:pt x="276" y="66"/>
                      </a:lnTo>
                      <a:lnTo>
                        <a:pt x="270" y="60"/>
                      </a:lnTo>
                      <a:lnTo>
                        <a:pt x="264" y="60"/>
                      </a:lnTo>
                      <a:lnTo>
                        <a:pt x="264" y="48"/>
                      </a:lnTo>
                      <a:lnTo>
                        <a:pt x="252" y="42"/>
                      </a:lnTo>
                      <a:lnTo>
                        <a:pt x="264" y="36"/>
                      </a:lnTo>
                      <a:lnTo>
                        <a:pt x="258" y="30"/>
                      </a:lnTo>
                      <a:lnTo>
                        <a:pt x="234" y="30"/>
                      </a:lnTo>
                      <a:lnTo>
                        <a:pt x="234" y="24"/>
                      </a:lnTo>
                      <a:lnTo>
                        <a:pt x="228" y="24"/>
                      </a:lnTo>
                      <a:lnTo>
                        <a:pt x="216" y="18"/>
                      </a:lnTo>
                      <a:lnTo>
                        <a:pt x="198" y="18"/>
                      </a:lnTo>
                      <a:lnTo>
                        <a:pt x="192" y="0"/>
                      </a:lnTo>
                      <a:lnTo>
                        <a:pt x="174" y="0"/>
                      </a:lnTo>
                      <a:lnTo>
                        <a:pt x="162" y="12"/>
                      </a:lnTo>
                      <a:lnTo>
                        <a:pt x="156" y="12"/>
                      </a:lnTo>
                      <a:lnTo>
                        <a:pt x="144" y="0"/>
                      </a:lnTo>
                      <a:lnTo>
                        <a:pt x="138" y="6"/>
                      </a:lnTo>
                      <a:lnTo>
                        <a:pt x="132" y="6"/>
                      </a:lnTo>
                      <a:lnTo>
                        <a:pt x="126" y="12"/>
                      </a:lnTo>
                      <a:lnTo>
                        <a:pt x="126" y="18"/>
                      </a:lnTo>
                      <a:lnTo>
                        <a:pt x="108" y="18"/>
                      </a:lnTo>
                      <a:lnTo>
                        <a:pt x="108" y="24"/>
                      </a:lnTo>
                      <a:lnTo>
                        <a:pt x="84" y="24"/>
                      </a:lnTo>
                      <a:lnTo>
                        <a:pt x="84" y="30"/>
                      </a:lnTo>
                      <a:lnTo>
                        <a:pt x="66" y="36"/>
                      </a:lnTo>
                      <a:lnTo>
                        <a:pt x="54" y="48"/>
                      </a:lnTo>
                      <a:lnTo>
                        <a:pt x="42" y="42"/>
                      </a:lnTo>
                      <a:lnTo>
                        <a:pt x="36" y="42"/>
                      </a:lnTo>
                      <a:lnTo>
                        <a:pt x="30" y="48"/>
                      </a:lnTo>
                      <a:lnTo>
                        <a:pt x="30" y="54"/>
                      </a:lnTo>
                      <a:lnTo>
                        <a:pt x="18" y="54"/>
                      </a:lnTo>
                      <a:lnTo>
                        <a:pt x="18" y="60"/>
                      </a:lnTo>
                      <a:lnTo>
                        <a:pt x="6" y="60"/>
                      </a:lnTo>
                      <a:lnTo>
                        <a:pt x="6" y="54"/>
                      </a:lnTo>
                      <a:lnTo>
                        <a:pt x="0" y="54"/>
                      </a:lnTo>
                      <a:lnTo>
                        <a:pt x="0" y="66"/>
                      </a:lnTo>
                      <a:lnTo>
                        <a:pt x="6" y="72"/>
                      </a:lnTo>
                      <a:lnTo>
                        <a:pt x="12" y="72"/>
                      </a:lnTo>
                      <a:lnTo>
                        <a:pt x="24" y="84"/>
                      </a:lnTo>
                      <a:lnTo>
                        <a:pt x="18" y="90"/>
                      </a:lnTo>
                      <a:lnTo>
                        <a:pt x="12" y="90"/>
                      </a:lnTo>
                      <a:lnTo>
                        <a:pt x="12" y="96"/>
                      </a:lnTo>
                      <a:lnTo>
                        <a:pt x="24" y="108"/>
                      </a:lnTo>
                      <a:lnTo>
                        <a:pt x="30" y="120"/>
                      </a:lnTo>
                      <a:lnTo>
                        <a:pt x="36" y="120"/>
                      </a:lnTo>
                      <a:lnTo>
                        <a:pt x="36" y="126"/>
                      </a:lnTo>
                      <a:lnTo>
                        <a:pt x="48" y="132"/>
                      </a:lnTo>
                      <a:lnTo>
                        <a:pt x="60" y="132"/>
                      </a:lnTo>
                      <a:lnTo>
                        <a:pt x="66" y="144"/>
                      </a:lnTo>
                      <a:lnTo>
                        <a:pt x="72" y="144"/>
                      </a:lnTo>
                      <a:lnTo>
                        <a:pt x="78" y="156"/>
                      </a:lnTo>
                      <a:lnTo>
                        <a:pt x="90" y="156"/>
                      </a:lnTo>
                      <a:lnTo>
                        <a:pt x="96" y="162"/>
                      </a:lnTo>
                      <a:lnTo>
                        <a:pt x="102" y="162"/>
                      </a:lnTo>
                      <a:lnTo>
                        <a:pt x="102" y="174"/>
                      </a:lnTo>
                      <a:lnTo>
                        <a:pt x="120" y="192"/>
                      </a:lnTo>
                      <a:lnTo>
                        <a:pt x="132" y="192"/>
                      </a:lnTo>
                      <a:lnTo>
                        <a:pt x="144" y="186"/>
                      </a:lnTo>
                      <a:lnTo>
                        <a:pt x="150" y="186"/>
                      </a:lnTo>
                      <a:lnTo>
                        <a:pt x="162" y="192"/>
                      </a:lnTo>
                      <a:lnTo>
                        <a:pt x="162" y="174"/>
                      </a:lnTo>
                      <a:lnTo>
                        <a:pt x="168" y="174"/>
                      </a:lnTo>
                      <a:lnTo>
                        <a:pt x="174" y="162"/>
                      </a:lnTo>
                      <a:lnTo>
                        <a:pt x="180" y="156"/>
                      </a:lnTo>
                      <a:lnTo>
                        <a:pt x="198" y="156"/>
                      </a:lnTo>
                      <a:lnTo>
                        <a:pt x="210" y="162"/>
                      </a:lnTo>
                      <a:lnTo>
                        <a:pt x="222" y="174"/>
                      </a:lnTo>
                      <a:lnTo>
                        <a:pt x="234" y="168"/>
                      </a:lnTo>
                      <a:lnTo>
                        <a:pt x="246" y="180"/>
                      </a:lnTo>
                      <a:lnTo>
                        <a:pt x="258" y="174"/>
                      </a:lnTo>
                      <a:lnTo>
                        <a:pt x="264" y="168"/>
                      </a:lnTo>
                      <a:lnTo>
                        <a:pt x="276" y="168"/>
                      </a:lnTo>
                      <a:lnTo>
                        <a:pt x="282" y="174"/>
                      </a:lnTo>
                      <a:lnTo>
                        <a:pt x="288" y="174"/>
                      </a:lnTo>
                      <a:lnTo>
                        <a:pt x="300" y="180"/>
                      </a:lnTo>
                      <a:lnTo>
                        <a:pt x="306" y="174"/>
                      </a:lnTo>
                      <a:lnTo>
                        <a:pt x="324" y="174"/>
                      </a:lnTo>
                      <a:lnTo>
                        <a:pt x="330" y="168"/>
                      </a:lnTo>
                      <a:lnTo>
                        <a:pt x="330" y="174"/>
                      </a:lnTo>
                      <a:lnTo>
                        <a:pt x="348" y="174"/>
                      </a:lnTo>
                      <a:lnTo>
                        <a:pt x="360" y="168"/>
                      </a:lnTo>
                      <a:lnTo>
                        <a:pt x="366" y="162"/>
                      </a:lnTo>
                      <a:lnTo>
                        <a:pt x="378" y="156"/>
                      </a:lnTo>
                      <a:lnTo>
                        <a:pt x="378" y="132"/>
                      </a:lnTo>
                      <a:lnTo>
                        <a:pt x="402" y="126"/>
                      </a:lnTo>
                      <a:lnTo>
                        <a:pt x="420" y="114"/>
                      </a:lnTo>
                      <a:lnTo>
                        <a:pt x="414" y="108"/>
                      </a:lnTo>
                      <a:lnTo>
                        <a:pt x="408" y="108"/>
                      </a:lnTo>
                      <a:close/>
                    </a:path>
                  </a:pathLst>
                </a:custGeom>
                <a:solidFill>
                  <a:schemeClr val="accent1"/>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653" name="Cyprus"/>
                <p:cNvSpPr>
                  <a:spLocks/>
                </p:cNvSpPr>
                <p:nvPr/>
              </p:nvSpPr>
              <p:spPr bwMode="gray">
                <a:xfrm>
                  <a:off x="3215" y="1576"/>
                  <a:ext cx="38" cy="22"/>
                </a:xfrm>
                <a:custGeom>
                  <a:avLst/>
                  <a:gdLst>
                    <a:gd name="T0" fmla="*/ 0 w 150"/>
                    <a:gd name="T1" fmla="*/ 2147483647 h 84"/>
                    <a:gd name="T2" fmla="*/ 2147483647 w 150"/>
                    <a:gd name="T3" fmla="*/ 2147483647 h 84"/>
                    <a:gd name="T4" fmla="*/ 2147483647 w 150"/>
                    <a:gd name="T5" fmla="*/ 2147483647 h 84"/>
                    <a:gd name="T6" fmla="*/ 2147483647 w 150"/>
                    <a:gd name="T7" fmla="*/ 2147483647 h 84"/>
                    <a:gd name="T8" fmla="*/ 2147483647 w 150"/>
                    <a:gd name="T9" fmla="*/ 2147483647 h 84"/>
                    <a:gd name="T10" fmla="*/ 2147483647 w 150"/>
                    <a:gd name="T11" fmla="*/ 2147483647 h 84"/>
                    <a:gd name="T12" fmla="*/ 2147483647 w 150"/>
                    <a:gd name="T13" fmla="*/ 2147483647 h 84"/>
                    <a:gd name="T14" fmla="*/ 2147483647 w 150"/>
                    <a:gd name="T15" fmla="*/ 2147483647 h 84"/>
                    <a:gd name="T16" fmla="*/ 2147483647 w 150"/>
                    <a:gd name="T17" fmla="*/ 2147483647 h 84"/>
                    <a:gd name="T18" fmla="*/ 2147483647 w 150"/>
                    <a:gd name="T19" fmla="*/ 2147483647 h 84"/>
                    <a:gd name="T20" fmla="*/ 2147483647 w 150"/>
                    <a:gd name="T21" fmla="*/ 2147483647 h 84"/>
                    <a:gd name="T22" fmla="*/ 2147483647 w 150"/>
                    <a:gd name="T23" fmla="*/ 2147483647 h 84"/>
                    <a:gd name="T24" fmla="*/ 2147483647 w 150"/>
                    <a:gd name="T25" fmla="*/ 2147483647 h 84"/>
                    <a:gd name="T26" fmla="*/ 2147483647 w 150"/>
                    <a:gd name="T27" fmla="*/ 0 h 84"/>
                    <a:gd name="T28" fmla="*/ 2147483647 w 150"/>
                    <a:gd name="T29" fmla="*/ 2147483647 h 84"/>
                    <a:gd name="T30" fmla="*/ 2147483647 w 150"/>
                    <a:gd name="T31" fmla="*/ 2147483647 h 84"/>
                    <a:gd name="T32" fmla="*/ 2147483647 w 150"/>
                    <a:gd name="T33" fmla="*/ 2147483647 h 84"/>
                    <a:gd name="T34" fmla="*/ 2147483647 w 150"/>
                    <a:gd name="T35" fmla="*/ 2147483647 h 84"/>
                    <a:gd name="T36" fmla="*/ 2147483647 w 150"/>
                    <a:gd name="T37" fmla="*/ 2147483647 h 84"/>
                    <a:gd name="T38" fmla="*/ 0 w 150"/>
                    <a:gd name="T39" fmla="*/ 2147483647 h 84"/>
                    <a:gd name="T40" fmla="*/ 0 w 150"/>
                    <a:gd name="T41" fmla="*/ 2147483647 h 8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50"/>
                    <a:gd name="T64" fmla="*/ 0 h 84"/>
                    <a:gd name="T65" fmla="*/ 150 w 150"/>
                    <a:gd name="T66" fmla="*/ 84 h 8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50" h="84">
                      <a:moveTo>
                        <a:pt x="0" y="48"/>
                      </a:moveTo>
                      <a:lnTo>
                        <a:pt x="6" y="60"/>
                      </a:lnTo>
                      <a:lnTo>
                        <a:pt x="30" y="72"/>
                      </a:lnTo>
                      <a:lnTo>
                        <a:pt x="36" y="84"/>
                      </a:lnTo>
                      <a:lnTo>
                        <a:pt x="54" y="84"/>
                      </a:lnTo>
                      <a:lnTo>
                        <a:pt x="60" y="78"/>
                      </a:lnTo>
                      <a:lnTo>
                        <a:pt x="72" y="72"/>
                      </a:lnTo>
                      <a:lnTo>
                        <a:pt x="78" y="66"/>
                      </a:lnTo>
                      <a:lnTo>
                        <a:pt x="90" y="60"/>
                      </a:lnTo>
                      <a:lnTo>
                        <a:pt x="96" y="54"/>
                      </a:lnTo>
                      <a:lnTo>
                        <a:pt x="102" y="60"/>
                      </a:lnTo>
                      <a:lnTo>
                        <a:pt x="120" y="60"/>
                      </a:lnTo>
                      <a:lnTo>
                        <a:pt x="120" y="36"/>
                      </a:lnTo>
                      <a:lnTo>
                        <a:pt x="150" y="0"/>
                      </a:lnTo>
                      <a:lnTo>
                        <a:pt x="108" y="24"/>
                      </a:lnTo>
                      <a:lnTo>
                        <a:pt x="54" y="24"/>
                      </a:lnTo>
                      <a:lnTo>
                        <a:pt x="48" y="30"/>
                      </a:lnTo>
                      <a:lnTo>
                        <a:pt x="48" y="36"/>
                      </a:lnTo>
                      <a:lnTo>
                        <a:pt x="12" y="36"/>
                      </a:lnTo>
                      <a:lnTo>
                        <a:pt x="0" y="42"/>
                      </a:lnTo>
                      <a:lnTo>
                        <a:pt x="0" y="48"/>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654" name="Cuba"/>
                <p:cNvSpPr>
                  <a:spLocks noEditPoints="1"/>
                </p:cNvSpPr>
                <p:nvPr/>
              </p:nvSpPr>
              <p:spPr bwMode="gray">
                <a:xfrm>
                  <a:off x="1142" y="1831"/>
                  <a:ext cx="189" cy="69"/>
                </a:xfrm>
                <a:custGeom>
                  <a:avLst/>
                  <a:gdLst>
                    <a:gd name="T0" fmla="*/ 2147483647 w 738"/>
                    <a:gd name="T1" fmla="*/ 2147483647 h 270"/>
                    <a:gd name="T2" fmla="*/ 2147483647 w 738"/>
                    <a:gd name="T3" fmla="*/ 2147483647 h 270"/>
                    <a:gd name="T4" fmla="*/ 2147483647 w 738"/>
                    <a:gd name="T5" fmla="*/ 2147483647 h 270"/>
                    <a:gd name="T6" fmla="*/ 2147483647 w 738"/>
                    <a:gd name="T7" fmla="*/ 2147483647 h 270"/>
                    <a:gd name="T8" fmla="*/ 2147483647 w 738"/>
                    <a:gd name="T9" fmla="*/ 2147483647 h 270"/>
                    <a:gd name="T10" fmla="*/ 2147483647 w 738"/>
                    <a:gd name="T11" fmla="*/ 2147483647 h 270"/>
                    <a:gd name="T12" fmla="*/ 2147483647 w 738"/>
                    <a:gd name="T13" fmla="*/ 2147483647 h 270"/>
                    <a:gd name="T14" fmla="*/ 2147483647 w 738"/>
                    <a:gd name="T15" fmla="*/ 2147483647 h 270"/>
                    <a:gd name="T16" fmla="*/ 2147483647 w 738"/>
                    <a:gd name="T17" fmla="*/ 2147483647 h 270"/>
                    <a:gd name="T18" fmla="*/ 2147483647 w 738"/>
                    <a:gd name="T19" fmla="*/ 2147483647 h 270"/>
                    <a:gd name="T20" fmla="*/ 2147483647 w 738"/>
                    <a:gd name="T21" fmla="*/ 2147483647 h 270"/>
                    <a:gd name="T22" fmla="*/ 2147483647 w 738"/>
                    <a:gd name="T23" fmla="*/ 2147483647 h 270"/>
                    <a:gd name="T24" fmla="*/ 2147483647 w 738"/>
                    <a:gd name="T25" fmla="*/ 2147483647 h 270"/>
                    <a:gd name="T26" fmla="*/ 2147483647 w 738"/>
                    <a:gd name="T27" fmla="*/ 2147483647 h 270"/>
                    <a:gd name="T28" fmla="*/ 2147483647 w 738"/>
                    <a:gd name="T29" fmla="*/ 2147483647 h 270"/>
                    <a:gd name="T30" fmla="*/ 2147483647 w 738"/>
                    <a:gd name="T31" fmla="*/ 2147483647 h 270"/>
                    <a:gd name="T32" fmla="*/ 2147483647 w 738"/>
                    <a:gd name="T33" fmla="*/ 2147483647 h 270"/>
                    <a:gd name="T34" fmla="*/ 2147483647 w 738"/>
                    <a:gd name="T35" fmla="*/ 2147483647 h 270"/>
                    <a:gd name="T36" fmla="*/ 2147483647 w 738"/>
                    <a:gd name="T37" fmla="*/ 0 h 270"/>
                    <a:gd name="T38" fmla="*/ 2147483647 w 738"/>
                    <a:gd name="T39" fmla="*/ 2147483647 h 270"/>
                    <a:gd name="T40" fmla="*/ 2147483647 w 738"/>
                    <a:gd name="T41" fmla="*/ 2147483647 h 270"/>
                    <a:gd name="T42" fmla="*/ 2147483647 w 738"/>
                    <a:gd name="T43" fmla="*/ 2147483647 h 270"/>
                    <a:gd name="T44" fmla="*/ 2147483647 w 738"/>
                    <a:gd name="T45" fmla="*/ 2147483647 h 270"/>
                    <a:gd name="T46" fmla="*/ 2147483647 w 738"/>
                    <a:gd name="T47" fmla="*/ 2147483647 h 270"/>
                    <a:gd name="T48" fmla="*/ 2147483647 w 738"/>
                    <a:gd name="T49" fmla="*/ 2147483647 h 270"/>
                    <a:gd name="T50" fmla="*/ 2147483647 w 738"/>
                    <a:gd name="T51" fmla="*/ 2147483647 h 270"/>
                    <a:gd name="T52" fmla="*/ 2147483647 w 738"/>
                    <a:gd name="T53" fmla="*/ 2147483647 h 270"/>
                    <a:gd name="T54" fmla="*/ 2147483647 w 738"/>
                    <a:gd name="T55" fmla="*/ 2147483647 h 270"/>
                    <a:gd name="T56" fmla="*/ 2147483647 w 738"/>
                    <a:gd name="T57" fmla="*/ 2147483647 h 270"/>
                    <a:gd name="T58" fmla="*/ 2147483647 w 738"/>
                    <a:gd name="T59" fmla="*/ 2147483647 h 270"/>
                    <a:gd name="T60" fmla="*/ 2147483647 w 738"/>
                    <a:gd name="T61" fmla="*/ 2147483647 h 270"/>
                    <a:gd name="T62" fmla="*/ 2147483647 w 738"/>
                    <a:gd name="T63" fmla="*/ 2147483647 h 270"/>
                    <a:gd name="T64" fmla="*/ 2147483647 w 738"/>
                    <a:gd name="T65" fmla="*/ 2147483647 h 270"/>
                    <a:gd name="T66" fmla="*/ 2147483647 w 738"/>
                    <a:gd name="T67" fmla="*/ 2147483647 h 270"/>
                    <a:gd name="T68" fmla="*/ 2147483647 w 738"/>
                    <a:gd name="T69" fmla="*/ 2147483647 h 270"/>
                    <a:gd name="T70" fmla="*/ 2147483647 w 738"/>
                    <a:gd name="T71" fmla="*/ 2147483647 h 270"/>
                    <a:gd name="T72" fmla="*/ 2147483647 w 738"/>
                    <a:gd name="T73" fmla="*/ 2147483647 h 270"/>
                    <a:gd name="T74" fmla="*/ 2147483647 w 738"/>
                    <a:gd name="T75" fmla="*/ 2147483647 h 270"/>
                    <a:gd name="T76" fmla="*/ 2147483647 w 738"/>
                    <a:gd name="T77" fmla="*/ 2147483647 h 270"/>
                    <a:gd name="T78" fmla="*/ 2147483647 w 738"/>
                    <a:gd name="T79" fmla="*/ 2147483647 h 270"/>
                    <a:gd name="T80" fmla="*/ 2147483647 w 738"/>
                    <a:gd name="T81" fmla="*/ 2147483647 h 270"/>
                    <a:gd name="T82" fmla="*/ 2147483647 w 738"/>
                    <a:gd name="T83" fmla="*/ 2147483647 h 270"/>
                    <a:gd name="T84" fmla="*/ 2147483647 w 738"/>
                    <a:gd name="T85" fmla="*/ 2147483647 h 270"/>
                    <a:gd name="T86" fmla="*/ 2147483647 w 738"/>
                    <a:gd name="T87" fmla="*/ 2147483647 h 270"/>
                    <a:gd name="T88" fmla="*/ 2147483647 w 738"/>
                    <a:gd name="T89" fmla="*/ 2147483647 h 270"/>
                    <a:gd name="T90" fmla="*/ 2147483647 w 738"/>
                    <a:gd name="T91" fmla="*/ 2147483647 h 270"/>
                    <a:gd name="T92" fmla="*/ 2147483647 w 738"/>
                    <a:gd name="T93" fmla="*/ 2147483647 h 270"/>
                    <a:gd name="T94" fmla="*/ 2147483647 w 738"/>
                    <a:gd name="T95" fmla="*/ 2147483647 h 270"/>
                    <a:gd name="T96" fmla="*/ 2147483647 w 738"/>
                    <a:gd name="T97" fmla="*/ 2147483647 h 270"/>
                    <a:gd name="T98" fmla="*/ 2147483647 w 738"/>
                    <a:gd name="T99" fmla="*/ 2147483647 h 270"/>
                    <a:gd name="T100" fmla="*/ 2147483647 w 738"/>
                    <a:gd name="T101" fmla="*/ 2147483647 h 270"/>
                    <a:gd name="T102" fmla="*/ 2147483647 w 738"/>
                    <a:gd name="T103" fmla="*/ 2147483647 h 270"/>
                    <a:gd name="T104" fmla="*/ 2147483647 w 738"/>
                    <a:gd name="T105" fmla="*/ 2147483647 h 270"/>
                    <a:gd name="T106" fmla="*/ 2147483647 w 738"/>
                    <a:gd name="T107" fmla="*/ 2147483647 h 270"/>
                    <a:gd name="T108" fmla="*/ 2147483647 w 738"/>
                    <a:gd name="T109" fmla="*/ 2147483647 h 270"/>
                    <a:gd name="T110" fmla="*/ 2147483647 w 738"/>
                    <a:gd name="T111" fmla="*/ 2147483647 h 270"/>
                    <a:gd name="T112" fmla="*/ 2147483647 w 738"/>
                    <a:gd name="T113" fmla="*/ 2147483647 h 270"/>
                    <a:gd name="T114" fmla="*/ 2147483647 w 738"/>
                    <a:gd name="T115" fmla="*/ 2147483647 h 27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738"/>
                    <a:gd name="T175" fmla="*/ 0 h 270"/>
                    <a:gd name="T176" fmla="*/ 738 w 738"/>
                    <a:gd name="T177" fmla="*/ 270 h 27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738" h="270">
                      <a:moveTo>
                        <a:pt x="708" y="228"/>
                      </a:moveTo>
                      <a:lnTo>
                        <a:pt x="690" y="222"/>
                      </a:lnTo>
                      <a:lnTo>
                        <a:pt x="666" y="222"/>
                      </a:lnTo>
                      <a:lnTo>
                        <a:pt x="666" y="204"/>
                      </a:lnTo>
                      <a:lnTo>
                        <a:pt x="660" y="198"/>
                      </a:lnTo>
                      <a:lnTo>
                        <a:pt x="648" y="192"/>
                      </a:lnTo>
                      <a:lnTo>
                        <a:pt x="600" y="192"/>
                      </a:lnTo>
                      <a:lnTo>
                        <a:pt x="624" y="168"/>
                      </a:lnTo>
                      <a:lnTo>
                        <a:pt x="612" y="168"/>
                      </a:lnTo>
                      <a:lnTo>
                        <a:pt x="600" y="162"/>
                      </a:lnTo>
                      <a:lnTo>
                        <a:pt x="558" y="162"/>
                      </a:lnTo>
                      <a:lnTo>
                        <a:pt x="534" y="150"/>
                      </a:lnTo>
                      <a:lnTo>
                        <a:pt x="528" y="144"/>
                      </a:lnTo>
                      <a:lnTo>
                        <a:pt x="522" y="144"/>
                      </a:lnTo>
                      <a:lnTo>
                        <a:pt x="528" y="138"/>
                      </a:lnTo>
                      <a:lnTo>
                        <a:pt x="528" y="132"/>
                      </a:lnTo>
                      <a:lnTo>
                        <a:pt x="534" y="126"/>
                      </a:lnTo>
                      <a:lnTo>
                        <a:pt x="534" y="120"/>
                      </a:lnTo>
                      <a:lnTo>
                        <a:pt x="522" y="120"/>
                      </a:lnTo>
                      <a:lnTo>
                        <a:pt x="510" y="114"/>
                      </a:lnTo>
                      <a:lnTo>
                        <a:pt x="504" y="114"/>
                      </a:lnTo>
                      <a:lnTo>
                        <a:pt x="474" y="84"/>
                      </a:lnTo>
                      <a:lnTo>
                        <a:pt x="462" y="78"/>
                      </a:lnTo>
                      <a:lnTo>
                        <a:pt x="450" y="66"/>
                      </a:lnTo>
                      <a:lnTo>
                        <a:pt x="432" y="66"/>
                      </a:lnTo>
                      <a:lnTo>
                        <a:pt x="432" y="84"/>
                      </a:lnTo>
                      <a:lnTo>
                        <a:pt x="444" y="96"/>
                      </a:lnTo>
                      <a:lnTo>
                        <a:pt x="450" y="96"/>
                      </a:lnTo>
                      <a:lnTo>
                        <a:pt x="378" y="60"/>
                      </a:lnTo>
                      <a:lnTo>
                        <a:pt x="372" y="54"/>
                      </a:lnTo>
                      <a:lnTo>
                        <a:pt x="360" y="48"/>
                      </a:lnTo>
                      <a:lnTo>
                        <a:pt x="354" y="36"/>
                      </a:lnTo>
                      <a:lnTo>
                        <a:pt x="342" y="30"/>
                      </a:lnTo>
                      <a:lnTo>
                        <a:pt x="330" y="18"/>
                      </a:lnTo>
                      <a:lnTo>
                        <a:pt x="270" y="18"/>
                      </a:lnTo>
                      <a:lnTo>
                        <a:pt x="258" y="12"/>
                      </a:lnTo>
                      <a:lnTo>
                        <a:pt x="228" y="6"/>
                      </a:lnTo>
                      <a:lnTo>
                        <a:pt x="174" y="0"/>
                      </a:lnTo>
                      <a:lnTo>
                        <a:pt x="126" y="6"/>
                      </a:lnTo>
                      <a:lnTo>
                        <a:pt x="96" y="18"/>
                      </a:lnTo>
                      <a:lnTo>
                        <a:pt x="72" y="42"/>
                      </a:lnTo>
                      <a:lnTo>
                        <a:pt x="60" y="48"/>
                      </a:lnTo>
                      <a:lnTo>
                        <a:pt x="42" y="60"/>
                      </a:lnTo>
                      <a:lnTo>
                        <a:pt x="24" y="66"/>
                      </a:lnTo>
                      <a:lnTo>
                        <a:pt x="12" y="72"/>
                      </a:lnTo>
                      <a:lnTo>
                        <a:pt x="6" y="78"/>
                      </a:lnTo>
                      <a:lnTo>
                        <a:pt x="0" y="78"/>
                      </a:lnTo>
                      <a:lnTo>
                        <a:pt x="72" y="72"/>
                      </a:lnTo>
                      <a:lnTo>
                        <a:pt x="72" y="60"/>
                      </a:lnTo>
                      <a:lnTo>
                        <a:pt x="150" y="54"/>
                      </a:lnTo>
                      <a:lnTo>
                        <a:pt x="174" y="42"/>
                      </a:lnTo>
                      <a:lnTo>
                        <a:pt x="198" y="42"/>
                      </a:lnTo>
                      <a:lnTo>
                        <a:pt x="222" y="54"/>
                      </a:lnTo>
                      <a:lnTo>
                        <a:pt x="222" y="60"/>
                      </a:lnTo>
                      <a:lnTo>
                        <a:pt x="216" y="60"/>
                      </a:lnTo>
                      <a:lnTo>
                        <a:pt x="210" y="66"/>
                      </a:lnTo>
                      <a:lnTo>
                        <a:pt x="198" y="66"/>
                      </a:lnTo>
                      <a:lnTo>
                        <a:pt x="192" y="72"/>
                      </a:lnTo>
                      <a:lnTo>
                        <a:pt x="186" y="72"/>
                      </a:lnTo>
                      <a:lnTo>
                        <a:pt x="204" y="78"/>
                      </a:lnTo>
                      <a:lnTo>
                        <a:pt x="210" y="78"/>
                      </a:lnTo>
                      <a:lnTo>
                        <a:pt x="216" y="84"/>
                      </a:lnTo>
                      <a:lnTo>
                        <a:pt x="228" y="90"/>
                      </a:lnTo>
                      <a:lnTo>
                        <a:pt x="246" y="96"/>
                      </a:lnTo>
                      <a:lnTo>
                        <a:pt x="258" y="102"/>
                      </a:lnTo>
                      <a:lnTo>
                        <a:pt x="276" y="102"/>
                      </a:lnTo>
                      <a:lnTo>
                        <a:pt x="282" y="96"/>
                      </a:lnTo>
                      <a:lnTo>
                        <a:pt x="282" y="90"/>
                      </a:lnTo>
                      <a:lnTo>
                        <a:pt x="294" y="96"/>
                      </a:lnTo>
                      <a:lnTo>
                        <a:pt x="300" y="102"/>
                      </a:lnTo>
                      <a:lnTo>
                        <a:pt x="318" y="114"/>
                      </a:lnTo>
                      <a:lnTo>
                        <a:pt x="342" y="126"/>
                      </a:lnTo>
                      <a:lnTo>
                        <a:pt x="372" y="126"/>
                      </a:lnTo>
                      <a:lnTo>
                        <a:pt x="390" y="120"/>
                      </a:lnTo>
                      <a:lnTo>
                        <a:pt x="402" y="120"/>
                      </a:lnTo>
                      <a:lnTo>
                        <a:pt x="390" y="144"/>
                      </a:lnTo>
                      <a:lnTo>
                        <a:pt x="450" y="168"/>
                      </a:lnTo>
                      <a:lnTo>
                        <a:pt x="474" y="204"/>
                      </a:lnTo>
                      <a:lnTo>
                        <a:pt x="480" y="210"/>
                      </a:lnTo>
                      <a:lnTo>
                        <a:pt x="492" y="216"/>
                      </a:lnTo>
                      <a:lnTo>
                        <a:pt x="498" y="222"/>
                      </a:lnTo>
                      <a:lnTo>
                        <a:pt x="498" y="228"/>
                      </a:lnTo>
                      <a:lnTo>
                        <a:pt x="474" y="252"/>
                      </a:lnTo>
                      <a:lnTo>
                        <a:pt x="474" y="258"/>
                      </a:lnTo>
                      <a:lnTo>
                        <a:pt x="480" y="264"/>
                      </a:lnTo>
                      <a:lnTo>
                        <a:pt x="492" y="258"/>
                      </a:lnTo>
                      <a:lnTo>
                        <a:pt x="504" y="258"/>
                      </a:lnTo>
                      <a:lnTo>
                        <a:pt x="528" y="246"/>
                      </a:lnTo>
                      <a:lnTo>
                        <a:pt x="558" y="246"/>
                      </a:lnTo>
                      <a:lnTo>
                        <a:pt x="558" y="252"/>
                      </a:lnTo>
                      <a:lnTo>
                        <a:pt x="552" y="252"/>
                      </a:lnTo>
                      <a:lnTo>
                        <a:pt x="546" y="258"/>
                      </a:lnTo>
                      <a:lnTo>
                        <a:pt x="546" y="264"/>
                      </a:lnTo>
                      <a:lnTo>
                        <a:pt x="558" y="264"/>
                      </a:lnTo>
                      <a:lnTo>
                        <a:pt x="564" y="270"/>
                      </a:lnTo>
                      <a:lnTo>
                        <a:pt x="612" y="270"/>
                      </a:lnTo>
                      <a:lnTo>
                        <a:pt x="636" y="264"/>
                      </a:lnTo>
                      <a:lnTo>
                        <a:pt x="684" y="258"/>
                      </a:lnTo>
                      <a:lnTo>
                        <a:pt x="720" y="252"/>
                      </a:lnTo>
                      <a:lnTo>
                        <a:pt x="738" y="246"/>
                      </a:lnTo>
                      <a:lnTo>
                        <a:pt x="738" y="240"/>
                      </a:lnTo>
                      <a:lnTo>
                        <a:pt x="732" y="234"/>
                      </a:lnTo>
                      <a:lnTo>
                        <a:pt x="720" y="228"/>
                      </a:lnTo>
                      <a:lnTo>
                        <a:pt x="708" y="228"/>
                      </a:lnTo>
                      <a:close/>
                      <a:moveTo>
                        <a:pt x="114" y="126"/>
                      </a:moveTo>
                      <a:lnTo>
                        <a:pt x="114" y="132"/>
                      </a:lnTo>
                      <a:lnTo>
                        <a:pt x="120" y="138"/>
                      </a:lnTo>
                      <a:lnTo>
                        <a:pt x="132" y="144"/>
                      </a:lnTo>
                      <a:lnTo>
                        <a:pt x="144" y="138"/>
                      </a:lnTo>
                      <a:lnTo>
                        <a:pt x="150" y="138"/>
                      </a:lnTo>
                      <a:lnTo>
                        <a:pt x="156" y="126"/>
                      </a:lnTo>
                      <a:lnTo>
                        <a:pt x="156" y="120"/>
                      </a:lnTo>
                      <a:lnTo>
                        <a:pt x="150" y="114"/>
                      </a:lnTo>
                      <a:lnTo>
                        <a:pt x="138" y="114"/>
                      </a:lnTo>
                      <a:lnTo>
                        <a:pt x="126" y="120"/>
                      </a:lnTo>
                      <a:lnTo>
                        <a:pt x="120" y="120"/>
                      </a:lnTo>
                      <a:lnTo>
                        <a:pt x="114" y="126"/>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655" name="Croatia"/>
                <p:cNvSpPr>
                  <a:spLocks/>
                </p:cNvSpPr>
                <p:nvPr/>
              </p:nvSpPr>
              <p:spPr bwMode="gray">
                <a:xfrm>
                  <a:off x="2894" y="1354"/>
                  <a:ext cx="94" cy="70"/>
                </a:xfrm>
                <a:custGeom>
                  <a:avLst/>
                  <a:gdLst>
                    <a:gd name="T0" fmla="*/ 2147483647 w 366"/>
                    <a:gd name="T1" fmla="*/ 2147483647 h 276"/>
                    <a:gd name="T2" fmla="*/ 2147483647 w 366"/>
                    <a:gd name="T3" fmla="*/ 2147483647 h 276"/>
                    <a:gd name="T4" fmla="*/ 2147483647 w 366"/>
                    <a:gd name="T5" fmla="*/ 2147483647 h 276"/>
                    <a:gd name="T6" fmla="*/ 2147483647 w 366"/>
                    <a:gd name="T7" fmla="*/ 2147483647 h 276"/>
                    <a:gd name="T8" fmla="*/ 2147483647 w 366"/>
                    <a:gd name="T9" fmla="*/ 2147483647 h 276"/>
                    <a:gd name="T10" fmla="*/ 2147483647 w 366"/>
                    <a:gd name="T11" fmla="*/ 2147483647 h 276"/>
                    <a:gd name="T12" fmla="*/ 2147483647 w 366"/>
                    <a:gd name="T13" fmla="*/ 2147483647 h 276"/>
                    <a:gd name="T14" fmla="*/ 2147483647 w 366"/>
                    <a:gd name="T15" fmla="*/ 2147483647 h 276"/>
                    <a:gd name="T16" fmla="*/ 2147483647 w 366"/>
                    <a:gd name="T17" fmla="*/ 2147483647 h 276"/>
                    <a:gd name="T18" fmla="*/ 2147483647 w 366"/>
                    <a:gd name="T19" fmla="*/ 2147483647 h 276"/>
                    <a:gd name="T20" fmla="*/ 2147483647 w 366"/>
                    <a:gd name="T21" fmla="*/ 2147483647 h 276"/>
                    <a:gd name="T22" fmla="*/ 2147483647 w 366"/>
                    <a:gd name="T23" fmla="*/ 0 h 276"/>
                    <a:gd name="T24" fmla="*/ 2147483647 w 366"/>
                    <a:gd name="T25" fmla="*/ 2147483647 h 276"/>
                    <a:gd name="T26" fmla="*/ 2147483647 w 366"/>
                    <a:gd name="T27" fmla="*/ 2147483647 h 276"/>
                    <a:gd name="T28" fmla="*/ 2147483647 w 366"/>
                    <a:gd name="T29" fmla="*/ 2147483647 h 276"/>
                    <a:gd name="T30" fmla="*/ 2147483647 w 366"/>
                    <a:gd name="T31" fmla="*/ 2147483647 h 276"/>
                    <a:gd name="T32" fmla="*/ 2147483647 w 366"/>
                    <a:gd name="T33" fmla="*/ 2147483647 h 276"/>
                    <a:gd name="T34" fmla="*/ 2147483647 w 366"/>
                    <a:gd name="T35" fmla="*/ 2147483647 h 276"/>
                    <a:gd name="T36" fmla="*/ 2147483647 w 366"/>
                    <a:gd name="T37" fmla="*/ 2147483647 h 276"/>
                    <a:gd name="T38" fmla="*/ 2147483647 w 366"/>
                    <a:gd name="T39" fmla="*/ 2147483647 h 276"/>
                    <a:gd name="T40" fmla="*/ 0 w 366"/>
                    <a:gd name="T41" fmla="*/ 2147483647 h 276"/>
                    <a:gd name="T42" fmla="*/ 2147483647 w 366"/>
                    <a:gd name="T43" fmla="*/ 2147483647 h 276"/>
                    <a:gd name="T44" fmla="*/ 2147483647 w 366"/>
                    <a:gd name="T45" fmla="*/ 2147483647 h 276"/>
                    <a:gd name="T46" fmla="*/ 2147483647 w 366"/>
                    <a:gd name="T47" fmla="*/ 2147483647 h 276"/>
                    <a:gd name="T48" fmla="*/ 2147483647 w 366"/>
                    <a:gd name="T49" fmla="*/ 2147483647 h 276"/>
                    <a:gd name="T50" fmla="*/ 2147483647 w 366"/>
                    <a:gd name="T51" fmla="*/ 2147483647 h 276"/>
                    <a:gd name="T52" fmla="*/ 2147483647 w 366"/>
                    <a:gd name="T53" fmla="*/ 2147483647 h 276"/>
                    <a:gd name="T54" fmla="*/ 2147483647 w 366"/>
                    <a:gd name="T55" fmla="*/ 2147483647 h 276"/>
                    <a:gd name="T56" fmla="*/ 2147483647 w 366"/>
                    <a:gd name="T57" fmla="*/ 2147483647 h 276"/>
                    <a:gd name="T58" fmla="*/ 2147483647 w 366"/>
                    <a:gd name="T59" fmla="*/ 2147483647 h 276"/>
                    <a:gd name="T60" fmla="*/ 2147483647 w 366"/>
                    <a:gd name="T61" fmla="*/ 2147483647 h 276"/>
                    <a:gd name="T62" fmla="*/ 2147483647 w 366"/>
                    <a:gd name="T63" fmla="*/ 2147483647 h 276"/>
                    <a:gd name="T64" fmla="*/ 2147483647 w 366"/>
                    <a:gd name="T65" fmla="*/ 2147483647 h 276"/>
                    <a:gd name="T66" fmla="*/ 2147483647 w 366"/>
                    <a:gd name="T67" fmla="*/ 2147483647 h 276"/>
                    <a:gd name="T68" fmla="*/ 2147483647 w 366"/>
                    <a:gd name="T69" fmla="*/ 2147483647 h 276"/>
                    <a:gd name="T70" fmla="*/ 2147483647 w 366"/>
                    <a:gd name="T71" fmla="*/ 2147483647 h 276"/>
                    <a:gd name="T72" fmla="*/ 2147483647 w 366"/>
                    <a:gd name="T73" fmla="*/ 2147483647 h 276"/>
                    <a:gd name="T74" fmla="*/ 2147483647 w 366"/>
                    <a:gd name="T75" fmla="*/ 2147483647 h 276"/>
                    <a:gd name="T76" fmla="*/ 2147483647 w 366"/>
                    <a:gd name="T77" fmla="*/ 2147483647 h 276"/>
                    <a:gd name="T78" fmla="*/ 2147483647 w 366"/>
                    <a:gd name="T79" fmla="*/ 2147483647 h 276"/>
                    <a:gd name="T80" fmla="*/ 2147483647 w 366"/>
                    <a:gd name="T81" fmla="*/ 2147483647 h 276"/>
                    <a:gd name="T82" fmla="*/ 2147483647 w 366"/>
                    <a:gd name="T83" fmla="*/ 2147483647 h 276"/>
                    <a:gd name="T84" fmla="*/ 2147483647 w 366"/>
                    <a:gd name="T85" fmla="*/ 2147483647 h 276"/>
                    <a:gd name="T86" fmla="*/ 2147483647 w 366"/>
                    <a:gd name="T87" fmla="*/ 2147483647 h 276"/>
                    <a:gd name="T88" fmla="*/ 2147483647 w 366"/>
                    <a:gd name="T89" fmla="*/ 2147483647 h 276"/>
                    <a:gd name="T90" fmla="*/ 2147483647 w 366"/>
                    <a:gd name="T91" fmla="*/ 2147483647 h 27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66"/>
                    <a:gd name="T139" fmla="*/ 0 h 276"/>
                    <a:gd name="T140" fmla="*/ 366 w 366"/>
                    <a:gd name="T141" fmla="*/ 276 h 27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66" h="276">
                      <a:moveTo>
                        <a:pt x="342" y="126"/>
                      </a:moveTo>
                      <a:lnTo>
                        <a:pt x="342" y="114"/>
                      </a:lnTo>
                      <a:lnTo>
                        <a:pt x="348" y="114"/>
                      </a:lnTo>
                      <a:lnTo>
                        <a:pt x="354" y="108"/>
                      </a:lnTo>
                      <a:lnTo>
                        <a:pt x="360" y="108"/>
                      </a:lnTo>
                      <a:lnTo>
                        <a:pt x="366" y="102"/>
                      </a:lnTo>
                      <a:lnTo>
                        <a:pt x="360" y="102"/>
                      </a:lnTo>
                      <a:lnTo>
                        <a:pt x="348" y="96"/>
                      </a:lnTo>
                      <a:lnTo>
                        <a:pt x="336" y="96"/>
                      </a:lnTo>
                      <a:lnTo>
                        <a:pt x="342" y="78"/>
                      </a:lnTo>
                      <a:lnTo>
                        <a:pt x="336" y="78"/>
                      </a:lnTo>
                      <a:lnTo>
                        <a:pt x="330" y="48"/>
                      </a:lnTo>
                      <a:lnTo>
                        <a:pt x="324" y="48"/>
                      </a:lnTo>
                      <a:lnTo>
                        <a:pt x="312" y="54"/>
                      </a:lnTo>
                      <a:lnTo>
                        <a:pt x="270" y="60"/>
                      </a:lnTo>
                      <a:lnTo>
                        <a:pt x="264" y="48"/>
                      </a:lnTo>
                      <a:lnTo>
                        <a:pt x="246" y="48"/>
                      </a:lnTo>
                      <a:lnTo>
                        <a:pt x="234" y="42"/>
                      </a:lnTo>
                      <a:lnTo>
                        <a:pt x="228" y="36"/>
                      </a:lnTo>
                      <a:lnTo>
                        <a:pt x="216" y="30"/>
                      </a:lnTo>
                      <a:lnTo>
                        <a:pt x="204" y="18"/>
                      </a:lnTo>
                      <a:lnTo>
                        <a:pt x="204" y="12"/>
                      </a:lnTo>
                      <a:lnTo>
                        <a:pt x="198" y="6"/>
                      </a:lnTo>
                      <a:lnTo>
                        <a:pt x="186" y="0"/>
                      </a:lnTo>
                      <a:lnTo>
                        <a:pt x="162" y="0"/>
                      </a:lnTo>
                      <a:lnTo>
                        <a:pt x="162" y="12"/>
                      </a:lnTo>
                      <a:lnTo>
                        <a:pt x="150" y="18"/>
                      </a:lnTo>
                      <a:lnTo>
                        <a:pt x="120" y="18"/>
                      </a:lnTo>
                      <a:lnTo>
                        <a:pt x="120" y="30"/>
                      </a:lnTo>
                      <a:lnTo>
                        <a:pt x="126" y="36"/>
                      </a:lnTo>
                      <a:lnTo>
                        <a:pt x="126" y="42"/>
                      </a:lnTo>
                      <a:lnTo>
                        <a:pt x="114" y="54"/>
                      </a:lnTo>
                      <a:lnTo>
                        <a:pt x="102" y="60"/>
                      </a:lnTo>
                      <a:lnTo>
                        <a:pt x="102" y="78"/>
                      </a:lnTo>
                      <a:lnTo>
                        <a:pt x="60" y="78"/>
                      </a:lnTo>
                      <a:lnTo>
                        <a:pt x="54" y="72"/>
                      </a:lnTo>
                      <a:lnTo>
                        <a:pt x="54" y="66"/>
                      </a:lnTo>
                      <a:lnTo>
                        <a:pt x="48" y="78"/>
                      </a:lnTo>
                      <a:lnTo>
                        <a:pt x="30" y="78"/>
                      </a:lnTo>
                      <a:lnTo>
                        <a:pt x="18" y="72"/>
                      </a:lnTo>
                      <a:lnTo>
                        <a:pt x="18" y="84"/>
                      </a:lnTo>
                      <a:lnTo>
                        <a:pt x="0" y="84"/>
                      </a:lnTo>
                      <a:lnTo>
                        <a:pt x="0" y="132"/>
                      </a:lnTo>
                      <a:lnTo>
                        <a:pt x="6" y="132"/>
                      </a:lnTo>
                      <a:lnTo>
                        <a:pt x="12" y="120"/>
                      </a:lnTo>
                      <a:lnTo>
                        <a:pt x="24" y="114"/>
                      </a:lnTo>
                      <a:lnTo>
                        <a:pt x="30" y="102"/>
                      </a:lnTo>
                      <a:lnTo>
                        <a:pt x="42" y="102"/>
                      </a:lnTo>
                      <a:lnTo>
                        <a:pt x="48" y="114"/>
                      </a:lnTo>
                      <a:lnTo>
                        <a:pt x="48" y="132"/>
                      </a:lnTo>
                      <a:lnTo>
                        <a:pt x="78" y="126"/>
                      </a:lnTo>
                      <a:lnTo>
                        <a:pt x="78" y="132"/>
                      </a:lnTo>
                      <a:lnTo>
                        <a:pt x="72" y="144"/>
                      </a:lnTo>
                      <a:lnTo>
                        <a:pt x="72" y="150"/>
                      </a:lnTo>
                      <a:lnTo>
                        <a:pt x="84" y="162"/>
                      </a:lnTo>
                      <a:lnTo>
                        <a:pt x="96" y="168"/>
                      </a:lnTo>
                      <a:lnTo>
                        <a:pt x="96" y="180"/>
                      </a:lnTo>
                      <a:lnTo>
                        <a:pt x="144" y="216"/>
                      </a:lnTo>
                      <a:lnTo>
                        <a:pt x="144" y="240"/>
                      </a:lnTo>
                      <a:lnTo>
                        <a:pt x="198" y="240"/>
                      </a:lnTo>
                      <a:lnTo>
                        <a:pt x="210" y="246"/>
                      </a:lnTo>
                      <a:lnTo>
                        <a:pt x="216" y="252"/>
                      </a:lnTo>
                      <a:lnTo>
                        <a:pt x="216" y="276"/>
                      </a:lnTo>
                      <a:lnTo>
                        <a:pt x="246" y="276"/>
                      </a:lnTo>
                      <a:lnTo>
                        <a:pt x="252" y="270"/>
                      </a:lnTo>
                      <a:lnTo>
                        <a:pt x="252" y="264"/>
                      </a:lnTo>
                      <a:lnTo>
                        <a:pt x="246" y="252"/>
                      </a:lnTo>
                      <a:lnTo>
                        <a:pt x="234" y="246"/>
                      </a:lnTo>
                      <a:lnTo>
                        <a:pt x="216" y="234"/>
                      </a:lnTo>
                      <a:lnTo>
                        <a:pt x="204" y="228"/>
                      </a:lnTo>
                      <a:lnTo>
                        <a:pt x="192" y="216"/>
                      </a:lnTo>
                      <a:lnTo>
                        <a:pt x="180" y="186"/>
                      </a:lnTo>
                      <a:lnTo>
                        <a:pt x="162" y="180"/>
                      </a:lnTo>
                      <a:lnTo>
                        <a:pt x="162" y="162"/>
                      </a:lnTo>
                      <a:lnTo>
                        <a:pt x="156" y="156"/>
                      </a:lnTo>
                      <a:lnTo>
                        <a:pt x="150" y="156"/>
                      </a:lnTo>
                      <a:lnTo>
                        <a:pt x="150" y="144"/>
                      </a:lnTo>
                      <a:lnTo>
                        <a:pt x="132" y="138"/>
                      </a:lnTo>
                      <a:lnTo>
                        <a:pt x="120" y="126"/>
                      </a:lnTo>
                      <a:lnTo>
                        <a:pt x="138" y="120"/>
                      </a:lnTo>
                      <a:lnTo>
                        <a:pt x="138" y="96"/>
                      </a:lnTo>
                      <a:lnTo>
                        <a:pt x="144" y="96"/>
                      </a:lnTo>
                      <a:lnTo>
                        <a:pt x="150" y="102"/>
                      </a:lnTo>
                      <a:lnTo>
                        <a:pt x="162" y="108"/>
                      </a:lnTo>
                      <a:lnTo>
                        <a:pt x="186" y="102"/>
                      </a:lnTo>
                      <a:lnTo>
                        <a:pt x="210" y="102"/>
                      </a:lnTo>
                      <a:lnTo>
                        <a:pt x="228" y="108"/>
                      </a:lnTo>
                      <a:lnTo>
                        <a:pt x="240" y="102"/>
                      </a:lnTo>
                      <a:lnTo>
                        <a:pt x="252" y="102"/>
                      </a:lnTo>
                      <a:lnTo>
                        <a:pt x="258" y="108"/>
                      </a:lnTo>
                      <a:lnTo>
                        <a:pt x="312" y="108"/>
                      </a:lnTo>
                      <a:lnTo>
                        <a:pt x="324" y="126"/>
                      </a:lnTo>
                      <a:lnTo>
                        <a:pt x="342" y="126"/>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656" name="Côte d'Ivoire"/>
                <p:cNvSpPr>
                  <a:spLocks/>
                </p:cNvSpPr>
                <p:nvPr/>
              </p:nvSpPr>
              <p:spPr bwMode="gray">
                <a:xfrm>
                  <a:off x="2495" y="2089"/>
                  <a:ext cx="112" cy="132"/>
                </a:xfrm>
                <a:custGeom>
                  <a:avLst/>
                  <a:gdLst>
                    <a:gd name="T0" fmla="*/ 2147483647 w 438"/>
                    <a:gd name="T1" fmla="*/ 2147483647 h 516"/>
                    <a:gd name="T2" fmla="*/ 2147483647 w 438"/>
                    <a:gd name="T3" fmla="*/ 2147483647 h 516"/>
                    <a:gd name="T4" fmla="*/ 2147483647 w 438"/>
                    <a:gd name="T5" fmla="*/ 2147483647 h 516"/>
                    <a:gd name="T6" fmla="*/ 2147483647 w 438"/>
                    <a:gd name="T7" fmla="*/ 2147483647 h 516"/>
                    <a:gd name="T8" fmla="*/ 2147483647 w 438"/>
                    <a:gd name="T9" fmla="*/ 2147483647 h 516"/>
                    <a:gd name="T10" fmla="*/ 2147483647 w 438"/>
                    <a:gd name="T11" fmla="*/ 2147483647 h 516"/>
                    <a:gd name="T12" fmla="*/ 2147483647 w 438"/>
                    <a:gd name="T13" fmla="*/ 2147483647 h 516"/>
                    <a:gd name="T14" fmla="*/ 2147483647 w 438"/>
                    <a:gd name="T15" fmla="*/ 2147483647 h 516"/>
                    <a:gd name="T16" fmla="*/ 2147483647 w 438"/>
                    <a:gd name="T17" fmla="*/ 2147483647 h 516"/>
                    <a:gd name="T18" fmla="*/ 2147483647 w 438"/>
                    <a:gd name="T19" fmla="*/ 2147483647 h 516"/>
                    <a:gd name="T20" fmla="*/ 2147483647 w 438"/>
                    <a:gd name="T21" fmla="*/ 2147483647 h 516"/>
                    <a:gd name="T22" fmla="*/ 2147483647 w 438"/>
                    <a:gd name="T23" fmla="*/ 2147483647 h 516"/>
                    <a:gd name="T24" fmla="*/ 2147483647 w 438"/>
                    <a:gd name="T25" fmla="*/ 2147483647 h 516"/>
                    <a:gd name="T26" fmla="*/ 2147483647 w 438"/>
                    <a:gd name="T27" fmla="*/ 2147483647 h 516"/>
                    <a:gd name="T28" fmla="*/ 2147483647 w 438"/>
                    <a:gd name="T29" fmla="*/ 2147483647 h 516"/>
                    <a:gd name="T30" fmla="*/ 2147483647 w 438"/>
                    <a:gd name="T31" fmla="*/ 2147483647 h 516"/>
                    <a:gd name="T32" fmla="*/ 2147483647 w 438"/>
                    <a:gd name="T33" fmla="*/ 0 h 516"/>
                    <a:gd name="T34" fmla="*/ 2147483647 w 438"/>
                    <a:gd name="T35" fmla="*/ 2147483647 h 516"/>
                    <a:gd name="T36" fmla="*/ 2147483647 w 438"/>
                    <a:gd name="T37" fmla="*/ 2147483647 h 516"/>
                    <a:gd name="T38" fmla="*/ 2147483647 w 438"/>
                    <a:gd name="T39" fmla="*/ 2147483647 h 516"/>
                    <a:gd name="T40" fmla="*/ 2147483647 w 438"/>
                    <a:gd name="T41" fmla="*/ 2147483647 h 516"/>
                    <a:gd name="T42" fmla="*/ 2147483647 w 438"/>
                    <a:gd name="T43" fmla="*/ 2147483647 h 516"/>
                    <a:gd name="T44" fmla="*/ 2147483647 w 438"/>
                    <a:gd name="T45" fmla="*/ 2147483647 h 516"/>
                    <a:gd name="T46" fmla="*/ 2147483647 w 438"/>
                    <a:gd name="T47" fmla="*/ 2147483647 h 516"/>
                    <a:gd name="T48" fmla="*/ 2147483647 w 438"/>
                    <a:gd name="T49" fmla="*/ 2147483647 h 516"/>
                    <a:gd name="T50" fmla="*/ 2147483647 w 438"/>
                    <a:gd name="T51" fmla="*/ 2147483647 h 516"/>
                    <a:gd name="T52" fmla="*/ 2147483647 w 438"/>
                    <a:gd name="T53" fmla="*/ 2147483647 h 516"/>
                    <a:gd name="T54" fmla="*/ 2147483647 w 438"/>
                    <a:gd name="T55" fmla="*/ 2147483647 h 516"/>
                    <a:gd name="T56" fmla="*/ 2147483647 w 438"/>
                    <a:gd name="T57" fmla="*/ 2147483647 h 516"/>
                    <a:gd name="T58" fmla="*/ 2147483647 w 438"/>
                    <a:gd name="T59" fmla="*/ 2147483647 h 516"/>
                    <a:gd name="T60" fmla="*/ 2147483647 w 438"/>
                    <a:gd name="T61" fmla="*/ 2147483647 h 516"/>
                    <a:gd name="T62" fmla="*/ 2147483647 w 438"/>
                    <a:gd name="T63" fmla="*/ 2147483647 h 516"/>
                    <a:gd name="T64" fmla="*/ 2147483647 w 438"/>
                    <a:gd name="T65" fmla="*/ 2147483647 h 516"/>
                    <a:gd name="T66" fmla="*/ 2147483647 w 438"/>
                    <a:gd name="T67" fmla="*/ 2147483647 h 516"/>
                    <a:gd name="T68" fmla="*/ 2147483647 w 438"/>
                    <a:gd name="T69" fmla="*/ 2147483647 h 516"/>
                    <a:gd name="T70" fmla="*/ 2147483647 w 438"/>
                    <a:gd name="T71" fmla="*/ 2147483647 h 516"/>
                    <a:gd name="T72" fmla="*/ 2147483647 w 438"/>
                    <a:gd name="T73" fmla="*/ 2147483647 h 516"/>
                    <a:gd name="T74" fmla="*/ 2147483647 w 438"/>
                    <a:gd name="T75" fmla="*/ 2147483647 h 516"/>
                    <a:gd name="T76" fmla="*/ 2147483647 w 438"/>
                    <a:gd name="T77" fmla="*/ 2147483647 h 516"/>
                    <a:gd name="T78" fmla="*/ 2147483647 w 438"/>
                    <a:gd name="T79" fmla="*/ 2147483647 h 516"/>
                    <a:gd name="T80" fmla="*/ 2147483647 w 438"/>
                    <a:gd name="T81" fmla="*/ 2147483647 h 516"/>
                    <a:gd name="T82" fmla="*/ 2147483647 w 438"/>
                    <a:gd name="T83" fmla="*/ 2147483647 h 516"/>
                    <a:gd name="T84" fmla="*/ 2147483647 w 438"/>
                    <a:gd name="T85" fmla="*/ 2147483647 h 516"/>
                    <a:gd name="T86" fmla="*/ 2147483647 w 438"/>
                    <a:gd name="T87" fmla="*/ 2147483647 h 516"/>
                    <a:gd name="T88" fmla="*/ 2147483647 w 438"/>
                    <a:gd name="T89" fmla="*/ 2147483647 h 51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38"/>
                    <a:gd name="T136" fmla="*/ 0 h 516"/>
                    <a:gd name="T137" fmla="*/ 438 w 438"/>
                    <a:gd name="T138" fmla="*/ 516 h 51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38" h="516">
                      <a:moveTo>
                        <a:pt x="402" y="408"/>
                      </a:moveTo>
                      <a:lnTo>
                        <a:pt x="402" y="402"/>
                      </a:lnTo>
                      <a:lnTo>
                        <a:pt x="396" y="396"/>
                      </a:lnTo>
                      <a:lnTo>
                        <a:pt x="390" y="384"/>
                      </a:lnTo>
                      <a:lnTo>
                        <a:pt x="390" y="372"/>
                      </a:lnTo>
                      <a:lnTo>
                        <a:pt x="384" y="354"/>
                      </a:lnTo>
                      <a:lnTo>
                        <a:pt x="378" y="342"/>
                      </a:lnTo>
                      <a:lnTo>
                        <a:pt x="378" y="318"/>
                      </a:lnTo>
                      <a:lnTo>
                        <a:pt x="384" y="312"/>
                      </a:lnTo>
                      <a:lnTo>
                        <a:pt x="390" y="300"/>
                      </a:lnTo>
                      <a:lnTo>
                        <a:pt x="408" y="282"/>
                      </a:lnTo>
                      <a:lnTo>
                        <a:pt x="408" y="270"/>
                      </a:lnTo>
                      <a:lnTo>
                        <a:pt x="414" y="258"/>
                      </a:lnTo>
                      <a:lnTo>
                        <a:pt x="414" y="240"/>
                      </a:lnTo>
                      <a:lnTo>
                        <a:pt x="420" y="228"/>
                      </a:lnTo>
                      <a:lnTo>
                        <a:pt x="426" y="222"/>
                      </a:lnTo>
                      <a:lnTo>
                        <a:pt x="438" y="198"/>
                      </a:lnTo>
                      <a:lnTo>
                        <a:pt x="438" y="186"/>
                      </a:lnTo>
                      <a:lnTo>
                        <a:pt x="432" y="174"/>
                      </a:lnTo>
                      <a:lnTo>
                        <a:pt x="432" y="162"/>
                      </a:lnTo>
                      <a:lnTo>
                        <a:pt x="426" y="150"/>
                      </a:lnTo>
                      <a:lnTo>
                        <a:pt x="426" y="138"/>
                      </a:lnTo>
                      <a:lnTo>
                        <a:pt x="420" y="132"/>
                      </a:lnTo>
                      <a:lnTo>
                        <a:pt x="420" y="126"/>
                      </a:lnTo>
                      <a:lnTo>
                        <a:pt x="432" y="126"/>
                      </a:lnTo>
                      <a:lnTo>
                        <a:pt x="426" y="96"/>
                      </a:lnTo>
                      <a:lnTo>
                        <a:pt x="408" y="102"/>
                      </a:lnTo>
                      <a:lnTo>
                        <a:pt x="408" y="90"/>
                      </a:lnTo>
                      <a:lnTo>
                        <a:pt x="390" y="72"/>
                      </a:lnTo>
                      <a:lnTo>
                        <a:pt x="372" y="66"/>
                      </a:lnTo>
                      <a:lnTo>
                        <a:pt x="342" y="66"/>
                      </a:lnTo>
                      <a:lnTo>
                        <a:pt x="318" y="78"/>
                      </a:lnTo>
                      <a:lnTo>
                        <a:pt x="318" y="84"/>
                      </a:lnTo>
                      <a:lnTo>
                        <a:pt x="312" y="90"/>
                      </a:lnTo>
                      <a:lnTo>
                        <a:pt x="300" y="90"/>
                      </a:lnTo>
                      <a:lnTo>
                        <a:pt x="294" y="84"/>
                      </a:lnTo>
                      <a:lnTo>
                        <a:pt x="282" y="84"/>
                      </a:lnTo>
                      <a:lnTo>
                        <a:pt x="276" y="78"/>
                      </a:lnTo>
                      <a:lnTo>
                        <a:pt x="264" y="72"/>
                      </a:lnTo>
                      <a:lnTo>
                        <a:pt x="258" y="60"/>
                      </a:lnTo>
                      <a:lnTo>
                        <a:pt x="258" y="48"/>
                      </a:lnTo>
                      <a:lnTo>
                        <a:pt x="252" y="42"/>
                      </a:lnTo>
                      <a:lnTo>
                        <a:pt x="252" y="36"/>
                      </a:lnTo>
                      <a:lnTo>
                        <a:pt x="228" y="42"/>
                      </a:lnTo>
                      <a:lnTo>
                        <a:pt x="228" y="18"/>
                      </a:lnTo>
                      <a:lnTo>
                        <a:pt x="216" y="18"/>
                      </a:lnTo>
                      <a:lnTo>
                        <a:pt x="210" y="24"/>
                      </a:lnTo>
                      <a:lnTo>
                        <a:pt x="204" y="36"/>
                      </a:lnTo>
                      <a:lnTo>
                        <a:pt x="198" y="42"/>
                      </a:lnTo>
                      <a:lnTo>
                        <a:pt x="174" y="36"/>
                      </a:lnTo>
                      <a:lnTo>
                        <a:pt x="174" y="0"/>
                      </a:lnTo>
                      <a:lnTo>
                        <a:pt x="162" y="24"/>
                      </a:lnTo>
                      <a:lnTo>
                        <a:pt x="150" y="6"/>
                      </a:lnTo>
                      <a:lnTo>
                        <a:pt x="144" y="30"/>
                      </a:lnTo>
                      <a:lnTo>
                        <a:pt x="126" y="30"/>
                      </a:lnTo>
                      <a:lnTo>
                        <a:pt x="120" y="48"/>
                      </a:lnTo>
                      <a:lnTo>
                        <a:pt x="102" y="30"/>
                      </a:lnTo>
                      <a:lnTo>
                        <a:pt x="84" y="24"/>
                      </a:lnTo>
                      <a:lnTo>
                        <a:pt x="72" y="24"/>
                      </a:lnTo>
                      <a:lnTo>
                        <a:pt x="66" y="30"/>
                      </a:lnTo>
                      <a:lnTo>
                        <a:pt x="66" y="48"/>
                      </a:lnTo>
                      <a:lnTo>
                        <a:pt x="54" y="42"/>
                      </a:lnTo>
                      <a:lnTo>
                        <a:pt x="36" y="66"/>
                      </a:lnTo>
                      <a:lnTo>
                        <a:pt x="42" y="102"/>
                      </a:lnTo>
                      <a:lnTo>
                        <a:pt x="60" y="108"/>
                      </a:lnTo>
                      <a:lnTo>
                        <a:pt x="48" y="126"/>
                      </a:lnTo>
                      <a:lnTo>
                        <a:pt x="66" y="132"/>
                      </a:lnTo>
                      <a:lnTo>
                        <a:pt x="60" y="138"/>
                      </a:lnTo>
                      <a:lnTo>
                        <a:pt x="54" y="150"/>
                      </a:lnTo>
                      <a:lnTo>
                        <a:pt x="54" y="162"/>
                      </a:lnTo>
                      <a:lnTo>
                        <a:pt x="60" y="162"/>
                      </a:lnTo>
                      <a:lnTo>
                        <a:pt x="72" y="168"/>
                      </a:lnTo>
                      <a:lnTo>
                        <a:pt x="78" y="168"/>
                      </a:lnTo>
                      <a:lnTo>
                        <a:pt x="78" y="180"/>
                      </a:lnTo>
                      <a:lnTo>
                        <a:pt x="72" y="186"/>
                      </a:lnTo>
                      <a:lnTo>
                        <a:pt x="72" y="192"/>
                      </a:lnTo>
                      <a:lnTo>
                        <a:pt x="66" y="186"/>
                      </a:lnTo>
                      <a:lnTo>
                        <a:pt x="54" y="186"/>
                      </a:lnTo>
                      <a:lnTo>
                        <a:pt x="48" y="180"/>
                      </a:lnTo>
                      <a:lnTo>
                        <a:pt x="30" y="180"/>
                      </a:lnTo>
                      <a:lnTo>
                        <a:pt x="30" y="192"/>
                      </a:lnTo>
                      <a:lnTo>
                        <a:pt x="36" y="204"/>
                      </a:lnTo>
                      <a:lnTo>
                        <a:pt x="48" y="210"/>
                      </a:lnTo>
                      <a:lnTo>
                        <a:pt x="54" y="222"/>
                      </a:lnTo>
                      <a:lnTo>
                        <a:pt x="36" y="222"/>
                      </a:lnTo>
                      <a:lnTo>
                        <a:pt x="36" y="228"/>
                      </a:lnTo>
                      <a:lnTo>
                        <a:pt x="42" y="234"/>
                      </a:lnTo>
                      <a:lnTo>
                        <a:pt x="42" y="252"/>
                      </a:lnTo>
                      <a:lnTo>
                        <a:pt x="36" y="258"/>
                      </a:lnTo>
                      <a:lnTo>
                        <a:pt x="30" y="258"/>
                      </a:lnTo>
                      <a:lnTo>
                        <a:pt x="18" y="252"/>
                      </a:lnTo>
                      <a:lnTo>
                        <a:pt x="12" y="246"/>
                      </a:lnTo>
                      <a:lnTo>
                        <a:pt x="6" y="246"/>
                      </a:lnTo>
                      <a:lnTo>
                        <a:pt x="24" y="282"/>
                      </a:lnTo>
                      <a:lnTo>
                        <a:pt x="24" y="306"/>
                      </a:lnTo>
                      <a:lnTo>
                        <a:pt x="18" y="324"/>
                      </a:lnTo>
                      <a:lnTo>
                        <a:pt x="6" y="330"/>
                      </a:lnTo>
                      <a:lnTo>
                        <a:pt x="0" y="342"/>
                      </a:lnTo>
                      <a:lnTo>
                        <a:pt x="6" y="348"/>
                      </a:lnTo>
                      <a:lnTo>
                        <a:pt x="24" y="348"/>
                      </a:lnTo>
                      <a:lnTo>
                        <a:pt x="24" y="360"/>
                      </a:lnTo>
                      <a:lnTo>
                        <a:pt x="60" y="354"/>
                      </a:lnTo>
                      <a:lnTo>
                        <a:pt x="60" y="384"/>
                      </a:lnTo>
                      <a:lnTo>
                        <a:pt x="90" y="414"/>
                      </a:lnTo>
                      <a:lnTo>
                        <a:pt x="90" y="438"/>
                      </a:lnTo>
                      <a:lnTo>
                        <a:pt x="84" y="450"/>
                      </a:lnTo>
                      <a:lnTo>
                        <a:pt x="84" y="462"/>
                      </a:lnTo>
                      <a:lnTo>
                        <a:pt x="78" y="468"/>
                      </a:lnTo>
                      <a:lnTo>
                        <a:pt x="78" y="516"/>
                      </a:lnTo>
                      <a:lnTo>
                        <a:pt x="90" y="516"/>
                      </a:lnTo>
                      <a:lnTo>
                        <a:pt x="96" y="510"/>
                      </a:lnTo>
                      <a:lnTo>
                        <a:pt x="102" y="498"/>
                      </a:lnTo>
                      <a:lnTo>
                        <a:pt x="114" y="498"/>
                      </a:lnTo>
                      <a:lnTo>
                        <a:pt x="126" y="486"/>
                      </a:lnTo>
                      <a:lnTo>
                        <a:pt x="138" y="480"/>
                      </a:lnTo>
                      <a:lnTo>
                        <a:pt x="198" y="456"/>
                      </a:lnTo>
                      <a:lnTo>
                        <a:pt x="228" y="450"/>
                      </a:lnTo>
                      <a:lnTo>
                        <a:pt x="264" y="450"/>
                      </a:lnTo>
                      <a:lnTo>
                        <a:pt x="270" y="444"/>
                      </a:lnTo>
                      <a:lnTo>
                        <a:pt x="282" y="444"/>
                      </a:lnTo>
                      <a:lnTo>
                        <a:pt x="294" y="438"/>
                      </a:lnTo>
                      <a:lnTo>
                        <a:pt x="330" y="438"/>
                      </a:lnTo>
                      <a:lnTo>
                        <a:pt x="336" y="444"/>
                      </a:lnTo>
                      <a:lnTo>
                        <a:pt x="342" y="444"/>
                      </a:lnTo>
                      <a:lnTo>
                        <a:pt x="348" y="450"/>
                      </a:lnTo>
                      <a:lnTo>
                        <a:pt x="366" y="450"/>
                      </a:lnTo>
                      <a:lnTo>
                        <a:pt x="378" y="438"/>
                      </a:lnTo>
                      <a:lnTo>
                        <a:pt x="384" y="438"/>
                      </a:lnTo>
                      <a:lnTo>
                        <a:pt x="384" y="444"/>
                      </a:lnTo>
                      <a:lnTo>
                        <a:pt x="396" y="456"/>
                      </a:lnTo>
                      <a:lnTo>
                        <a:pt x="408" y="462"/>
                      </a:lnTo>
                      <a:lnTo>
                        <a:pt x="420" y="462"/>
                      </a:lnTo>
                      <a:lnTo>
                        <a:pt x="426" y="468"/>
                      </a:lnTo>
                      <a:lnTo>
                        <a:pt x="426" y="414"/>
                      </a:lnTo>
                      <a:lnTo>
                        <a:pt x="402" y="408"/>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658" name="Congo"/>
                <p:cNvSpPr>
                  <a:spLocks/>
                </p:cNvSpPr>
                <p:nvPr/>
              </p:nvSpPr>
              <p:spPr bwMode="gray">
                <a:xfrm>
                  <a:off x="2876" y="2199"/>
                  <a:ext cx="345" cy="388"/>
                </a:xfrm>
                <a:custGeom>
                  <a:avLst/>
                  <a:gdLst>
                    <a:gd name="T0" fmla="*/ 2147483647 w 1350"/>
                    <a:gd name="T1" fmla="*/ 2147483647 h 1518"/>
                    <a:gd name="T2" fmla="*/ 2147483647 w 1350"/>
                    <a:gd name="T3" fmla="*/ 2147483647 h 1518"/>
                    <a:gd name="T4" fmla="*/ 2147483647 w 1350"/>
                    <a:gd name="T5" fmla="*/ 2147483647 h 1518"/>
                    <a:gd name="T6" fmla="*/ 2147483647 w 1350"/>
                    <a:gd name="T7" fmla="*/ 2147483647 h 1518"/>
                    <a:gd name="T8" fmla="*/ 2147483647 w 1350"/>
                    <a:gd name="T9" fmla="*/ 2147483647 h 1518"/>
                    <a:gd name="T10" fmla="*/ 2147483647 w 1350"/>
                    <a:gd name="T11" fmla="*/ 2147483647 h 1518"/>
                    <a:gd name="T12" fmla="*/ 2147483647 w 1350"/>
                    <a:gd name="T13" fmla="*/ 2147483647 h 1518"/>
                    <a:gd name="T14" fmla="*/ 2147483647 w 1350"/>
                    <a:gd name="T15" fmla="*/ 2147483647 h 1518"/>
                    <a:gd name="T16" fmla="*/ 2147483647 w 1350"/>
                    <a:gd name="T17" fmla="*/ 2147483647 h 1518"/>
                    <a:gd name="T18" fmla="*/ 2147483647 w 1350"/>
                    <a:gd name="T19" fmla="*/ 2147483647 h 1518"/>
                    <a:gd name="T20" fmla="*/ 2147483647 w 1350"/>
                    <a:gd name="T21" fmla="*/ 2147483647 h 1518"/>
                    <a:gd name="T22" fmla="*/ 2147483647 w 1350"/>
                    <a:gd name="T23" fmla="*/ 2147483647 h 1518"/>
                    <a:gd name="T24" fmla="*/ 2147483647 w 1350"/>
                    <a:gd name="T25" fmla="*/ 2147483647 h 1518"/>
                    <a:gd name="T26" fmla="*/ 2147483647 w 1350"/>
                    <a:gd name="T27" fmla="*/ 2147483647 h 1518"/>
                    <a:gd name="T28" fmla="*/ 2147483647 w 1350"/>
                    <a:gd name="T29" fmla="*/ 2147483647 h 1518"/>
                    <a:gd name="T30" fmla="*/ 2147483647 w 1350"/>
                    <a:gd name="T31" fmla="*/ 2147483647 h 1518"/>
                    <a:gd name="T32" fmla="*/ 2147483647 w 1350"/>
                    <a:gd name="T33" fmla="*/ 2147483647 h 1518"/>
                    <a:gd name="T34" fmla="*/ 2147483647 w 1350"/>
                    <a:gd name="T35" fmla="*/ 2147483647 h 1518"/>
                    <a:gd name="T36" fmla="*/ 2147483647 w 1350"/>
                    <a:gd name="T37" fmla="*/ 2147483647 h 1518"/>
                    <a:gd name="T38" fmla="*/ 2147483647 w 1350"/>
                    <a:gd name="T39" fmla="*/ 2147483647 h 1518"/>
                    <a:gd name="T40" fmla="*/ 2147483647 w 1350"/>
                    <a:gd name="T41" fmla="*/ 2147483647 h 1518"/>
                    <a:gd name="T42" fmla="*/ 2147483647 w 1350"/>
                    <a:gd name="T43" fmla="*/ 2147483647 h 1518"/>
                    <a:gd name="T44" fmla="*/ 2147483647 w 1350"/>
                    <a:gd name="T45" fmla="*/ 2147483647 h 1518"/>
                    <a:gd name="T46" fmla="*/ 2147483647 w 1350"/>
                    <a:gd name="T47" fmla="*/ 2147483647 h 1518"/>
                    <a:gd name="T48" fmla="*/ 2147483647 w 1350"/>
                    <a:gd name="T49" fmla="*/ 2147483647 h 1518"/>
                    <a:gd name="T50" fmla="*/ 2147483647 w 1350"/>
                    <a:gd name="T51" fmla="*/ 2147483647 h 1518"/>
                    <a:gd name="T52" fmla="*/ 2147483647 w 1350"/>
                    <a:gd name="T53" fmla="*/ 2147483647 h 1518"/>
                    <a:gd name="T54" fmla="*/ 2147483647 w 1350"/>
                    <a:gd name="T55" fmla="*/ 2147483647 h 1518"/>
                    <a:gd name="T56" fmla="*/ 2147483647 w 1350"/>
                    <a:gd name="T57" fmla="*/ 2147483647 h 1518"/>
                    <a:gd name="T58" fmla="*/ 2147483647 w 1350"/>
                    <a:gd name="T59" fmla="*/ 2147483647 h 1518"/>
                    <a:gd name="T60" fmla="*/ 2147483647 w 1350"/>
                    <a:gd name="T61" fmla="*/ 2147483647 h 1518"/>
                    <a:gd name="T62" fmla="*/ 2147483647 w 1350"/>
                    <a:gd name="T63" fmla="*/ 2147483647 h 1518"/>
                    <a:gd name="T64" fmla="*/ 2147483647 w 1350"/>
                    <a:gd name="T65" fmla="*/ 2147483647 h 1518"/>
                    <a:gd name="T66" fmla="*/ 2147483647 w 1350"/>
                    <a:gd name="T67" fmla="*/ 2147483647 h 1518"/>
                    <a:gd name="T68" fmla="*/ 2147483647 w 1350"/>
                    <a:gd name="T69" fmla="*/ 2147483647 h 1518"/>
                    <a:gd name="T70" fmla="*/ 2147483647 w 1350"/>
                    <a:gd name="T71" fmla="*/ 2147483647 h 1518"/>
                    <a:gd name="T72" fmla="*/ 2147483647 w 1350"/>
                    <a:gd name="T73" fmla="*/ 2147483647 h 1518"/>
                    <a:gd name="T74" fmla="*/ 2147483647 w 1350"/>
                    <a:gd name="T75" fmla="*/ 2147483647 h 1518"/>
                    <a:gd name="T76" fmla="*/ 2147483647 w 1350"/>
                    <a:gd name="T77" fmla="*/ 2147483647 h 1518"/>
                    <a:gd name="T78" fmla="*/ 2147483647 w 1350"/>
                    <a:gd name="T79" fmla="*/ 2147483647 h 1518"/>
                    <a:gd name="T80" fmla="*/ 2147483647 w 1350"/>
                    <a:gd name="T81" fmla="*/ 2147483647 h 1518"/>
                    <a:gd name="T82" fmla="*/ 2147483647 w 1350"/>
                    <a:gd name="T83" fmla="*/ 2147483647 h 1518"/>
                    <a:gd name="T84" fmla="*/ 2147483647 w 1350"/>
                    <a:gd name="T85" fmla="*/ 2147483647 h 1518"/>
                    <a:gd name="T86" fmla="*/ 2147483647 w 1350"/>
                    <a:gd name="T87" fmla="*/ 2147483647 h 1518"/>
                    <a:gd name="T88" fmla="*/ 2147483647 w 1350"/>
                    <a:gd name="T89" fmla="*/ 2147483647 h 1518"/>
                    <a:gd name="T90" fmla="*/ 2147483647 w 1350"/>
                    <a:gd name="T91" fmla="*/ 2147483647 h 1518"/>
                    <a:gd name="T92" fmla="*/ 2147483647 w 1350"/>
                    <a:gd name="T93" fmla="*/ 2147483647 h 1518"/>
                    <a:gd name="T94" fmla="*/ 2147483647 w 1350"/>
                    <a:gd name="T95" fmla="*/ 2147483647 h 1518"/>
                    <a:gd name="T96" fmla="*/ 2147483647 w 1350"/>
                    <a:gd name="T97" fmla="*/ 2147483647 h 1518"/>
                    <a:gd name="T98" fmla="*/ 2147483647 w 1350"/>
                    <a:gd name="T99" fmla="*/ 2147483647 h 1518"/>
                    <a:gd name="T100" fmla="*/ 2147483647 w 1350"/>
                    <a:gd name="T101" fmla="*/ 2147483647 h 1518"/>
                    <a:gd name="T102" fmla="*/ 2147483647 w 1350"/>
                    <a:gd name="T103" fmla="*/ 2147483647 h 1518"/>
                    <a:gd name="T104" fmla="*/ 2147483647 w 1350"/>
                    <a:gd name="T105" fmla="*/ 2147483647 h 1518"/>
                    <a:gd name="T106" fmla="*/ 2147483647 w 1350"/>
                    <a:gd name="T107" fmla="*/ 2147483647 h 1518"/>
                    <a:gd name="T108" fmla="*/ 2147483647 w 1350"/>
                    <a:gd name="T109" fmla="*/ 2147483647 h 1518"/>
                    <a:gd name="T110" fmla="*/ 2147483647 w 1350"/>
                    <a:gd name="T111" fmla="*/ 2147483647 h 1518"/>
                    <a:gd name="T112" fmla="*/ 2147483647 w 1350"/>
                    <a:gd name="T113" fmla="*/ 2147483647 h 1518"/>
                    <a:gd name="T114" fmla="*/ 2147483647 w 1350"/>
                    <a:gd name="T115" fmla="*/ 2147483647 h 1518"/>
                    <a:gd name="T116" fmla="*/ 2147483647 w 1350"/>
                    <a:gd name="T117" fmla="*/ 2147483647 h 1518"/>
                    <a:gd name="T118" fmla="*/ 2147483647 w 1350"/>
                    <a:gd name="T119" fmla="*/ 2147483647 h 1518"/>
                    <a:gd name="T120" fmla="*/ 2147483647 w 1350"/>
                    <a:gd name="T121" fmla="*/ 2147483647 h 1518"/>
                    <a:gd name="T122" fmla="*/ 2147483647 w 1350"/>
                    <a:gd name="T123" fmla="*/ 2147483647 h 1518"/>
                    <a:gd name="T124" fmla="*/ 2147483647 w 1350"/>
                    <a:gd name="T125" fmla="*/ 2147483647 h 151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350"/>
                    <a:gd name="T190" fmla="*/ 0 h 1518"/>
                    <a:gd name="T191" fmla="*/ 1350 w 1350"/>
                    <a:gd name="T192" fmla="*/ 1518 h 151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350" h="1518">
                      <a:moveTo>
                        <a:pt x="1242" y="468"/>
                      </a:moveTo>
                      <a:lnTo>
                        <a:pt x="1242" y="438"/>
                      </a:lnTo>
                      <a:lnTo>
                        <a:pt x="1260" y="366"/>
                      </a:lnTo>
                      <a:lnTo>
                        <a:pt x="1278" y="354"/>
                      </a:lnTo>
                      <a:lnTo>
                        <a:pt x="1278" y="342"/>
                      </a:lnTo>
                      <a:lnTo>
                        <a:pt x="1302" y="330"/>
                      </a:lnTo>
                      <a:lnTo>
                        <a:pt x="1308" y="318"/>
                      </a:lnTo>
                      <a:lnTo>
                        <a:pt x="1320" y="312"/>
                      </a:lnTo>
                      <a:lnTo>
                        <a:pt x="1332" y="288"/>
                      </a:lnTo>
                      <a:lnTo>
                        <a:pt x="1344" y="276"/>
                      </a:lnTo>
                      <a:lnTo>
                        <a:pt x="1350" y="264"/>
                      </a:lnTo>
                      <a:lnTo>
                        <a:pt x="1350" y="252"/>
                      </a:lnTo>
                      <a:lnTo>
                        <a:pt x="1344" y="246"/>
                      </a:lnTo>
                      <a:lnTo>
                        <a:pt x="1332" y="240"/>
                      </a:lnTo>
                      <a:lnTo>
                        <a:pt x="1320" y="240"/>
                      </a:lnTo>
                      <a:lnTo>
                        <a:pt x="1314" y="234"/>
                      </a:lnTo>
                      <a:lnTo>
                        <a:pt x="1314" y="222"/>
                      </a:lnTo>
                      <a:lnTo>
                        <a:pt x="1320" y="210"/>
                      </a:lnTo>
                      <a:lnTo>
                        <a:pt x="1326" y="204"/>
                      </a:lnTo>
                      <a:lnTo>
                        <a:pt x="1326" y="198"/>
                      </a:lnTo>
                      <a:lnTo>
                        <a:pt x="1320" y="192"/>
                      </a:lnTo>
                      <a:lnTo>
                        <a:pt x="1308" y="186"/>
                      </a:lnTo>
                      <a:lnTo>
                        <a:pt x="1326" y="168"/>
                      </a:lnTo>
                      <a:lnTo>
                        <a:pt x="1320" y="144"/>
                      </a:lnTo>
                      <a:lnTo>
                        <a:pt x="1302" y="144"/>
                      </a:lnTo>
                      <a:lnTo>
                        <a:pt x="1296" y="120"/>
                      </a:lnTo>
                      <a:lnTo>
                        <a:pt x="1290" y="120"/>
                      </a:lnTo>
                      <a:lnTo>
                        <a:pt x="1284" y="114"/>
                      </a:lnTo>
                      <a:lnTo>
                        <a:pt x="1272" y="108"/>
                      </a:lnTo>
                      <a:lnTo>
                        <a:pt x="1260" y="96"/>
                      </a:lnTo>
                      <a:lnTo>
                        <a:pt x="1254" y="84"/>
                      </a:lnTo>
                      <a:lnTo>
                        <a:pt x="1248" y="66"/>
                      </a:lnTo>
                      <a:lnTo>
                        <a:pt x="1236" y="60"/>
                      </a:lnTo>
                      <a:lnTo>
                        <a:pt x="1230" y="54"/>
                      </a:lnTo>
                      <a:lnTo>
                        <a:pt x="1218" y="66"/>
                      </a:lnTo>
                      <a:lnTo>
                        <a:pt x="1218" y="72"/>
                      </a:lnTo>
                      <a:lnTo>
                        <a:pt x="1206" y="84"/>
                      </a:lnTo>
                      <a:lnTo>
                        <a:pt x="1200" y="84"/>
                      </a:lnTo>
                      <a:lnTo>
                        <a:pt x="1188" y="78"/>
                      </a:lnTo>
                      <a:lnTo>
                        <a:pt x="1188" y="72"/>
                      </a:lnTo>
                      <a:lnTo>
                        <a:pt x="1176" y="66"/>
                      </a:lnTo>
                      <a:lnTo>
                        <a:pt x="1164" y="66"/>
                      </a:lnTo>
                      <a:lnTo>
                        <a:pt x="1158" y="72"/>
                      </a:lnTo>
                      <a:lnTo>
                        <a:pt x="1152" y="84"/>
                      </a:lnTo>
                      <a:lnTo>
                        <a:pt x="1146" y="90"/>
                      </a:lnTo>
                      <a:lnTo>
                        <a:pt x="1098" y="66"/>
                      </a:lnTo>
                      <a:lnTo>
                        <a:pt x="1098" y="42"/>
                      </a:lnTo>
                      <a:lnTo>
                        <a:pt x="1068" y="18"/>
                      </a:lnTo>
                      <a:lnTo>
                        <a:pt x="1062" y="6"/>
                      </a:lnTo>
                      <a:lnTo>
                        <a:pt x="1044" y="24"/>
                      </a:lnTo>
                      <a:lnTo>
                        <a:pt x="1026" y="30"/>
                      </a:lnTo>
                      <a:lnTo>
                        <a:pt x="1002" y="30"/>
                      </a:lnTo>
                      <a:lnTo>
                        <a:pt x="990" y="18"/>
                      </a:lnTo>
                      <a:lnTo>
                        <a:pt x="990" y="12"/>
                      </a:lnTo>
                      <a:lnTo>
                        <a:pt x="954" y="18"/>
                      </a:lnTo>
                      <a:lnTo>
                        <a:pt x="942" y="6"/>
                      </a:lnTo>
                      <a:lnTo>
                        <a:pt x="942" y="0"/>
                      </a:lnTo>
                      <a:lnTo>
                        <a:pt x="936" y="0"/>
                      </a:lnTo>
                      <a:lnTo>
                        <a:pt x="918" y="18"/>
                      </a:lnTo>
                      <a:lnTo>
                        <a:pt x="918" y="30"/>
                      </a:lnTo>
                      <a:lnTo>
                        <a:pt x="906" y="30"/>
                      </a:lnTo>
                      <a:lnTo>
                        <a:pt x="900" y="36"/>
                      </a:lnTo>
                      <a:lnTo>
                        <a:pt x="876" y="36"/>
                      </a:lnTo>
                      <a:lnTo>
                        <a:pt x="864" y="24"/>
                      </a:lnTo>
                      <a:lnTo>
                        <a:pt x="840" y="42"/>
                      </a:lnTo>
                      <a:lnTo>
                        <a:pt x="822" y="42"/>
                      </a:lnTo>
                      <a:lnTo>
                        <a:pt x="810" y="54"/>
                      </a:lnTo>
                      <a:lnTo>
                        <a:pt x="798" y="60"/>
                      </a:lnTo>
                      <a:lnTo>
                        <a:pt x="792" y="66"/>
                      </a:lnTo>
                      <a:lnTo>
                        <a:pt x="786" y="66"/>
                      </a:lnTo>
                      <a:lnTo>
                        <a:pt x="762" y="42"/>
                      </a:lnTo>
                      <a:lnTo>
                        <a:pt x="756" y="54"/>
                      </a:lnTo>
                      <a:lnTo>
                        <a:pt x="738" y="72"/>
                      </a:lnTo>
                      <a:lnTo>
                        <a:pt x="738" y="84"/>
                      </a:lnTo>
                      <a:lnTo>
                        <a:pt x="732" y="90"/>
                      </a:lnTo>
                      <a:lnTo>
                        <a:pt x="726" y="102"/>
                      </a:lnTo>
                      <a:lnTo>
                        <a:pt x="720" y="108"/>
                      </a:lnTo>
                      <a:lnTo>
                        <a:pt x="708" y="102"/>
                      </a:lnTo>
                      <a:lnTo>
                        <a:pt x="702" y="96"/>
                      </a:lnTo>
                      <a:lnTo>
                        <a:pt x="690" y="90"/>
                      </a:lnTo>
                      <a:lnTo>
                        <a:pt x="642" y="90"/>
                      </a:lnTo>
                      <a:lnTo>
                        <a:pt x="630" y="84"/>
                      </a:lnTo>
                      <a:lnTo>
                        <a:pt x="624" y="78"/>
                      </a:lnTo>
                      <a:lnTo>
                        <a:pt x="582" y="78"/>
                      </a:lnTo>
                      <a:lnTo>
                        <a:pt x="582" y="48"/>
                      </a:lnTo>
                      <a:lnTo>
                        <a:pt x="576" y="42"/>
                      </a:lnTo>
                      <a:lnTo>
                        <a:pt x="558" y="42"/>
                      </a:lnTo>
                      <a:lnTo>
                        <a:pt x="558" y="30"/>
                      </a:lnTo>
                      <a:lnTo>
                        <a:pt x="546" y="24"/>
                      </a:lnTo>
                      <a:lnTo>
                        <a:pt x="534" y="24"/>
                      </a:lnTo>
                      <a:lnTo>
                        <a:pt x="516" y="18"/>
                      </a:lnTo>
                      <a:lnTo>
                        <a:pt x="504" y="18"/>
                      </a:lnTo>
                      <a:lnTo>
                        <a:pt x="492" y="24"/>
                      </a:lnTo>
                      <a:lnTo>
                        <a:pt x="486" y="30"/>
                      </a:lnTo>
                      <a:lnTo>
                        <a:pt x="486" y="36"/>
                      </a:lnTo>
                      <a:lnTo>
                        <a:pt x="480" y="48"/>
                      </a:lnTo>
                      <a:lnTo>
                        <a:pt x="480" y="54"/>
                      </a:lnTo>
                      <a:lnTo>
                        <a:pt x="474" y="66"/>
                      </a:lnTo>
                      <a:lnTo>
                        <a:pt x="462" y="78"/>
                      </a:lnTo>
                      <a:lnTo>
                        <a:pt x="456" y="78"/>
                      </a:lnTo>
                      <a:lnTo>
                        <a:pt x="444" y="90"/>
                      </a:lnTo>
                      <a:lnTo>
                        <a:pt x="444" y="102"/>
                      </a:lnTo>
                      <a:lnTo>
                        <a:pt x="450" y="102"/>
                      </a:lnTo>
                      <a:lnTo>
                        <a:pt x="450" y="120"/>
                      </a:lnTo>
                      <a:lnTo>
                        <a:pt x="438" y="138"/>
                      </a:lnTo>
                      <a:lnTo>
                        <a:pt x="450" y="150"/>
                      </a:lnTo>
                      <a:lnTo>
                        <a:pt x="450" y="186"/>
                      </a:lnTo>
                      <a:lnTo>
                        <a:pt x="444" y="198"/>
                      </a:lnTo>
                      <a:lnTo>
                        <a:pt x="438" y="216"/>
                      </a:lnTo>
                      <a:lnTo>
                        <a:pt x="426" y="228"/>
                      </a:lnTo>
                      <a:lnTo>
                        <a:pt x="414" y="252"/>
                      </a:lnTo>
                      <a:lnTo>
                        <a:pt x="408" y="258"/>
                      </a:lnTo>
                      <a:lnTo>
                        <a:pt x="408" y="288"/>
                      </a:lnTo>
                      <a:lnTo>
                        <a:pt x="414" y="300"/>
                      </a:lnTo>
                      <a:lnTo>
                        <a:pt x="414" y="324"/>
                      </a:lnTo>
                      <a:lnTo>
                        <a:pt x="396" y="360"/>
                      </a:lnTo>
                      <a:lnTo>
                        <a:pt x="396" y="372"/>
                      </a:lnTo>
                      <a:lnTo>
                        <a:pt x="402" y="378"/>
                      </a:lnTo>
                      <a:lnTo>
                        <a:pt x="408" y="390"/>
                      </a:lnTo>
                      <a:lnTo>
                        <a:pt x="408" y="414"/>
                      </a:lnTo>
                      <a:lnTo>
                        <a:pt x="402" y="426"/>
                      </a:lnTo>
                      <a:lnTo>
                        <a:pt x="390" y="432"/>
                      </a:lnTo>
                      <a:lnTo>
                        <a:pt x="390" y="486"/>
                      </a:lnTo>
                      <a:lnTo>
                        <a:pt x="384" y="492"/>
                      </a:lnTo>
                      <a:lnTo>
                        <a:pt x="372" y="498"/>
                      </a:lnTo>
                      <a:lnTo>
                        <a:pt x="366" y="510"/>
                      </a:lnTo>
                      <a:lnTo>
                        <a:pt x="318" y="534"/>
                      </a:lnTo>
                      <a:lnTo>
                        <a:pt x="312" y="540"/>
                      </a:lnTo>
                      <a:lnTo>
                        <a:pt x="306" y="552"/>
                      </a:lnTo>
                      <a:lnTo>
                        <a:pt x="306" y="588"/>
                      </a:lnTo>
                      <a:lnTo>
                        <a:pt x="282" y="612"/>
                      </a:lnTo>
                      <a:lnTo>
                        <a:pt x="276" y="612"/>
                      </a:lnTo>
                      <a:lnTo>
                        <a:pt x="282" y="714"/>
                      </a:lnTo>
                      <a:lnTo>
                        <a:pt x="252" y="756"/>
                      </a:lnTo>
                      <a:lnTo>
                        <a:pt x="246" y="762"/>
                      </a:lnTo>
                      <a:lnTo>
                        <a:pt x="228" y="762"/>
                      </a:lnTo>
                      <a:lnTo>
                        <a:pt x="216" y="774"/>
                      </a:lnTo>
                      <a:lnTo>
                        <a:pt x="210" y="786"/>
                      </a:lnTo>
                      <a:lnTo>
                        <a:pt x="192" y="804"/>
                      </a:lnTo>
                      <a:lnTo>
                        <a:pt x="186" y="816"/>
                      </a:lnTo>
                      <a:lnTo>
                        <a:pt x="180" y="822"/>
                      </a:lnTo>
                      <a:lnTo>
                        <a:pt x="168" y="828"/>
                      </a:lnTo>
                      <a:lnTo>
                        <a:pt x="150" y="828"/>
                      </a:lnTo>
                      <a:lnTo>
                        <a:pt x="144" y="822"/>
                      </a:lnTo>
                      <a:lnTo>
                        <a:pt x="150" y="810"/>
                      </a:lnTo>
                      <a:lnTo>
                        <a:pt x="150" y="780"/>
                      </a:lnTo>
                      <a:lnTo>
                        <a:pt x="144" y="780"/>
                      </a:lnTo>
                      <a:lnTo>
                        <a:pt x="126" y="798"/>
                      </a:lnTo>
                      <a:lnTo>
                        <a:pt x="102" y="792"/>
                      </a:lnTo>
                      <a:lnTo>
                        <a:pt x="102" y="810"/>
                      </a:lnTo>
                      <a:lnTo>
                        <a:pt x="96" y="822"/>
                      </a:lnTo>
                      <a:lnTo>
                        <a:pt x="90" y="828"/>
                      </a:lnTo>
                      <a:lnTo>
                        <a:pt x="78" y="828"/>
                      </a:lnTo>
                      <a:lnTo>
                        <a:pt x="72" y="822"/>
                      </a:lnTo>
                      <a:lnTo>
                        <a:pt x="72" y="816"/>
                      </a:lnTo>
                      <a:lnTo>
                        <a:pt x="66" y="810"/>
                      </a:lnTo>
                      <a:lnTo>
                        <a:pt x="66" y="804"/>
                      </a:lnTo>
                      <a:lnTo>
                        <a:pt x="54" y="804"/>
                      </a:lnTo>
                      <a:lnTo>
                        <a:pt x="48" y="816"/>
                      </a:lnTo>
                      <a:lnTo>
                        <a:pt x="12" y="846"/>
                      </a:lnTo>
                      <a:lnTo>
                        <a:pt x="18" y="858"/>
                      </a:lnTo>
                      <a:lnTo>
                        <a:pt x="18" y="864"/>
                      </a:lnTo>
                      <a:lnTo>
                        <a:pt x="24" y="876"/>
                      </a:lnTo>
                      <a:lnTo>
                        <a:pt x="24" y="882"/>
                      </a:lnTo>
                      <a:lnTo>
                        <a:pt x="18" y="888"/>
                      </a:lnTo>
                      <a:lnTo>
                        <a:pt x="6" y="894"/>
                      </a:lnTo>
                      <a:lnTo>
                        <a:pt x="0" y="900"/>
                      </a:lnTo>
                      <a:lnTo>
                        <a:pt x="6" y="906"/>
                      </a:lnTo>
                      <a:lnTo>
                        <a:pt x="6" y="912"/>
                      </a:lnTo>
                      <a:lnTo>
                        <a:pt x="18" y="918"/>
                      </a:lnTo>
                      <a:lnTo>
                        <a:pt x="18" y="924"/>
                      </a:lnTo>
                      <a:lnTo>
                        <a:pt x="54" y="906"/>
                      </a:lnTo>
                      <a:lnTo>
                        <a:pt x="78" y="912"/>
                      </a:lnTo>
                      <a:lnTo>
                        <a:pt x="84" y="906"/>
                      </a:lnTo>
                      <a:lnTo>
                        <a:pt x="96" y="912"/>
                      </a:lnTo>
                      <a:lnTo>
                        <a:pt x="120" y="906"/>
                      </a:lnTo>
                      <a:lnTo>
                        <a:pt x="132" y="912"/>
                      </a:lnTo>
                      <a:lnTo>
                        <a:pt x="162" y="912"/>
                      </a:lnTo>
                      <a:lnTo>
                        <a:pt x="174" y="906"/>
                      </a:lnTo>
                      <a:lnTo>
                        <a:pt x="186" y="906"/>
                      </a:lnTo>
                      <a:lnTo>
                        <a:pt x="198" y="912"/>
                      </a:lnTo>
                      <a:lnTo>
                        <a:pt x="228" y="912"/>
                      </a:lnTo>
                      <a:lnTo>
                        <a:pt x="246" y="906"/>
                      </a:lnTo>
                      <a:lnTo>
                        <a:pt x="270" y="906"/>
                      </a:lnTo>
                      <a:lnTo>
                        <a:pt x="276" y="900"/>
                      </a:lnTo>
                      <a:lnTo>
                        <a:pt x="294" y="900"/>
                      </a:lnTo>
                      <a:lnTo>
                        <a:pt x="300" y="906"/>
                      </a:lnTo>
                      <a:lnTo>
                        <a:pt x="306" y="918"/>
                      </a:lnTo>
                      <a:lnTo>
                        <a:pt x="318" y="930"/>
                      </a:lnTo>
                      <a:lnTo>
                        <a:pt x="318" y="972"/>
                      </a:lnTo>
                      <a:lnTo>
                        <a:pt x="336" y="990"/>
                      </a:lnTo>
                      <a:lnTo>
                        <a:pt x="336" y="1014"/>
                      </a:lnTo>
                      <a:lnTo>
                        <a:pt x="330" y="1020"/>
                      </a:lnTo>
                      <a:lnTo>
                        <a:pt x="330" y="1026"/>
                      </a:lnTo>
                      <a:lnTo>
                        <a:pt x="336" y="1032"/>
                      </a:lnTo>
                      <a:lnTo>
                        <a:pt x="342" y="1032"/>
                      </a:lnTo>
                      <a:lnTo>
                        <a:pt x="354" y="1044"/>
                      </a:lnTo>
                      <a:lnTo>
                        <a:pt x="354" y="1056"/>
                      </a:lnTo>
                      <a:lnTo>
                        <a:pt x="360" y="1062"/>
                      </a:lnTo>
                      <a:lnTo>
                        <a:pt x="372" y="1086"/>
                      </a:lnTo>
                      <a:lnTo>
                        <a:pt x="402" y="1086"/>
                      </a:lnTo>
                      <a:lnTo>
                        <a:pt x="414" y="1092"/>
                      </a:lnTo>
                      <a:lnTo>
                        <a:pt x="420" y="1080"/>
                      </a:lnTo>
                      <a:lnTo>
                        <a:pt x="444" y="1080"/>
                      </a:lnTo>
                      <a:lnTo>
                        <a:pt x="456" y="1074"/>
                      </a:lnTo>
                      <a:lnTo>
                        <a:pt x="462" y="1080"/>
                      </a:lnTo>
                      <a:lnTo>
                        <a:pt x="504" y="1074"/>
                      </a:lnTo>
                      <a:lnTo>
                        <a:pt x="504" y="1056"/>
                      </a:lnTo>
                      <a:lnTo>
                        <a:pt x="510" y="1050"/>
                      </a:lnTo>
                      <a:lnTo>
                        <a:pt x="510" y="1044"/>
                      </a:lnTo>
                      <a:lnTo>
                        <a:pt x="522" y="1044"/>
                      </a:lnTo>
                      <a:lnTo>
                        <a:pt x="522" y="1032"/>
                      </a:lnTo>
                      <a:lnTo>
                        <a:pt x="516" y="1020"/>
                      </a:lnTo>
                      <a:lnTo>
                        <a:pt x="510" y="1014"/>
                      </a:lnTo>
                      <a:lnTo>
                        <a:pt x="510" y="1008"/>
                      </a:lnTo>
                      <a:lnTo>
                        <a:pt x="516" y="1002"/>
                      </a:lnTo>
                      <a:lnTo>
                        <a:pt x="564" y="1002"/>
                      </a:lnTo>
                      <a:lnTo>
                        <a:pt x="564" y="996"/>
                      </a:lnTo>
                      <a:lnTo>
                        <a:pt x="576" y="996"/>
                      </a:lnTo>
                      <a:lnTo>
                        <a:pt x="588" y="1002"/>
                      </a:lnTo>
                      <a:lnTo>
                        <a:pt x="588" y="1026"/>
                      </a:lnTo>
                      <a:lnTo>
                        <a:pt x="678" y="1026"/>
                      </a:lnTo>
                      <a:lnTo>
                        <a:pt x="678" y="1050"/>
                      </a:lnTo>
                      <a:lnTo>
                        <a:pt x="666" y="1068"/>
                      </a:lnTo>
                      <a:lnTo>
                        <a:pt x="672" y="1086"/>
                      </a:lnTo>
                      <a:lnTo>
                        <a:pt x="684" y="1098"/>
                      </a:lnTo>
                      <a:lnTo>
                        <a:pt x="690" y="1110"/>
                      </a:lnTo>
                      <a:lnTo>
                        <a:pt x="690" y="1122"/>
                      </a:lnTo>
                      <a:lnTo>
                        <a:pt x="684" y="1134"/>
                      </a:lnTo>
                      <a:lnTo>
                        <a:pt x="678" y="1140"/>
                      </a:lnTo>
                      <a:lnTo>
                        <a:pt x="684" y="1164"/>
                      </a:lnTo>
                      <a:lnTo>
                        <a:pt x="684" y="1176"/>
                      </a:lnTo>
                      <a:lnTo>
                        <a:pt x="678" y="1182"/>
                      </a:lnTo>
                      <a:lnTo>
                        <a:pt x="678" y="1194"/>
                      </a:lnTo>
                      <a:lnTo>
                        <a:pt x="684" y="1212"/>
                      </a:lnTo>
                      <a:lnTo>
                        <a:pt x="696" y="1230"/>
                      </a:lnTo>
                      <a:lnTo>
                        <a:pt x="708" y="1254"/>
                      </a:lnTo>
                      <a:lnTo>
                        <a:pt x="714" y="1260"/>
                      </a:lnTo>
                      <a:lnTo>
                        <a:pt x="714" y="1278"/>
                      </a:lnTo>
                      <a:lnTo>
                        <a:pt x="708" y="1290"/>
                      </a:lnTo>
                      <a:lnTo>
                        <a:pt x="708" y="1302"/>
                      </a:lnTo>
                      <a:lnTo>
                        <a:pt x="702" y="1308"/>
                      </a:lnTo>
                      <a:lnTo>
                        <a:pt x="702" y="1332"/>
                      </a:lnTo>
                      <a:lnTo>
                        <a:pt x="708" y="1338"/>
                      </a:lnTo>
                      <a:lnTo>
                        <a:pt x="714" y="1338"/>
                      </a:lnTo>
                      <a:lnTo>
                        <a:pt x="720" y="1344"/>
                      </a:lnTo>
                      <a:lnTo>
                        <a:pt x="726" y="1326"/>
                      </a:lnTo>
                      <a:lnTo>
                        <a:pt x="756" y="1332"/>
                      </a:lnTo>
                      <a:lnTo>
                        <a:pt x="780" y="1326"/>
                      </a:lnTo>
                      <a:lnTo>
                        <a:pt x="780" y="1314"/>
                      </a:lnTo>
                      <a:lnTo>
                        <a:pt x="792" y="1314"/>
                      </a:lnTo>
                      <a:lnTo>
                        <a:pt x="804" y="1326"/>
                      </a:lnTo>
                      <a:lnTo>
                        <a:pt x="828" y="1326"/>
                      </a:lnTo>
                      <a:lnTo>
                        <a:pt x="834" y="1308"/>
                      </a:lnTo>
                      <a:lnTo>
                        <a:pt x="840" y="1320"/>
                      </a:lnTo>
                      <a:lnTo>
                        <a:pt x="858" y="1320"/>
                      </a:lnTo>
                      <a:lnTo>
                        <a:pt x="858" y="1350"/>
                      </a:lnTo>
                      <a:lnTo>
                        <a:pt x="864" y="1356"/>
                      </a:lnTo>
                      <a:lnTo>
                        <a:pt x="882" y="1356"/>
                      </a:lnTo>
                      <a:lnTo>
                        <a:pt x="882" y="1350"/>
                      </a:lnTo>
                      <a:lnTo>
                        <a:pt x="876" y="1344"/>
                      </a:lnTo>
                      <a:lnTo>
                        <a:pt x="918" y="1338"/>
                      </a:lnTo>
                      <a:lnTo>
                        <a:pt x="918" y="1356"/>
                      </a:lnTo>
                      <a:lnTo>
                        <a:pt x="924" y="1368"/>
                      </a:lnTo>
                      <a:lnTo>
                        <a:pt x="930" y="1374"/>
                      </a:lnTo>
                      <a:lnTo>
                        <a:pt x="948" y="1386"/>
                      </a:lnTo>
                      <a:lnTo>
                        <a:pt x="984" y="1392"/>
                      </a:lnTo>
                      <a:lnTo>
                        <a:pt x="1014" y="1398"/>
                      </a:lnTo>
                      <a:lnTo>
                        <a:pt x="1032" y="1398"/>
                      </a:lnTo>
                      <a:lnTo>
                        <a:pt x="1032" y="1392"/>
                      </a:lnTo>
                      <a:lnTo>
                        <a:pt x="1038" y="1386"/>
                      </a:lnTo>
                      <a:lnTo>
                        <a:pt x="1038" y="1368"/>
                      </a:lnTo>
                      <a:lnTo>
                        <a:pt x="1044" y="1362"/>
                      </a:lnTo>
                      <a:lnTo>
                        <a:pt x="1050" y="1362"/>
                      </a:lnTo>
                      <a:lnTo>
                        <a:pt x="1062" y="1374"/>
                      </a:lnTo>
                      <a:lnTo>
                        <a:pt x="1062" y="1386"/>
                      </a:lnTo>
                      <a:lnTo>
                        <a:pt x="1068" y="1392"/>
                      </a:lnTo>
                      <a:lnTo>
                        <a:pt x="1080" y="1392"/>
                      </a:lnTo>
                      <a:lnTo>
                        <a:pt x="1080" y="1404"/>
                      </a:lnTo>
                      <a:lnTo>
                        <a:pt x="1074" y="1404"/>
                      </a:lnTo>
                      <a:lnTo>
                        <a:pt x="1074" y="1416"/>
                      </a:lnTo>
                      <a:lnTo>
                        <a:pt x="1104" y="1416"/>
                      </a:lnTo>
                      <a:lnTo>
                        <a:pt x="1110" y="1422"/>
                      </a:lnTo>
                      <a:lnTo>
                        <a:pt x="1110" y="1434"/>
                      </a:lnTo>
                      <a:lnTo>
                        <a:pt x="1122" y="1434"/>
                      </a:lnTo>
                      <a:lnTo>
                        <a:pt x="1128" y="1428"/>
                      </a:lnTo>
                      <a:lnTo>
                        <a:pt x="1134" y="1428"/>
                      </a:lnTo>
                      <a:lnTo>
                        <a:pt x="1140" y="1434"/>
                      </a:lnTo>
                      <a:lnTo>
                        <a:pt x="1146" y="1446"/>
                      </a:lnTo>
                      <a:lnTo>
                        <a:pt x="1146" y="1452"/>
                      </a:lnTo>
                      <a:lnTo>
                        <a:pt x="1152" y="1464"/>
                      </a:lnTo>
                      <a:lnTo>
                        <a:pt x="1164" y="1464"/>
                      </a:lnTo>
                      <a:lnTo>
                        <a:pt x="1176" y="1476"/>
                      </a:lnTo>
                      <a:lnTo>
                        <a:pt x="1176" y="1488"/>
                      </a:lnTo>
                      <a:lnTo>
                        <a:pt x="1182" y="1500"/>
                      </a:lnTo>
                      <a:lnTo>
                        <a:pt x="1182" y="1512"/>
                      </a:lnTo>
                      <a:lnTo>
                        <a:pt x="1200" y="1512"/>
                      </a:lnTo>
                      <a:lnTo>
                        <a:pt x="1218" y="1500"/>
                      </a:lnTo>
                      <a:lnTo>
                        <a:pt x="1224" y="1512"/>
                      </a:lnTo>
                      <a:lnTo>
                        <a:pt x="1224" y="1518"/>
                      </a:lnTo>
                      <a:lnTo>
                        <a:pt x="1230" y="1518"/>
                      </a:lnTo>
                      <a:lnTo>
                        <a:pt x="1236" y="1500"/>
                      </a:lnTo>
                      <a:lnTo>
                        <a:pt x="1242" y="1464"/>
                      </a:lnTo>
                      <a:lnTo>
                        <a:pt x="1242" y="1416"/>
                      </a:lnTo>
                      <a:lnTo>
                        <a:pt x="1218" y="1416"/>
                      </a:lnTo>
                      <a:lnTo>
                        <a:pt x="1218" y="1434"/>
                      </a:lnTo>
                      <a:lnTo>
                        <a:pt x="1212" y="1440"/>
                      </a:lnTo>
                      <a:lnTo>
                        <a:pt x="1206" y="1440"/>
                      </a:lnTo>
                      <a:lnTo>
                        <a:pt x="1194" y="1434"/>
                      </a:lnTo>
                      <a:lnTo>
                        <a:pt x="1164" y="1404"/>
                      </a:lnTo>
                      <a:lnTo>
                        <a:pt x="1158" y="1404"/>
                      </a:lnTo>
                      <a:lnTo>
                        <a:pt x="1158" y="1398"/>
                      </a:lnTo>
                      <a:lnTo>
                        <a:pt x="1152" y="1398"/>
                      </a:lnTo>
                      <a:lnTo>
                        <a:pt x="1140" y="1386"/>
                      </a:lnTo>
                      <a:lnTo>
                        <a:pt x="1140" y="1362"/>
                      </a:lnTo>
                      <a:lnTo>
                        <a:pt x="1146" y="1350"/>
                      </a:lnTo>
                      <a:lnTo>
                        <a:pt x="1152" y="1332"/>
                      </a:lnTo>
                      <a:lnTo>
                        <a:pt x="1158" y="1320"/>
                      </a:lnTo>
                      <a:lnTo>
                        <a:pt x="1170" y="1308"/>
                      </a:lnTo>
                      <a:lnTo>
                        <a:pt x="1170" y="1254"/>
                      </a:lnTo>
                      <a:lnTo>
                        <a:pt x="1164" y="1236"/>
                      </a:lnTo>
                      <a:lnTo>
                        <a:pt x="1164" y="1212"/>
                      </a:lnTo>
                      <a:lnTo>
                        <a:pt x="1158" y="1206"/>
                      </a:lnTo>
                      <a:lnTo>
                        <a:pt x="1158" y="1200"/>
                      </a:lnTo>
                      <a:lnTo>
                        <a:pt x="1152" y="1194"/>
                      </a:lnTo>
                      <a:lnTo>
                        <a:pt x="1152" y="1188"/>
                      </a:lnTo>
                      <a:lnTo>
                        <a:pt x="1140" y="1176"/>
                      </a:lnTo>
                      <a:lnTo>
                        <a:pt x="1146" y="1176"/>
                      </a:lnTo>
                      <a:lnTo>
                        <a:pt x="1152" y="1170"/>
                      </a:lnTo>
                      <a:lnTo>
                        <a:pt x="1164" y="1164"/>
                      </a:lnTo>
                      <a:lnTo>
                        <a:pt x="1182" y="1146"/>
                      </a:lnTo>
                      <a:lnTo>
                        <a:pt x="1182" y="1116"/>
                      </a:lnTo>
                      <a:lnTo>
                        <a:pt x="1194" y="1116"/>
                      </a:lnTo>
                      <a:lnTo>
                        <a:pt x="1212" y="1110"/>
                      </a:lnTo>
                      <a:lnTo>
                        <a:pt x="1230" y="1110"/>
                      </a:lnTo>
                      <a:lnTo>
                        <a:pt x="1242" y="1104"/>
                      </a:lnTo>
                      <a:lnTo>
                        <a:pt x="1260" y="1104"/>
                      </a:lnTo>
                      <a:lnTo>
                        <a:pt x="1284" y="1092"/>
                      </a:lnTo>
                      <a:lnTo>
                        <a:pt x="1290" y="1092"/>
                      </a:lnTo>
                      <a:lnTo>
                        <a:pt x="1290" y="1086"/>
                      </a:lnTo>
                      <a:lnTo>
                        <a:pt x="1284" y="1074"/>
                      </a:lnTo>
                      <a:lnTo>
                        <a:pt x="1272" y="1062"/>
                      </a:lnTo>
                      <a:lnTo>
                        <a:pt x="1272" y="1014"/>
                      </a:lnTo>
                      <a:lnTo>
                        <a:pt x="1248" y="1014"/>
                      </a:lnTo>
                      <a:lnTo>
                        <a:pt x="1248" y="1008"/>
                      </a:lnTo>
                      <a:lnTo>
                        <a:pt x="1242" y="996"/>
                      </a:lnTo>
                      <a:lnTo>
                        <a:pt x="1242" y="978"/>
                      </a:lnTo>
                      <a:lnTo>
                        <a:pt x="1236" y="972"/>
                      </a:lnTo>
                      <a:lnTo>
                        <a:pt x="1224" y="966"/>
                      </a:lnTo>
                      <a:lnTo>
                        <a:pt x="1218" y="960"/>
                      </a:lnTo>
                      <a:lnTo>
                        <a:pt x="1206" y="936"/>
                      </a:lnTo>
                      <a:lnTo>
                        <a:pt x="1206" y="906"/>
                      </a:lnTo>
                      <a:lnTo>
                        <a:pt x="1212" y="900"/>
                      </a:lnTo>
                      <a:lnTo>
                        <a:pt x="1212" y="876"/>
                      </a:lnTo>
                      <a:lnTo>
                        <a:pt x="1200" y="864"/>
                      </a:lnTo>
                      <a:lnTo>
                        <a:pt x="1194" y="852"/>
                      </a:lnTo>
                      <a:lnTo>
                        <a:pt x="1194" y="804"/>
                      </a:lnTo>
                      <a:lnTo>
                        <a:pt x="1200" y="780"/>
                      </a:lnTo>
                      <a:lnTo>
                        <a:pt x="1200" y="750"/>
                      </a:lnTo>
                      <a:lnTo>
                        <a:pt x="1212" y="738"/>
                      </a:lnTo>
                      <a:lnTo>
                        <a:pt x="1218" y="744"/>
                      </a:lnTo>
                      <a:lnTo>
                        <a:pt x="1218" y="732"/>
                      </a:lnTo>
                      <a:lnTo>
                        <a:pt x="1224" y="726"/>
                      </a:lnTo>
                      <a:lnTo>
                        <a:pt x="1224" y="696"/>
                      </a:lnTo>
                      <a:lnTo>
                        <a:pt x="1218" y="690"/>
                      </a:lnTo>
                      <a:lnTo>
                        <a:pt x="1206" y="684"/>
                      </a:lnTo>
                      <a:lnTo>
                        <a:pt x="1200" y="678"/>
                      </a:lnTo>
                      <a:lnTo>
                        <a:pt x="1188" y="648"/>
                      </a:lnTo>
                      <a:lnTo>
                        <a:pt x="1182" y="642"/>
                      </a:lnTo>
                      <a:lnTo>
                        <a:pt x="1176" y="642"/>
                      </a:lnTo>
                      <a:lnTo>
                        <a:pt x="1176" y="636"/>
                      </a:lnTo>
                      <a:lnTo>
                        <a:pt x="1182" y="624"/>
                      </a:lnTo>
                      <a:lnTo>
                        <a:pt x="1194" y="618"/>
                      </a:lnTo>
                      <a:lnTo>
                        <a:pt x="1206" y="606"/>
                      </a:lnTo>
                      <a:lnTo>
                        <a:pt x="1206" y="594"/>
                      </a:lnTo>
                      <a:lnTo>
                        <a:pt x="1200" y="588"/>
                      </a:lnTo>
                      <a:lnTo>
                        <a:pt x="1194" y="576"/>
                      </a:lnTo>
                      <a:lnTo>
                        <a:pt x="1194" y="570"/>
                      </a:lnTo>
                      <a:lnTo>
                        <a:pt x="1200" y="564"/>
                      </a:lnTo>
                      <a:lnTo>
                        <a:pt x="1224" y="552"/>
                      </a:lnTo>
                      <a:lnTo>
                        <a:pt x="1230" y="546"/>
                      </a:lnTo>
                      <a:lnTo>
                        <a:pt x="1236" y="546"/>
                      </a:lnTo>
                      <a:lnTo>
                        <a:pt x="1242" y="468"/>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659" name="Congo (Brazzaville)"/>
                <p:cNvSpPr>
                  <a:spLocks/>
                </p:cNvSpPr>
                <p:nvPr/>
              </p:nvSpPr>
              <p:spPr bwMode="gray">
                <a:xfrm>
                  <a:off x="2854" y="2233"/>
                  <a:ext cx="137" cy="179"/>
                </a:xfrm>
                <a:custGeom>
                  <a:avLst/>
                  <a:gdLst>
                    <a:gd name="T0" fmla="*/ 2147483647 w 534"/>
                    <a:gd name="T1" fmla="*/ 2147483647 h 702"/>
                    <a:gd name="T2" fmla="*/ 2147483647 w 534"/>
                    <a:gd name="T3" fmla="*/ 2147483647 h 702"/>
                    <a:gd name="T4" fmla="*/ 2147483647 w 534"/>
                    <a:gd name="T5" fmla="*/ 2147483647 h 702"/>
                    <a:gd name="T6" fmla="*/ 2147483647 w 534"/>
                    <a:gd name="T7" fmla="*/ 2147483647 h 702"/>
                    <a:gd name="T8" fmla="*/ 2147483647 w 534"/>
                    <a:gd name="T9" fmla="*/ 2147483647 h 702"/>
                    <a:gd name="T10" fmla="*/ 2147483647 w 534"/>
                    <a:gd name="T11" fmla="*/ 2147483647 h 702"/>
                    <a:gd name="T12" fmla="*/ 2147483647 w 534"/>
                    <a:gd name="T13" fmla="*/ 2147483647 h 702"/>
                    <a:gd name="T14" fmla="*/ 2147483647 w 534"/>
                    <a:gd name="T15" fmla="*/ 2147483647 h 702"/>
                    <a:gd name="T16" fmla="*/ 2147483647 w 534"/>
                    <a:gd name="T17" fmla="*/ 2147483647 h 702"/>
                    <a:gd name="T18" fmla="*/ 2147483647 w 534"/>
                    <a:gd name="T19" fmla="*/ 2147483647 h 702"/>
                    <a:gd name="T20" fmla="*/ 2147483647 w 534"/>
                    <a:gd name="T21" fmla="*/ 2147483647 h 702"/>
                    <a:gd name="T22" fmla="*/ 2147483647 w 534"/>
                    <a:gd name="T23" fmla="*/ 2147483647 h 702"/>
                    <a:gd name="T24" fmla="*/ 2147483647 w 534"/>
                    <a:gd name="T25" fmla="*/ 2147483647 h 702"/>
                    <a:gd name="T26" fmla="*/ 2147483647 w 534"/>
                    <a:gd name="T27" fmla="*/ 2147483647 h 702"/>
                    <a:gd name="T28" fmla="*/ 2147483647 w 534"/>
                    <a:gd name="T29" fmla="*/ 2147483647 h 702"/>
                    <a:gd name="T30" fmla="*/ 2147483647 w 534"/>
                    <a:gd name="T31" fmla="*/ 2147483647 h 702"/>
                    <a:gd name="T32" fmla="*/ 2147483647 w 534"/>
                    <a:gd name="T33" fmla="*/ 2147483647 h 702"/>
                    <a:gd name="T34" fmla="*/ 2147483647 w 534"/>
                    <a:gd name="T35" fmla="*/ 2147483647 h 702"/>
                    <a:gd name="T36" fmla="*/ 2147483647 w 534"/>
                    <a:gd name="T37" fmla="*/ 2147483647 h 702"/>
                    <a:gd name="T38" fmla="*/ 2147483647 w 534"/>
                    <a:gd name="T39" fmla="*/ 2147483647 h 702"/>
                    <a:gd name="T40" fmla="*/ 2147483647 w 534"/>
                    <a:gd name="T41" fmla="*/ 2147483647 h 702"/>
                    <a:gd name="T42" fmla="*/ 2147483647 w 534"/>
                    <a:gd name="T43" fmla="*/ 2147483647 h 702"/>
                    <a:gd name="T44" fmla="*/ 2147483647 w 534"/>
                    <a:gd name="T45" fmla="*/ 2147483647 h 702"/>
                    <a:gd name="T46" fmla="*/ 2147483647 w 534"/>
                    <a:gd name="T47" fmla="*/ 2147483647 h 702"/>
                    <a:gd name="T48" fmla="*/ 2147483647 w 534"/>
                    <a:gd name="T49" fmla="*/ 2147483647 h 702"/>
                    <a:gd name="T50" fmla="*/ 0 w 534"/>
                    <a:gd name="T51" fmla="*/ 2147483647 h 702"/>
                    <a:gd name="T52" fmla="*/ 2147483647 w 534"/>
                    <a:gd name="T53" fmla="*/ 2147483647 h 702"/>
                    <a:gd name="T54" fmla="*/ 2147483647 w 534"/>
                    <a:gd name="T55" fmla="*/ 2147483647 h 702"/>
                    <a:gd name="T56" fmla="*/ 2147483647 w 534"/>
                    <a:gd name="T57" fmla="*/ 2147483647 h 702"/>
                    <a:gd name="T58" fmla="*/ 2147483647 w 534"/>
                    <a:gd name="T59" fmla="*/ 2147483647 h 702"/>
                    <a:gd name="T60" fmla="*/ 2147483647 w 534"/>
                    <a:gd name="T61" fmla="*/ 2147483647 h 702"/>
                    <a:gd name="T62" fmla="*/ 2147483647 w 534"/>
                    <a:gd name="T63" fmla="*/ 2147483647 h 702"/>
                    <a:gd name="T64" fmla="*/ 2147483647 w 534"/>
                    <a:gd name="T65" fmla="*/ 2147483647 h 702"/>
                    <a:gd name="T66" fmla="*/ 2147483647 w 534"/>
                    <a:gd name="T67" fmla="*/ 2147483647 h 702"/>
                    <a:gd name="T68" fmla="*/ 2147483647 w 534"/>
                    <a:gd name="T69" fmla="*/ 2147483647 h 702"/>
                    <a:gd name="T70" fmla="*/ 2147483647 w 534"/>
                    <a:gd name="T71" fmla="*/ 2147483647 h 702"/>
                    <a:gd name="T72" fmla="*/ 2147483647 w 534"/>
                    <a:gd name="T73" fmla="*/ 2147483647 h 702"/>
                    <a:gd name="T74" fmla="*/ 2147483647 w 534"/>
                    <a:gd name="T75" fmla="*/ 2147483647 h 702"/>
                    <a:gd name="T76" fmla="*/ 2147483647 w 534"/>
                    <a:gd name="T77" fmla="*/ 2147483647 h 702"/>
                    <a:gd name="T78" fmla="*/ 2147483647 w 534"/>
                    <a:gd name="T79" fmla="*/ 2147483647 h 702"/>
                    <a:gd name="T80" fmla="*/ 2147483647 w 534"/>
                    <a:gd name="T81" fmla="*/ 2147483647 h 702"/>
                    <a:gd name="T82" fmla="*/ 2147483647 w 534"/>
                    <a:gd name="T83" fmla="*/ 2147483647 h 702"/>
                    <a:gd name="T84" fmla="*/ 2147483647 w 534"/>
                    <a:gd name="T85" fmla="*/ 2147483647 h 702"/>
                    <a:gd name="T86" fmla="*/ 2147483647 w 534"/>
                    <a:gd name="T87" fmla="*/ 2147483647 h 702"/>
                    <a:gd name="T88" fmla="*/ 2147483647 w 534"/>
                    <a:gd name="T89" fmla="*/ 2147483647 h 702"/>
                    <a:gd name="T90" fmla="*/ 2147483647 w 534"/>
                    <a:gd name="T91" fmla="*/ 2147483647 h 702"/>
                    <a:gd name="T92" fmla="*/ 2147483647 w 534"/>
                    <a:gd name="T93" fmla="*/ 2147483647 h 702"/>
                    <a:gd name="T94" fmla="*/ 2147483647 w 534"/>
                    <a:gd name="T95" fmla="*/ 2147483647 h 702"/>
                    <a:gd name="T96" fmla="*/ 2147483647 w 534"/>
                    <a:gd name="T97" fmla="*/ 2147483647 h 702"/>
                    <a:gd name="T98" fmla="*/ 2147483647 w 534"/>
                    <a:gd name="T99" fmla="*/ 2147483647 h 702"/>
                    <a:gd name="T100" fmla="*/ 2147483647 w 534"/>
                    <a:gd name="T101" fmla="*/ 2147483647 h 702"/>
                    <a:gd name="T102" fmla="*/ 2147483647 w 534"/>
                    <a:gd name="T103" fmla="*/ 2147483647 h 70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34"/>
                    <a:gd name="T157" fmla="*/ 0 h 702"/>
                    <a:gd name="T158" fmla="*/ 534 w 534"/>
                    <a:gd name="T159" fmla="*/ 702 h 70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34" h="702">
                      <a:moveTo>
                        <a:pt x="366" y="120"/>
                      </a:moveTo>
                      <a:lnTo>
                        <a:pt x="360" y="126"/>
                      </a:lnTo>
                      <a:lnTo>
                        <a:pt x="354" y="168"/>
                      </a:lnTo>
                      <a:lnTo>
                        <a:pt x="330" y="144"/>
                      </a:lnTo>
                      <a:lnTo>
                        <a:pt x="294" y="144"/>
                      </a:lnTo>
                      <a:lnTo>
                        <a:pt x="288" y="138"/>
                      </a:lnTo>
                      <a:lnTo>
                        <a:pt x="276" y="138"/>
                      </a:lnTo>
                      <a:lnTo>
                        <a:pt x="270" y="132"/>
                      </a:lnTo>
                      <a:lnTo>
                        <a:pt x="258" y="126"/>
                      </a:lnTo>
                      <a:lnTo>
                        <a:pt x="210" y="126"/>
                      </a:lnTo>
                      <a:lnTo>
                        <a:pt x="192" y="132"/>
                      </a:lnTo>
                      <a:lnTo>
                        <a:pt x="162" y="132"/>
                      </a:lnTo>
                      <a:lnTo>
                        <a:pt x="144" y="162"/>
                      </a:lnTo>
                      <a:lnTo>
                        <a:pt x="150" y="198"/>
                      </a:lnTo>
                      <a:lnTo>
                        <a:pt x="156" y="204"/>
                      </a:lnTo>
                      <a:lnTo>
                        <a:pt x="180" y="204"/>
                      </a:lnTo>
                      <a:lnTo>
                        <a:pt x="186" y="198"/>
                      </a:lnTo>
                      <a:lnTo>
                        <a:pt x="186" y="180"/>
                      </a:lnTo>
                      <a:lnTo>
                        <a:pt x="204" y="180"/>
                      </a:lnTo>
                      <a:lnTo>
                        <a:pt x="210" y="186"/>
                      </a:lnTo>
                      <a:lnTo>
                        <a:pt x="222" y="186"/>
                      </a:lnTo>
                      <a:lnTo>
                        <a:pt x="222" y="192"/>
                      </a:lnTo>
                      <a:lnTo>
                        <a:pt x="228" y="198"/>
                      </a:lnTo>
                      <a:lnTo>
                        <a:pt x="228" y="216"/>
                      </a:lnTo>
                      <a:lnTo>
                        <a:pt x="240" y="222"/>
                      </a:lnTo>
                      <a:lnTo>
                        <a:pt x="240" y="234"/>
                      </a:lnTo>
                      <a:lnTo>
                        <a:pt x="234" y="240"/>
                      </a:lnTo>
                      <a:lnTo>
                        <a:pt x="228" y="252"/>
                      </a:lnTo>
                      <a:lnTo>
                        <a:pt x="222" y="258"/>
                      </a:lnTo>
                      <a:lnTo>
                        <a:pt x="210" y="258"/>
                      </a:lnTo>
                      <a:lnTo>
                        <a:pt x="198" y="282"/>
                      </a:lnTo>
                      <a:lnTo>
                        <a:pt x="198" y="318"/>
                      </a:lnTo>
                      <a:lnTo>
                        <a:pt x="216" y="324"/>
                      </a:lnTo>
                      <a:lnTo>
                        <a:pt x="222" y="342"/>
                      </a:lnTo>
                      <a:lnTo>
                        <a:pt x="240" y="342"/>
                      </a:lnTo>
                      <a:lnTo>
                        <a:pt x="246" y="348"/>
                      </a:lnTo>
                      <a:lnTo>
                        <a:pt x="246" y="360"/>
                      </a:lnTo>
                      <a:lnTo>
                        <a:pt x="240" y="366"/>
                      </a:lnTo>
                      <a:lnTo>
                        <a:pt x="240" y="414"/>
                      </a:lnTo>
                      <a:lnTo>
                        <a:pt x="234" y="426"/>
                      </a:lnTo>
                      <a:lnTo>
                        <a:pt x="240" y="450"/>
                      </a:lnTo>
                      <a:lnTo>
                        <a:pt x="234" y="456"/>
                      </a:lnTo>
                      <a:lnTo>
                        <a:pt x="222" y="462"/>
                      </a:lnTo>
                      <a:lnTo>
                        <a:pt x="222" y="486"/>
                      </a:lnTo>
                      <a:lnTo>
                        <a:pt x="216" y="498"/>
                      </a:lnTo>
                      <a:lnTo>
                        <a:pt x="210" y="504"/>
                      </a:lnTo>
                      <a:lnTo>
                        <a:pt x="198" y="504"/>
                      </a:lnTo>
                      <a:lnTo>
                        <a:pt x="192" y="498"/>
                      </a:lnTo>
                      <a:lnTo>
                        <a:pt x="192" y="468"/>
                      </a:lnTo>
                      <a:lnTo>
                        <a:pt x="186" y="468"/>
                      </a:lnTo>
                      <a:lnTo>
                        <a:pt x="180" y="474"/>
                      </a:lnTo>
                      <a:lnTo>
                        <a:pt x="174" y="486"/>
                      </a:lnTo>
                      <a:lnTo>
                        <a:pt x="168" y="492"/>
                      </a:lnTo>
                      <a:lnTo>
                        <a:pt x="138" y="492"/>
                      </a:lnTo>
                      <a:lnTo>
                        <a:pt x="120" y="450"/>
                      </a:lnTo>
                      <a:lnTo>
                        <a:pt x="90" y="450"/>
                      </a:lnTo>
                      <a:lnTo>
                        <a:pt x="90" y="456"/>
                      </a:lnTo>
                      <a:lnTo>
                        <a:pt x="108" y="474"/>
                      </a:lnTo>
                      <a:lnTo>
                        <a:pt x="96" y="480"/>
                      </a:lnTo>
                      <a:lnTo>
                        <a:pt x="90" y="492"/>
                      </a:lnTo>
                      <a:lnTo>
                        <a:pt x="84" y="498"/>
                      </a:lnTo>
                      <a:lnTo>
                        <a:pt x="66" y="498"/>
                      </a:lnTo>
                      <a:lnTo>
                        <a:pt x="54" y="492"/>
                      </a:lnTo>
                      <a:lnTo>
                        <a:pt x="42" y="492"/>
                      </a:lnTo>
                      <a:lnTo>
                        <a:pt x="36" y="486"/>
                      </a:lnTo>
                      <a:lnTo>
                        <a:pt x="30" y="486"/>
                      </a:lnTo>
                      <a:lnTo>
                        <a:pt x="30" y="504"/>
                      </a:lnTo>
                      <a:lnTo>
                        <a:pt x="36" y="510"/>
                      </a:lnTo>
                      <a:lnTo>
                        <a:pt x="36" y="522"/>
                      </a:lnTo>
                      <a:lnTo>
                        <a:pt x="24" y="522"/>
                      </a:lnTo>
                      <a:lnTo>
                        <a:pt x="54" y="540"/>
                      </a:lnTo>
                      <a:lnTo>
                        <a:pt x="36" y="552"/>
                      </a:lnTo>
                      <a:lnTo>
                        <a:pt x="54" y="564"/>
                      </a:lnTo>
                      <a:lnTo>
                        <a:pt x="54" y="600"/>
                      </a:lnTo>
                      <a:lnTo>
                        <a:pt x="48" y="606"/>
                      </a:lnTo>
                      <a:lnTo>
                        <a:pt x="30" y="588"/>
                      </a:lnTo>
                      <a:lnTo>
                        <a:pt x="6" y="600"/>
                      </a:lnTo>
                      <a:lnTo>
                        <a:pt x="0" y="618"/>
                      </a:lnTo>
                      <a:lnTo>
                        <a:pt x="54" y="666"/>
                      </a:lnTo>
                      <a:lnTo>
                        <a:pt x="54" y="684"/>
                      </a:lnTo>
                      <a:lnTo>
                        <a:pt x="72" y="702"/>
                      </a:lnTo>
                      <a:lnTo>
                        <a:pt x="72" y="690"/>
                      </a:lnTo>
                      <a:lnTo>
                        <a:pt x="90" y="690"/>
                      </a:lnTo>
                      <a:lnTo>
                        <a:pt x="90" y="672"/>
                      </a:lnTo>
                      <a:lnTo>
                        <a:pt x="102" y="666"/>
                      </a:lnTo>
                      <a:lnTo>
                        <a:pt x="108" y="660"/>
                      </a:lnTo>
                      <a:lnTo>
                        <a:pt x="120" y="654"/>
                      </a:lnTo>
                      <a:lnTo>
                        <a:pt x="126" y="648"/>
                      </a:lnTo>
                      <a:lnTo>
                        <a:pt x="132" y="654"/>
                      </a:lnTo>
                      <a:lnTo>
                        <a:pt x="132" y="660"/>
                      </a:lnTo>
                      <a:lnTo>
                        <a:pt x="138" y="666"/>
                      </a:lnTo>
                      <a:lnTo>
                        <a:pt x="138" y="672"/>
                      </a:lnTo>
                      <a:lnTo>
                        <a:pt x="150" y="672"/>
                      </a:lnTo>
                      <a:lnTo>
                        <a:pt x="150" y="678"/>
                      </a:lnTo>
                      <a:lnTo>
                        <a:pt x="156" y="684"/>
                      </a:lnTo>
                      <a:lnTo>
                        <a:pt x="156" y="690"/>
                      </a:lnTo>
                      <a:lnTo>
                        <a:pt x="162" y="696"/>
                      </a:lnTo>
                      <a:lnTo>
                        <a:pt x="174" y="696"/>
                      </a:lnTo>
                      <a:lnTo>
                        <a:pt x="180" y="690"/>
                      </a:lnTo>
                      <a:lnTo>
                        <a:pt x="186" y="678"/>
                      </a:lnTo>
                      <a:lnTo>
                        <a:pt x="186" y="660"/>
                      </a:lnTo>
                      <a:lnTo>
                        <a:pt x="210" y="666"/>
                      </a:lnTo>
                      <a:lnTo>
                        <a:pt x="228" y="648"/>
                      </a:lnTo>
                      <a:lnTo>
                        <a:pt x="234" y="648"/>
                      </a:lnTo>
                      <a:lnTo>
                        <a:pt x="234" y="678"/>
                      </a:lnTo>
                      <a:lnTo>
                        <a:pt x="228" y="690"/>
                      </a:lnTo>
                      <a:lnTo>
                        <a:pt x="234" y="696"/>
                      </a:lnTo>
                      <a:lnTo>
                        <a:pt x="252" y="696"/>
                      </a:lnTo>
                      <a:lnTo>
                        <a:pt x="264" y="690"/>
                      </a:lnTo>
                      <a:lnTo>
                        <a:pt x="270" y="684"/>
                      </a:lnTo>
                      <a:lnTo>
                        <a:pt x="276" y="672"/>
                      </a:lnTo>
                      <a:lnTo>
                        <a:pt x="294" y="654"/>
                      </a:lnTo>
                      <a:lnTo>
                        <a:pt x="300" y="642"/>
                      </a:lnTo>
                      <a:lnTo>
                        <a:pt x="312" y="630"/>
                      </a:lnTo>
                      <a:lnTo>
                        <a:pt x="330" y="630"/>
                      </a:lnTo>
                      <a:lnTo>
                        <a:pt x="336" y="624"/>
                      </a:lnTo>
                      <a:lnTo>
                        <a:pt x="366" y="582"/>
                      </a:lnTo>
                      <a:lnTo>
                        <a:pt x="360" y="480"/>
                      </a:lnTo>
                      <a:lnTo>
                        <a:pt x="366" y="480"/>
                      </a:lnTo>
                      <a:lnTo>
                        <a:pt x="390" y="456"/>
                      </a:lnTo>
                      <a:lnTo>
                        <a:pt x="390" y="420"/>
                      </a:lnTo>
                      <a:lnTo>
                        <a:pt x="396" y="408"/>
                      </a:lnTo>
                      <a:lnTo>
                        <a:pt x="402" y="402"/>
                      </a:lnTo>
                      <a:lnTo>
                        <a:pt x="450" y="378"/>
                      </a:lnTo>
                      <a:lnTo>
                        <a:pt x="456" y="366"/>
                      </a:lnTo>
                      <a:lnTo>
                        <a:pt x="468" y="360"/>
                      </a:lnTo>
                      <a:lnTo>
                        <a:pt x="474" y="354"/>
                      </a:lnTo>
                      <a:lnTo>
                        <a:pt x="474" y="300"/>
                      </a:lnTo>
                      <a:lnTo>
                        <a:pt x="486" y="294"/>
                      </a:lnTo>
                      <a:lnTo>
                        <a:pt x="492" y="282"/>
                      </a:lnTo>
                      <a:lnTo>
                        <a:pt x="492" y="258"/>
                      </a:lnTo>
                      <a:lnTo>
                        <a:pt x="486" y="246"/>
                      </a:lnTo>
                      <a:lnTo>
                        <a:pt x="480" y="240"/>
                      </a:lnTo>
                      <a:lnTo>
                        <a:pt x="480" y="228"/>
                      </a:lnTo>
                      <a:lnTo>
                        <a:pt x="498" y="192"/>
                      </a:lnTo>
                      <a:lnTo>
                        <a:pt x="498" y="168"/>
                      </a:lnTo>
                      <a:lnTo>
                        <a:pt x="492" y="156"/>
                      </a:lnTo>
                      <a:lnTo>
                        <a:pt x="492" y="126"/>
                      </a:lnTo>
                      <a:lnTo>
                        <a:pt x="498" y="120"/>
                      </a:lnTo>
                      <a:lnTo>
                        <a:pt x="510" y="96"/>
                      </a:lnTo>
                      <a:lnTo>
                        <a:pt x="522" y="84"/>
                      </a:lnTo>
                      <a:lnTo>
                        <a:pt x="528" y="66"/>
                      </a:lnTo>
                      <a:lnTo>
                        <a:pt x="534" y="54"/>
                      </a:lnTo>
                      <a:lnTo>
                        <a:pt x="534" y="18"/>
                      </a:lnTo>
                      <a:lnTo>
                        <a:pt x="522" y="6"/>
                      </a:lnTo>
                      <a:lnTo>
                        <a:pt x="510" y="18"/>
                      </a:lnTo>
                      <a:lnTo>
                        <a:pt x="498" y="18"/>
                      </a:lnTo>
                      <a:lnTo>
                        <a:pt x="462" y="0"/>
                      </a:lnTo>
                      <a:lnTo>
                        <a:pt x="444" y="0"/>
                      </a:lnTo>
                      <a:lnTo>
                        <a:pt x="426" y="18"/>
                      </a:lnTo>
                      <a:lnTo>
                        <a:pt x="396" y="18"/>
                      </a:lnTo>
                      <a:lnTo>
                        <a:pt x="378" y="48"/>
                      </a:lnTo>
                      <a:lnTo>
                        <a:pt x="390" y="60"/>
                      </a:lnTo>
                      <a:lnTo>
                        <a:pt x="390" y="84"/>
                      </a:lnTo>
                      <a:lnTo>
                        <a:pt x="384" y="96"/>
                      </a:lnTo>
                      <a:lnTo>
                        <a:pt x="378" y="102"/>
                      </a:lnTo>
                      <a:lnTo>
                        <a:pt x="372" y="114"/>
                      </a:lnTo>
                      <a:lnTo>
                        <a:pt x="366" y="12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660" name="Colombia"/>
                <p:cNvSpPr>
                  <a:spLocks/>
                </p:cNvSpPr>
                <p:nvPr/>
              </p:nvSpPr>
              <p:spPr bwMode="gray">
                <a:xfrm>
                  <a:off x="1213" y="2053"/>
                  <a:ext cx="222" cy="344"/>
                </a:xfrm>
                <a:custGeom>
                  <a:avLst/>
                  <a:gdLst>
                    <a:gd name="T0" fmla="*/ 2147483647 w 870"/>
                    <a:gd name="T1" fmla="*/ 2147483647 h 1344"/>
                    <a:gd name="T2" fmla="*/ 2147483647 w 870"/>
                    <a:gd name="T3" fmla="*/ 2147483647 h 1344"/>
                    <a:gd name="T4" fmla="*/ 2147483647 w 870"/>
                    <a:gd name="T5" fmla="*/ 2147483647 h 1344"/>
                    <a:gd name="T6" fmla="*/ 2147483647 w 870"/>
                    <a:gd name="T7" fmla="*/ 2147483647 h 1344"/>
                    <a:gd name="T8" fmla="*/ 2147483647 w 870"/>
                    <a:gd name="T9" fmla="*/ 2147483647 h 1344"/>
                    <a:gd name="T10" fmla="*/ 2147483647 w 870"/>
                    <a:gd name="T11" fmla="*/ 2147483647 h 1344"/>
                    <a:gd name="T12" fmla="*/ 2147483647 w 870"/>
                    <a:gd name="T13" fmla="*/ 2147483647 h 1344"/>
                    <a:gd name="T14" fmla="*/ 2147483647 w 870"/>
                    <a:gd name="T15" fmla="*/ 2147483647 h 1344"/>
                    <a:gd name="T16" fmla="*/ 2147483647 w 870"/>
                    <a:gd name="T17" fmla="*/ 2147483647 h 1344"/>
                    <a:gd name="T18" fmla="*/ 2147483647 w 870"/>
                    <a:gd name="T19" fmla="*/ 2147483647 h 1344"/>
                    <a:gd name="T20" fmla="*/ 2147483647 w 870"/>
                    <a:gd name="T21" fmla="*/ 2147483647 h 1344"/>
                    <a:gd name="T22" fmla="*/ 2147483647 w 870"/>
                    <a:gd name="T23" fmla="*/ 2147483647 h 1344"/>
                    <a:gd name="T24" fmla="*/ 2147483647 w 870"/>
                    <a:gd name="T25" fmla="*/ 2147483647 h 1344"/>
                    <a:gd name="T26" fmla="*/ 2147483647 w 870"/>
                    <a:gd name="T27" fmla="*/ 2147483647 h 1344"/>
                    <a:gd name="T28" fmla="*/ 2147483647 w 870"/>
                    <a:gd name="T29" fmla="*/ 2147483647 h 1344"/>
                    <a:gd name="T30" fmla="*/ 2147483647 w 870"/>
                    <a:gd name="T31" fmla="*/ 2147483647 h 1344"/>
                    <a:gd name="T32" fmla="*/ 2147483647 w 870"/>
                    <a:gd name="T33" fmla="*/ 2147483647 h 1344"/>
                    <a:gd name="T34" fmla="*/ 2147483647 w 870"/>
                    <a:gd name="T35" fmla="*/ 2147483647 h 1344"/>
                    <a:gd name="T36" fmla="*/ 2147483647 w 870"/>
                    <a:gd name="T37" fmla="*/ 2147483647 h 1344"/>
                    <a:gd name="T38" fmla="*/ 2147483647 w 870"/>
                    <a:gd name="T39" fmla="*/ 2147483647 h 1344"/>
                    <a:gd name="T40" fmla="*/ 2147483647 w 870"/>
                    <a:gd name="T41" fmla="*/ 2147483647 h 1344"/>
                    <a:gd name="T42" fmla="*/ 2147483647 w 870"/>
                    <a:gd name="T43" fmla="*/ 2147483647 h 1344"/>
                    <a:gd name="T44" fmla="*/ 2147483647 w 870"/>
                    <a:gd name="T45" fmla="*/ 2147483647 h 1344"/>
                    <a:gd name="T46" fmla="*/ 2147483647 w 870"/>
                    <a:gd name="T47" fmla="*/ 2147483647 h 1344"/>
                    <a:gd name="T48" fmla="*/ 2147483647 w 870"/>
                    <a:gd name="T49" fmla="*/ 2147483647 h 1344"/>
                    <a:gd name="T50" fmla="*/ 2147483647 w 870"/>
                    <a:gd name="T51" fmla="*/ 2147483647 h 1344"/>
                    <a:gd name="T52" fmla="*/ 2147483647 w 870"/>
                    <a:gd name="T53" fmla="*/ 2147483647 h 1344"/>
                    <a:gd name="T54" fmla="*/ 2147483647 w 870"/>
                    <a:gd name="T55" fmla="*/ 2147483647 h 1344"/>
                    <a:gd name="T56" fmla="*/ 2147483647 w 870"/>
                    <a:gd name="T57" fmla="*/ 2147483647 h 1344"/>
                    <a:gd name="T58" fmla="*/ 2147483647 w 870"/>
                    <a:gd name="T59" fmla="*/ 2147483647 h 1344"/>
                    <a:gd name="T60" fmla="*/ 2147483647 w 870"/>
                    <a:gd name="T61" fmla="*/ 2147483647 h 1344"/>
                    <a:gd name="T62" fmla="*/ 2147483647 w 870"/>
                    <a:gd name="T63" fmla="*/ 2147483647 h 1344"/>
                    <a:gd name="T64" fmla="*/ 2147483647 w 870"/>
                    <a:gd name="T65" fmla="*/ 2147483647 h 1344"/>
                    <a:gd name="T66" fmla="*/ 2147483647 w 870"/>
                    <a:gd name="T67" fmla="*/ 2147483647 h 1344"/>
                    <a:gd name="T68" fmla="*/ 2147483647 w 870"/>
                    <a:gd name="T69" fmla="*/ 2147483647 h 1344"/>
                    <a:gd name="T70" fmla="*/ 2147483647 w 870"/>
                    <a:gd name="T71" fmla="*/ 2147483647 h 1344"/>
                    <a:gd name="T72" fmla="*/ 2147483647 w 870"/>
                    <a:gd name="T73" fmla="*/ 0 h 1344"/>
                    <a:gd name="T74" fmla="*/ 2147483647 w 870"/>
                    <a:gd name="T75" fmla="*/ 2147483647 h 1344"/>
                    <a:gd name="T76" fmla="*/ 2147483647 w 870"/>
                    <a:gd name="T77" fmla="*/ 2147483647 h 1344"/>
                    <a:gd name="T78" fmla="*/ 2147483647 w 870"/>
                    <a:gd name="T79" fmla="*/ 2147483647 h 1344"/>
                    <a:gd name="T80" fmla="*/ 2147483647 w 870"/>
                    <a:gd name="T81" fmla="*/ 2147483647 h 1344"/>
                    <a:gd name="T82" fmla="*/ 2147483647 w 870"/>
                    <a:gd name="T83" fmla="*/ 2147483647 h 1344"/>
                    <a:gd name="T84" fmla="*/ 2147483647 w 870"/>
                    <a:gd name="T85" fmla="*/ 2147483647 h 1344"/>
                    <a:gd name="T86" fmla="*/ 2147483647 w 870"/>
                    <a:gd name="T87" fmla="*/ 2147483647 h 1344"/>
                    <a:gd name="T88" fmla="*/ 2147483647 w 870"/>
                    <a:gd name="T89" fmla="*/ 2147483647 h 1344"/>
                    <a:gd name="T90" fmla="*/ 2147483647 w 870"/>
                    <a:gd name="T91" fmla="*/ 2147483647 h 1344"/>
                    <a:gd name="T92" fmla="*/ 2147483647 w 870"/>
                    <a:gd name="T93" fmla="*/ 2147483647 h 1344"/>
                    <a:gd name="T94" fmla="*/ 2147483647 w 870"/>
                    <a:gd name="T95" fmla="*/ 2147483647 h 1344"/>
                    <a:gd name="T96" fmla="*/ 2147483647 w 870"/>
                    <a:gd name="T97" fmla="*/ 2147483647 h 1344"/>
                    <a:gd name="T98" fmla="*/ 2147483647 w 870"/>
                    <a:gd name="T99" fmla="*/ 2147483647 h 1344"/>
                    <a:gd name="T100" fmla="*/ 2147483647 w 870"/>
                    <a:gd name="T101" fmla="*/ 2147483647 h 1344"/>
                    <a:gd name="T102" fmla="*/ 2147483647 w 870"/>
                    <a:gd name="T103" fmla="*/ 2147483647 h 1344"/>
                    <a:gd name="T104" fmla="*/ 2147483647 w 870"/>
                    <a:gd name="T105" fmla="*/ 2147483647 h 1344"/>
                    <a:gd name="T106" fmla="*/ 2147483647 w 870"/>
                    <a:gd name="T107" fmla="*/ 2147483647 h 134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870"/>
                    <a:gd name="T163" fmla="*/ 0 h 1344"/>
                    <a:gd name="T164" fmla="*/ 870 w 870"/>
                    <a:gd name="T165" fmla="*/ 1344 h 1344"/>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870" h="1344">
                      <a:moveTo>
                        <a:pt x="36" y="912"/>
                      </a:moveTo>
                      <a:lnTo>
                        <a:pt x="60" y="924"/>
                      </a:lnTo>
                      <a:lnTo>
                        <a:pt x="66" y="936"/>
                      </a:lnTo>
                      <a:lnTo>
                        <a:pt x="84" y="936"/>
                      </a:lnTo>
                      <a:lnTo>
                        <a:pt x="96" y="942"/>
                      </a:lnTo>
                      <a:lnTo>
                        <a:pt x="102" y="948"/>
                      </a:lnTo>
                      <a:lnTo>
                        <a:pt x="108" y="960"/>
                      </a:lnTo>
                      <a:lnTo>
                        <a:pt x="108" y="966"/>
                      </a:lnTo>
                      <a:lnTo>
                        <a:pt x="114" y="972"/>
                      </a:lnTo>
                      <a:lnTo>
                        <a:pt x="126" y="978"/>
                      </a:lnTo>
                      <a:lnTo>
                        <a:pt x="138" y="978"/>
                      </a:lnTo>
                      <a:lnTo>
                        <a:pt x="144" y="972"/>
                      </a:lnTo>
                      <a:lnTo>
                        <a:pt x="156" y="978"/>
                      </a:lnTo>
                      <a:lnTo>
                        <a:pt x="162" y="984"/>
                      </a:lnTo>
                      <a:lnTo>
                        <a:pt x="186" y="984"/>
                      </a:lnTo>
                      <a:lnTo>
                        <a:pt x="186" y="972"/>
                      </a:lnTo>
                      <a:lnTo>
                        <a:pt x="192" y="966"/>
                      </a:lnTo>
                      <a:lnTo>
                        <a:pt x="198" y="966"/>
                      </a:lnTo>
                      <a:lnTo>
                        <a:pt x="210" y="972"/>
                      </a:lnTo>
                      <a:lnTo>
                        <a:pt x="210" y="978"/>
                      </a:lnTo>
                      <a:lnTo>
                        <a:pt x="216" y="984"/>
                      </a:lnTo>
                      <a:lnTo>
                        <a:pt x="216" y="990"/>
                      </a:lnTo>
                      <a:lnTo>
                        <a:pt x="228" y="1002"/>
                      </a:lnTo>
                      <a:lnTo>
                        <a:pt x="264" y="1002"/>
                      </a:lnTo>
                      <a:lnTo>
                        <a:pt x="276" y="1008"/>
                      </a:lnTo>
                      <a:lnTo>
                        <a:pt x="282" y="1014"/>
                      </a:lnTo>
                      <a:lnTo>
                        <a:pt x="294" y="1020"/>
                      </a:lnTo>
                      <a:lnTo>
                        <a:pt x="312" y="1038"/>
                      </a:lnTo>
                      <a:lnTo>
                        <a:pt x="324" y="1044"/>
                      </a:lnTo>
                      <a:lnTo>
                        <a:pt x="330" y="1050"/>
                      </a:lnTo>
                      <a:lnTo>
                        <a:pt x="342" y="1086"/>
                      </a:lnTo>
                      <a:lnTo>
                        <a:pt x="360" y="1086"/>
                      </a:lnTo>
                      <a:lnTo>
                        <a:pt x="372" y="1104"/>
                      </a:lnTo>
                      <a:lnTo>
                        <a:pt x="384" y="1104"/>
                      </a:lnTo>
                      <a:lnTo>
                        <a:pt x="390" y="1110"/>
                      </a:lnTo>
                      <a:lnTo>
                        <a:pt x="390" y="1134"/>
                      </a:lnTo>
                      <a:lnTo>
                        <a:pt x="396" y="1140"/>
                      </a:lnTo>
                      <a:lnTo>
                        <a:pt x="396" y="1146"/>
                      </a:lnTo>
                      <a:lnTo>
                        <a:pt x="408" y="1146"/>
                      </a:lnTo>
                      <a:lnTo>
                        <a:pt x="420" y="1152"/>
                      </a:lnTo>
                      <a:lnTo>
                        <a:pt x="426" y="1158"/>
                      </a:lnTo>
                      <a:lnTo>
                        <a:pt x="426" y="1164"/>
                      </a:lnTo>
                      <a:lnTo>
                        <a:pt x="420" y="1170"/>
                      </a:lnTo>
                      <a:lnTo>
                        <a:pt x="420" y="1194"/>
                      </a:lnTo>
                      <a:lnTo>
                        <a:pt x="432" y="1200"/>
                      </a:lnTo>
                      <a:lnTo>
                        <a:pt x="456" y="1206"/>
                      </a:lnTo>
                      <a:lnTo>
                        <a:pt x="492" y="1206"/>
                      </a:lnTo>
                      <a:lnTo>
                        <a:pt x="492" y="1194"/>
                      </a:lnTo>
                      <a:lnTo>
                        <a:pt x="504" y="1182"/>
                      </a:lnTo>
                      <a:lnTo>
                        <a:pt x="528" y="1182"/>
                      </a:lnTo>
                      <a:lnTo>
                        <a:pt x="534" y="1188"/>
                      </a:lnTo>
                      <a:lnTo>
                        <a:pt x="540" y="1188"/>
                      </a:lnTo>
                      <a:lnTo>
                        <a:pt x="546" y="1194"/>
                      </a:lnTo>
                      <a:lnTo>
                        <a:pt x="558" y="1194"/>
                      </a:lnTo>
                      <a:lnTo>
                        <a:pt x="570" y="1188"/>
                      </a:lnTo>
                      <a:lnTo>
                        <a:pt x="576" y="1182"/>
                      </a:lnTo>
                      <a:lnTo>
                        <a:pt x="588" y="1182"/>
                      </a:lnTo>
                      <a:lnTo>
                        <a:pt x="588" y="1188"/>
                      </a:lnTo>
                      <a:lnTo>
                        <a:pt x="594" y="1200"/>
                      </a:lnTo>
                      <a:lnTo>
                        <a:pt x="600" y="1206"/>
                      </a:lnTo>
                      <a:lnTo>
                        <a:pt x="624" y="1206"/>
                      </a:lnTo>
                      <a:lnTo>
                        <a:pt x="636" y="1212"/>
                      </a:lnTo>
                      <a:lnTo>
                        <a:pt x="642" y="1218"/>
                      </a:lnTo>
                      <a:lnTo>
                        <a:pt x="642" y="1236"/>
                      </a:lnTo>
                      <a:lnTo>
                        <a:pt x="636" y="1248"/>
                      </a:lnTo>
                      <a:lnTo>
                        <a:pt x="630" y="1254"/>
                      </a:lnTo>
                      <a:lnTo>
                        <a:pt x="624" y="1254"/>
                      </a:lnTo>
                      <a:lnTo>
                        <a:pt x="618" y="1260"/>
                      </a:lnTo>
                      <a:lnTo>
                        <a:pt x="618" y="1266"/>
                      </a:lnTo>
                      <a:lnTo>
                        <a:pt x="606" y="1290"/>
                      </a:lnTo>
                      <a:lnTo>
                        <a:pt x="606" y="1308"/>
                      </a:lnTo>
                      <a:lnTo>
                        <a:pt x="612" y="1314"/>
                      </a:lnTo>
                      <a:lnTo>
                        <a:pt x="630" y="1314"/>
                      </a:lnTo>
                      <a:lnTo>
                        <a:pt x="642" y="1332"/>
                      </a:lnTo>
                      <a:lnTo>
                        <a:pt x="660" y="1344"/>
                      </a:lnTo>
                      <a:lnTo>
                        <a:pt x="660" y="1308"/>
                      </a:lnTo>
                      <a:lnTo>
                        <a:pt x="666" y="1236"/>
                      </a:lnTo>
                      <a:lnTo>
                        <a:pt x="684" y="1188"/>
                      </a:lnTo>
                      <a:lnTo>
                        <a:pt x="678" y="1140"/>
                      </a:lnTo>
                      <a:lnTo>
                        <a:pt x="690" y="1128"/>
                      </a:lnTo>
                      <a:lnTo>
                        <a:pt x="696" y="1116"/>
                      </a:lnTo>
                      <a:lnTo>
                        <a:pt x="696" y="1104"/>
                      </a:lnTo>
                      <a:lnTo>
                        <a:pt x="690" y="1092"/>
                      </a:lnTo>
                      <a:lnTo>
                        <a:pt x="678" y="1080"/>
                      </a:lnTo>
                      <a:lnTo>
                        <a:pt x="678" y="1074"/>
                      </a:lnTo>
                      <a:lnTo>
                        <a:pt x="672" y="1068"/>
                      </a:lnTo>
                      <a:lnTo>
                        <a:pt x="672" y="1044"/>
                      </a:lnTo>
                      <a:lnTo>
                        <a:pt x="666" y="1038"/>
                      </a:lnTo>
                      <a:lnTo>
                        <a:pt x="654" y="1032"/>
                      </a:lnTo>
                      <a:lnTo>
                        <a:pt x="642" y="1020"/>
                      </a:lnTo>
                      <a:lnTo>
                        <a:pt x="636" y="1020"/>
                      </a:lnTo>
                      <a:lnTo>
                        <a:pt x="642" y="954"/>
                      </a:lnTo>
                      <a:lnTo>
                        <a:pt x="672" y="948"/>
                      </a:lnTo>
                      <a:lnTo>
                        <a:pt x="678" y="954"/>
                      </a:lnTo>
                      <a:lnTo>
                        <a:pt x="708" y="954"/>
                      </a:lnTo>
                      <a:lnTo>
                        <a:pt x="714" y="948"/>
                      </a:lnTo>
                      <a:lnTo>
                        <a:pt x="714" y="942"/>
                      </a:lnTo>
                      <a:lnTo>
                        <a:pt x="708" y="936"/>
                      </a:lnTo>
                      <a:lnTo>
                        <a:pt x="708" y="930"/>
                      </a:lnTo>
                      <a:lnTo>
                        <a:pt x="696" y="918"/>
                      </a:lnTo>
                      <a:lnTo>
                        <a:pt x="684" y="924"/>
                      </a:lnTo>
                      <a:lnTo>
                        <a:pt x="660" y="912"/>
                      </a:lnTo>
                      <a:lnTo>
                        <a:pt x="660" y="900"/>
                      </a:lnTo>
                      <a:lnTo>
                        <a:pt x="654" y="888"/>
                      </a:lnTo>
                      <a:lnTo>
                        <a:pt x="654" y="876"/>
                      </a:lnTo>
                      <a:lnTo>
                        <a:pt x="660" y="864"/>
                      </a:lnTo>
                      <a:lnTo>
                        <a:pt x="666" y="858"/>
                      </a:lnTo>
                      <a:lnTo>
                        <a:pt x="684" y="858"/>
                      </a:lnTo>
                      <a:lnTo>
                        <a:pt x="696" y="870"/>
                      </a:lnTo>
                      <a:lnTo>
                        <a:pt x="762" y="864"/>
                      </a:lnTo>
                      <a:lnTo>
                        <a:pt x="762" y="846"/>
                      </a:lnTo>
                      <a:lnTo>
                        <a:pt x="768" y="840"/>
                      </a:lnTo>
                      <a:lnTo>
                        <a:pt x="774" y="840"/>
                      </a:lnTo>
                      <a:lnTo>
                        <a:pt x="798" y="864"/>
                      </a:lnTo>
                      <a:lnTo>
                        <a:pt x="828" y="834"/>
                      </a:lnTo>
                      <a:lnTo>
                        <a:pt x="834" y="834"/>
                      </a:lnTo>
                      <a:lnTo>
                        <a:pt x="834" y="846"/>
                      </a:lnTo>
                      <a:lnTo>
                        <a:pt x="840" y="852"/>
                      </a:lnTo>
                      <a:lnTo>
                        <a:pt x="840" y="864"/>
                      </a:lnTo>
                      <a:lnTo>
                        <a:pt x="846" y="876"/>
                      </a:lnTo>
                      <a:lnTo>
                        <a:pt x="846" y="906"/>
                      </a:lnTo>
                      <a:lnTo>
                        <a:pt x="870" y="906"/>
                      </a:lnTo>
                      <a:lnTo>
                        <a:pt x="864" y="900"/>
                      </a:lnTo>
                      <a:lnTo>
                        <a:pt x="864" y="882"/>
                      </a:lnTo>
                      <a:lnTo>
                        <a:pt x="858" y="870"/>
                      </a:lnTo>
                      <a:lnTo>
                        <a:pt x="858" y="852"/>
                      </a:lnTo>
                      <a:lnTo>
                        <a:pt x="852" y="846"/>
                      </a:lnTo>
                      <a:lnTo>
                        <a:pt x="852" y="828"/>
                      </a:lnTo>
                      <a:lnTo>
                        <a:pt x="846" y="822"/>
                      </a:lnTo>
                      <a:lnTo>
                        <a:pt x="846" y="798"/>
                      </a:lnTo>
                      <a:lnTo>
                        <a:pt x="834" y="798"/>
                      </a:lnTo>
                      <a:lnTo>
                        <a:pt x="822" y="786"/>
                      </a:lnTo>
                      <a:lnTo>
                        <a:pt x="798" y="774"/>
                      </a:lnTo>
                      <a:lnTo>
                        <a:pt x="804" y="774"/>
                      </a:lnTo>
                      <a:lnTo>
                        <a:pt x="834" y="744"/>
                      </a:lnTo>
                      <a:lnTo>
                        <a:pt x="840" y="732"/>
                      </a:lnTo>
                      <a:lnTo>
                        <a:pt x="840" y="726"/>
                      </a:lnTo>
                      <a:lnTo>
                        <a:pt x="834" y="714"/>
                      </a:lnTo>
                      <a:lnTo>
                        <a:pt x="822" y="708"/>
                      </a:lnTo>
                      <a:lnTo>
                        <a:pt x="816" y="696"/>
                      </a:lnTo>
                      <a:lnTo>
                        <a:pt x="816" y="672"/>
                      </a:lnTo>
                      <a:lnTo>
                        <a:pt x="804" y="672"/>
                      </a:lnTo>
                      <a:lnTo>
                        <a:pt x="798" y="666"/>
                      </a:lnTo>
                      <a:lnTo>
                        <a:pt x="798" y="654"/>
                      </a:lnTo>
                      <a:lnTo>
                        <a:pt x="804" y="642"/>
                      </a:lnTo>
                      <a:lnTo>
                        <a:pt x="804" y="612"/>
                      </a:lnTo>
                      <a:lnTo>
                        <a:pt x="798" y="600"/>
                      </a:lnTo>
                      <a:lnTo>
                        <a:pt x="798" y="576"/>
                      </a:lnTo>
                      <a:lnTo>
                        <a:pt x="810" y="564"/>
                      </a:lnTo>
                      <a:lnTo>
                        <a:pt x="816" y="564"/>
                      </a:lnTo>
                      <a:lnTo>
                        <a:pt x="822" y="558"/>
                      </a:lnTo>
                      <a:lnTo>
                        <a:pt x="822" y="534"/>
                      </a:lnTo>
                      <a:lnTo>
                        <a:pt x="840" y="516"/>
                      </a:lnTo>
                      <a:lnTo>
                        <a:pt x="840" y="504"/>
                      </a:lnTo>
                      <a:lnTo>
                        <a:pt x="834" y="498"/>
                      </a:lnTo>
                      <a:lnTo>
                        <a:pt x="816" y="498"/>
                      </a:lnTo>
                      <a:lnTo>
                        <a:pt x="804" y="504"/>
                      </a:lnTo>
                      <a:lnTo>
                        <a:pt x="798" y="510"/>
                      </a:lnTo>
                      <a:lnTo>
                        <a:pt x="774" y="504"/>
                      </a:lnTo>
                      <a:lnTo>
                        <a:pt x="768" y="510"/>
                      </a:lnTo>
                      <a:lnTo>
                        <a:pt x="744" y="510"/>
                      </a:lnTo>
                      <a:lnTo>
                        <a:pt x="738" y="504"/>
                      </a:lnTo>
                      <a:lnTo>
                        <a:pt x="720" y="504"/>
                      </a:lnTo>
                      <a:lnTo>
                        <a:pt x="720" y="510"/>
                      </a:lnTo>
                      <a:lnTo>
                        <a:pt x="696" y="510"/>
                      </a:lnTo>
                      <a:lnTo>
                        <a:pt x="672" y="486"/>
                      </a:lnTo>
                      <a:lnTo>
                        <a:pt x="666" y="468"/>
                      </a:lnTo>
                      <a:lnTo>
                        <a:pt x="660" y="456"/>
                      </a:lnTo>
                      <a:lnTo>
                        <a:pt x="654" y="450"/>
                      </a:lnTo>
                      <a:lnTo>
                        <a:pt x="654" y="444"/>
                      </a:lnTo>
                      <a:lnTo>
                        <a:pt x="630" y="444"/>
                      </a:lnTo>
                      <a:lnTo>
                        <a:pt x="618" y="438"/>
                      </a:lnTo>
                      <a:lnTo>
                        <a:pt x="612" y="432"/>
                      </a:lnTo>
                      <a:lnTo>
                        <a:pt x="600" y="432"/>
                      </a:lnTo>
                      <a:lnTo>
                        <a:pt x="600" y="438"/>
                      </a:lnTo>
                      <a:lnTo>
                        <a:pt x="594" y="444"/>
                      </a:lnTo>
                      <a:lnTo>
                        <a:pt x="582" y="444"/>
                      </a:lnTo>
                      <a:lnTo>
                        <a:pt x="570" y="438"/>
                      </a:lnTo>
                      <a:lnTo>
                        <a:pt x="564" y="438"/>
                      </a:lnTo>
                      <a:lnTo>
                        <a:pt x="552" y="432"/>
                      </a:lnTo>
                      <a:lnTo>
                        <a:pt x="540" y="432"/>
                      </a:lnTo>
                      <a:lnTo>
                        <a:pt x="534" y="438"/>
                      </a:lnTo>
                      <a:lnTo>
                        <a:pt x="510" y="438"/>
                      </a:lnTo>
                      <a:lnTo>
                        <a:pt x="504" y="432"/>
                      </a:lnTo>
                      <a:lnTo>
                        <a:pt x="498" y="420"/>
                      </a:lnTo>
                      <a:lnTo>
                        <a:pt x="498" y="408"/>
                      </a:lnTo>
                      <a:lnTo>
                        <a:pt x="486" y="408"/>
                      </a:lnTo>
                      <a:lnTo>
                        <a:pt x="486" y="366"/>
                      </a:lnTo>
                      <a:lnTo>
                        <a:pt x="498" y="342"/>
                      </a:lnTo>
                      <a:lnTo>
                        <a:pt x="498" y="330"/>
                      </a:lnTo>
                      <a:lnTo>
                        <a:pt x="492" y="324"/>
                      </a:lnTo>
                      <a:lnTo>
                        <a:pt x="480" y="318"/>
                      </a:lnTo>
                      <a:lnTo>
                        <a:pt x="474" y="312"/>
                      </a:lnTo>
                      <a:lnTo>
                        <a:pt x="474" y="276"/>
                      </a:lnTo>
                      <a:lnTo>
                        <a:pt x="468" y="264"/>
                      </a:lnTo>
                      <a:lnTo>
                        <a:pt x="456" y="252"/>
                      </a:lnTo>
                      <a:lnTo>
                        <a:pt x="450" y="252"/>
                      </a:lnTo>
                      <a:lnTo>
                        <a:pt x="438" y="264"/>
                      </a:lnTo>
                      <a:lnTo>
                        <a:pt x="438" y="270"/>
                      </a:lnTo>
                      <a:lnTo>
                        <a:pt x="432" y="264"/>
                      </a:lnTo>
                      <a:lnTo>
                        <a:pt x="432" y="252"/>
                      </a:lnTo>
                      <a:lnTo>
                        <a:pt x="438" y="240"/>
                      </a:lnTo>
                      <a:lnTo>
                        <a:pt x="462" y="216"/>
                      </a:lnTo>
                      <a:lnTo>
                        <a:pt x="462" y="192"/>
                      </a:lnTo>
                      <a:lnTo>
                        <a:pt x="468" y="186"/>
                      </a:lnTo>
                      <a:lnTo>
                        <a:pt x="468" y="168"/>
                      </a:lnTo>
                      <a:lnTo>
                        <a:pt x="480" y="132"/>
                      </a:lnTo>
                      <a:lnTo>
                        <a:pt x="504" y="108"/>
                      </a:lnTo>
                      <a:lnTo>
                        <a:pt x="522" y="102"/>
                      </a:lnTo>
                      <a:lnTo>
                        <a:pt x="534" y="90"/>
                      </a:lnTo>
                      <a:lnTo>
                        <a:pt x="540" y="78"/>
                      </a:lnTo>
                      <a:lnTo>
                        <a:pt x="540" y="72"/>
                      </a:lnTo>
                      <a:lnTo>
                        <a:pt x="546" y="66"/>
                      </a:lnTo>
                      <a:lnTo>
                        <a:pt x="558" y="66"/>
                      </a:lnTo>
                      <a:lnTo>
                        <a:pt x="564" y="60"/>
                      </a:lnTo>
                      <a:lnTo>
                        <a:pt x="570" y="60"/>
                      </a:lnTo>
                      <a:lnTo>
                        <a:pt x="576" y="54"/>
                      </a:lnTo>
                      <a:lnTo>
                        <a:pt x="582" y="54"/>
                      </a:lnTo>
                      <a:lnTo>
                        <a:pt x="600" y="36"/>
                      </a:lnTo>
                      <a:lnTo>
                        <a:pt x="600" y="12"/>
                      </a:lnTo>
                      <a:lnTo>
                        <a:pt x="594" y="6"/>
                      </a:lnTo>
                      <a:lnTo>
                        <a:pt x="582" y="0"/>
                      </a:lnTo>
                      <a:lnTo>
                        <a:pt x="570" y="6"/>
                      </a:lnTo>
                      <a:lnTo>
                        <a:pt x="546" y="6"/>
                      </a:lnTo>
                      <a:lnTo>
                        <a:pt x="540" y="12"/>
                      </a:lnTo>
                      <a:lnTo>
                        <a:pt x="534" y="12"/>
                      </a:lnTo>
                      <a:lnTo>
                        <a:pt x="522" y="24"/>
                      </a:lnTo>
                      <a:lnTo>
                        <a:pt x="522" y="36"/>
                      </a:lnTo>
                      <a:lnTo>
                        <a:pt x="516" y="48"/>
                      </a:lnTo>
                      <a:lnTo>
                        <a:pt x="504" y="60"/>
                      </a:lnTo>
                      <a:lnTo>
                        <a:pt x="492" y="60"/>
                      </a:lnTo>
                      <a:lnTo>
                        <a:pt x="480" y="54"/>
                      </a:lnTo>
                      <a:lnTo>
                        <a:pt x="474" y="54"/>
                      </a:lnTo>
                      <a:lnTo>
                        <a:pt x="444" y="84"/>
                      </a:lnTo>
                      <a:lnTo>
                        <a:pt x="444" y="90"/>
                      </a:lnTo>
                      <a:lnTo>
                        <a:pt x="408" y="102"/>
                      </a:lnTo>
                      <a:lnTo>
                        <a:pt x="402" y="96"/>
                      </a:lnTo>
                      <a:lnTo>
                        <a:pt x="390" y="90"/>
                      </a:lnTo>
                      <a:lnTo>
                        <a:pt x="384" y="90"/>
                      </a:lnTo>
                      <a:lnTo>
                        <a:pt x="378" y="102"/>
                      </a:lnTo>
                      <a:lnTo>
                        <a:pt x="378" y="120"/>
                      </a:lnTo>
                      <a:lnTo>
                        <a:pt x="372" y="132"/>
                      </a:lnTo>
                      <a:lnTo>
                        <a:pt x="366" y="138"/>
                      </a:lnTo>
                      <a:lnTo>
                        <a:pt x="354" y="138"/>
                      </a:lnTo>
                      <a:lnTo>
                        <a:pt x="354" y="132"/>
                      </a:lnTo>
                      <a:lnTo>
                        <a:pt x="360" y="126"/>
                      </a:lnTo>
                      <a:lnTo>
                        <a:pt x="354" y="120"/>
                      </a:lnTo>
                      <a:lnTo>
                        <a:pt x="342" y="120"/>
                      </a:lnTo>
                      <a:lnTo>
                        <a:pt x="330" y="126"/>
                      </a:lnTo>
                      <a:lnTo>
                        <a:pt x="318" y="126"/>
                      </a:lnTo>
                      <a:lnTo>
                        <a:pt x="312" y="132"/>
                      </a:lnTo>
                      <a:lnTo>
                        <a:pt x="306" y="132"/>
                      </a:lnTo>
                      <a:lnTo>
                        <a:pt x="300" y="144"/>
                      </a:lnTo>
                      <a:lnTo>
                        <a:pt x="288" y="150"/>
                      </a:lnTo>
                      <a:lnTo>
                        <a:pt x="282" y="162"/>
                      </a:lnTo>
                      <a:lnTo>
                        <a:pt x="276" y="168"/>
                      </a:lnTo>
                      <a:lnTo>
                        <a:pt x="276" y="186"/>
                      </a:lnTo>
                      <a:lnTo>
                        <a:pt x="282" y="192"/>
                      </a:lnTo>
                      <a:lnTo>
                        <a:pt x="264" y="222"/>
                      </a:lnTo>
                      <a:lnTo>
                        <a:pt x="276" y="246"/>
                      </a:lnTo>
                      <a:lnTo>
                        <a:pt x="252" y="246"/>
                      </a:lnTo>
                      <a:lnTo>
                        <a:pt x="240" y="252"/>
                      </a:lnTo>
                      <a:lnTo>
                        <a:pt x="228" y="264"/>
                      </a:lnTo>
                      <a:lnTo>
                        <a:pt x="228" y="276"/>
                      </a:lnTo>
                      <a:lnTo>
                        <a:pt x="222" y="288"/>
                      </a:lnTo>
                      <a:lnTo>
                        <a:pt x="216" y="294"/>
                      </a:lnTo>
                      <a:lnTo>
                        <a:pt x="204" y="294"/>
                      </a:lnTo>
                      <a:lnTo>
                        <a:pt x="198" y="300"/>
                      </a:lnTo>
                      <a:lnTo>
                        <a:pt x="192" y="300"/>
                      </a:lnTo>
                      <a:lnTo>
                        <a:pt x="174" y="306"/>
                      </a:lnTo>
                      <a:lnTo>
                        <a:pt x="186" y="330"/>
                      </a:lnTo>
                      <a:lnTo>
                        <a:pt x="186" y="366"/>
                      </a:lnTo>
                      <a:lnTo>
                        <a:pt x="168" y="366"/>
                      </a:lnTo>
                      <a:lnTo>
                        <a:pt x="168" y="360"/>
                      </a:lnTo>
                      <a:lnTo>
                        <a:pt x="174" y="354"/>
                      </a:lnTo>
                      <a:lnTo>
                        <a:pt x="174" y="342"/>
                      </a:lnTo>
                      <a:lnTo>
                        <a:pt x="144" y="312"/>
                      </a:lnTo>
                      <a:lnTo>
                        <a:pt x="138" y="312"/>
                      </a:lnTo>
                      <a:lnTo>
                        <a:pt x="132" y="318"/>
                      </a:lnTo>
                      <a:lnTo>
                        <a:pt x="132" y="336"/>
                      </a:lnTo>
                      <a:lnTo>
                        <a:pt x="138" y="348"/>
                      </a:lnTo>
                      <a:lnTo>
                        <a:pt x="150" y="354"/>
                      </a:lnTo>
                      <a:lnTo>
                        <a:pt x="150" y="366"/>
                      </a:lnTo>
                      <a:lnTo>
                        <a:pt x="138" y="390"/>
                      </a:lnTo>
                      <a:lnTo>
                        <a:pt x="132" y="396"/>
                      </a:lnTo>
                      <a:lnTo>
                        <a:pt x="120" y="390"/>
                      </a:lnTo>
                      <a:lnTo>
                        <a:pt x="114" y="384"/>
                      </a:lnTo>
                      <a:lnTo>
                        <a:pt x="102" y="414"/>
                      </a:lnTo>
                      <a:lnTo>
                        <a:pt x="114" y="438"/>
                      </a:lnTo>
                      <a:lnTo>
                        <a:pt x="114" y="450"/>
                      </a:lnTo>
                      <a:lnTo>
                        <a:pt x="126" y="462"/>
                      </a:lnTo>
                      <a:lnTo>
                        <a:pt x="132" y="474"/>
                      </a:lnTo>
                      <a:lnTo>
                        <a:pt x="132" y="480"/>
                      </a:lnTo>
                      <a:lnTo>
                        <a:pt x="120" y="492"/>
                      </a:lnTo>
                      <a:lnTo>
                        <a:pt x="114" y="492"/>
                      </a:lnTo>
                      <a:lnTo>
                        <a:pt x="132" y="516"/>
                      </a:lnTo>
                      <a:lnTo>
                        <a:pt x="138" y="552"/>
                      </a:lnTo>
                      <a:lnTo>
                        <a:pt x="114" y="558"/>
                      </a:lnTo>
                      <a:lnTo>
                        <a:pt x="132" y="576"/>
                      </a:lnTo>
                      <a:lnTo>
                        <a:pt x="132" y="636"/>
                      </a:lnTo>
                      <a:lnTo>
                        <a:pt x="120" y="642"/>
                      </a:lnTo>
                      <a:lnTo>
                        <a:pt x="114" y="654"/>
                      </a:lnTo>
                      <a:lnTo>
                        <a:pt x="114" y="678"/>
                      </a:lnTo>
                      <a:lnTo>
                        <a:pt x="138" y="702"/>
                      </a:lnTo>
                      <a:lnTo>
                        <a:pt x="138" y="720"/>
                      </a:lnTo>
                      <a:lnTo>
                        <a:pt x="132" y="732"/>
                      </a:lnTo>
                      <a:lnTo>
                        <a:pt x="120" y="738"/>
                      </a:lnTo>
                      <a:lnTo>
                        <a:pt x="114" y="750"/>
                      </a:lnTo>
                      <a:lnTo>
                        <a:pt x="102" y="756"/>
                      </a:lnTo>
                      <a:lnTo>
                        <a:pt x="96" y="762"/>
                      </a:lnTo>
                      <a:lnTo>
                        <a:pt x="114" y="774"/>
                      </a:lnTo>
                      <a:lnTo>
                        <a:pt x="84" y="798"/>
                      </a:lnTo>
                      <a:lnTo>
                        <a:pt x="66" y="798"/>
                      </a:lnTo>
                      <a:lnTo>
                        <a:pt x="54" y="804"/>
                      </a:lnTo>
                      <a:lnTo>
                        <a:pt x="36" y="810"/>
                      </a:lnTo>
                      <a:lnTo>
                        <a:pt x="30" y="822"/>
                      </a:lnTo>
                      <a:lnTo>
                        <a:pt x="30" y="846"/>
                      </a:lnTo>
                      <a:lnTo>
                        <a:pt x="36" y="852"/>
                      </a:lnTo>
                      <a:lnTo>
                        <a:pt x="36" y="858"/>
                      </a:lnTo>
                      <a:lnTo>
                        <a:pt x="6" y="858"/>
                      </a:lnTo>
                      <a:lnTo>
                        <a:pt x="0" y="864"/>
                      </a:lnTo>
                      <a:lnTo>
                        <a:pt x="0" y="876"/>
                      </a:lnTo>
                      <a:lnTo>
                        <a:pt x="6" y="888"/>
                      </a:lnTo>
                      <a:lnTo>
                        <a:pt x="18" y="894"/>
                      </a:lnTo>
                      <a:lnTo>
                        <a:pt x="24" y="906"/>
                      </a:lnTo>
                      <a:lnTo>
                        <a:pt x="36" y="912"/>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661" name="Chile"/>
                <p:cNvSpPr>
                  <a:spLocks noEditPoints="1"/>
                </p:cNvSpPr>
                <p:nvPr/>
              </p:nvSpPr>
              <p:spPr bwMode="gray">
                <a:xfrm>
                  <a:off x="1392" y="2673"/>
                  <a:ext cx="296" cy="775"/>
                </a:xfrm>
                <a:custGeom>
                  <a:avLst/>
                  <a:gdLst>
                    <a:gd name="T0" fmla="*/ 2147483647 w 1158"/>
                    <a:gd name="T1" fmla="*/ 2147483647 h 3030"/>
                    <a:gd name="T2" fmla="*/ 2147483647 w 1158"/>
                    <a:gd name="T3" fmla="*/ 2147483647 h 3030"/>
                    <a:gd name="T4" fmla="*/ 2147483647 w 1158"/>
                    <a:gd name="T5" fmla="*/ 2147483647 h 3030"/>
                    <a:gd name="T6" fmla="*/ 2147483647 w 1158"/>
                    <a:gd name="T7" fmla="*/ 2147483647 h 3030"/>
                    <a:gd name="T8" fmla="*/ 2147483647 w 1158"/>
                    <a:gd name="T9" fmla="*/ 2147483647 h 3030"/>
                    <a:gd name="T10" fmla="*/ 2147483647 w 1158"/>
                    <a:gd name="T11" fmla="*/ 2147483647 h 3030"/>
                    <a:gd name="T12" fmla="*/ 2147483647 w 1158"/>
                    <a:gd name="T13" fmla="*/ 2147483647 h 3030"/>
                    <a:gd name="T14" fmla="*/ 2147483647 w 1158"/>
                    <a:gd name="T15" fmla="*/ 2147483647 h 3030"/>
                    <a:gd name="T16" fmla="*/ 2147483647 w 1158"/>
                    <a:gd name="T17" fmla="*/ 2147483647 h 3030"/>
                    <a:gd name="T18" fmla="*/ 2147483647 w 1158"/>
                    <a:gd name="T19" fmla="*/ 2147483647 h 3030"/>
                    <a:gd name="T20" fmla="*/ 2147483647 w 1158"/>
                    <a:gd name="T21" fmla="*/ 2147483647 h 3030"/>
                    <a:gd name="T22" fmla="*/ 2147483647 w 1158"/>
                    <a:gd name="T23" fmla="*/ 2147483647 h 3030"/>
                    <a:gd name="T24" fmla="*/ 2147483647 w 1158"/>
                    <a:gd name="T25" fmla="*/ 2147483647 h 3030"/>
                    <a:gd name="T26" fmla="*/ 2147483647 w 1158"/>
                    <a:gd name="T27" fmla="*/ 2147483647 h 3030"/>
                    <a:gd name="T28" fmla="*/ 2147483647 w 1158"/>
                    <a:gd name="T29" fmla="*/ 2147483647 h 3030"/>
                    <a:gd name="T30" fmla="*/ 2147483647 w 1158"/>
                    <a:gd name="T31" fmla="*/ 2147483647 h 3030"/>
                    <a:gd name="T32" fmla="*/ 2147483647 w 1158"/>
                    <a:gd name="T33" fmla="*/ 2147483647 h 3030"/>
                    <a:gd name="T34" fmla="*/ 2147483647 w 1158"/>
                    <a:gd name="T35" fmla="*/ 2147483647 h 3030"/>
                    <a:gd name="T36" fmla="*/ 2147483647 w 1158"/>
                    <a:gd name="T37" fmla="*/ 2147483647 h 3030"/>
                    <a:gd name="T38" fmla="*/ 2147483647 w 1158"/>
                    <a:gd name="T39" fmla="*/ 2147483647 h 3030"/>
                    <a:gd name="T40" fmla="*/ 2147483647 w 1158"/>
                    <a:gd name="T41" fmla="*/ 2147483647 h 3030"/>
                    <a:gd name="T42" fmla="*/ 2147483647 w 1158"/>
                    <a:gd name="T43" fmla="*/ 2147483647 h 3030"/>
                    <a:gd name="T44" fmla="*/ 2147483647 w 1158"/>
                    <a:gd name="T45" fmla="*/ 2147483647 h 3030"/>
                    <a:gd name="T46" fmla="*/ 2147483647 w 1158"/>
                    <a:gd name="T47" fmla="*/ 2147483647 h 3030"/>
                    <a:gd name="T48" fmla="*/ 2147483647 w 1158"/>
                    <a:gd name="T49" fmla="*/ 2147483647 h 3030"/>
                    <a:gd name="T50" fmla="*/ 2147483647 w 1158"/>
                    <a:gd name="T51" fmla="*/ 2147483647 h 3030"/>
                    <a:gd name="T52" fmla="*/ 2147483647 w 1158"/>
                    <a:gd name="T53" fmla="*/ 2147483647 h 3030"/>
                    <a:gd name="T54" fmla="*/ 2147483647 w 1158"/>
                    <a:gd name="T55" fmla="*/ 2147483647 h 3030"/>
                    <a:gd name="T56" fmla="*/ 2147483647 w 1158"/>
                    <a:gd name="T57" fmla="*/ 2147483647 h 3030"/>
                    <a:gd name="T58" fmla="*/ 2147483647 w 1158"/>
                    <a:gd name="T59" fmla="*/ 2147483647 h 3030"/>
                    <a:gd name="T60" fmla="*/ 2147483647 w 1158"/>
                    <a:gd name="T61" fmla="*/ 2147483647 h 3030"/>
                    <a:gd name="T62" fmla="*/ 2147483647 w 1158"/>
                    <a:gd name="T63" fmla="*/ 2147483647 h 3030"/>
                    <a:gd name="T64" fmla="*/ 2147483647 w 1158"/>
                    <a:gd name="T65" fmla="*/ 2147483647 h 3030"/>
                    <a:gd name="T66" fmla="*/ 2147483647 w 1158"/>
                    <a:gd name="T67" fmla="*/ 2147483647 h 3030"/>
                    <a:gd name="T68" fmla="*/ 2147483647 w 1158"/>
                    <a:gd name="T69" fmla="*/ 2147483647 h 3030"/>
                    <a:gd name="T70" fmla="*/ 2147483647 w 1158"/>
                    <a:gd name="T71" fmla="*/ 2147483647 h 3030"/>
                    <a:gd name="T72" fmla="*/ 2147483647 w 1158"/>
                    <a:gd name="T73" fmla="*/ 2147483647 h 3030"/>
                    <a:gd name="T74" fmla="*/ 2147483647 w 1158"/>
                    <a:gd name="T75" fmla="*/ 2147483647 h 3030"/>
                    <a:gd name="T76" fmla="*/ 2147483647 w 1158"/>
                    <a:gd name="T77" fmla="*/ 2147483647 h 3030"/>
                    <a:gd name="T78" fmla="*/ 0 w 1158"/>
                    <a:gd name="T79" fmla="*/ 2147483647 h 3030"/>
                    <a:gd name="T80" fmla="*/ 2147483647 w 1158"/>
                    <a:gd name="T81" fmla="*/ 2147483647 h 3030"/>
                    <a:gd name="T82" fmla="*/ 2147483647 w 1158"/>
                    <a:gd name="T83" fmla="*/ 2147483647 h 3030"/>
                    <a:gd name="T84" fmla="*/ 2147483647 w 1158"/>
                    <a:gd name="T85" fmla="*/ 2147483647 h 3030"/>
                    <a:gd name="T86" fmla="*/ 2147483647 w 1158"/>
                    <a:gd name="T87" fmla="*/ 2147483647 h 3030"/>
                    <a:gd name="T88" fmla="*/ 2147483647 w 1158"/>
                    <a:gd name="T89" fmla="*/ 2147483647 h 3030"/>
                    <a:gd name="T90" fmla="*/ 2147483647 w 1158"/>
                    <a:gd name="T91" fmla="*/ 2147483647 h 3030"/>
                    <a:gd name="T92" fmla="*/ 2147483647 w 1158"/>
                    <a:gd name="T93" fmla="*/ 2147483647 h 3030"/>
                    <a:gd name="T94" fmla="*/ 2147483647 w 1158"/>
                    <a:gd name="T95" fmla="*/ 2147483647 h 3030"/>
                    <a:gd name="T96" fmla="*/ 2147483647 w 1158"/>
                    <a:gd name="T97" fmla="*/ 2147483647 h 3030"/>
                    <a:gd name="T98" fmla="*/ 2147483647 w 1158"/>
                    <a:gd name="T99" fmla="*/ 2147483647 h 3030"/>
                    <a:gd name="T100" fmla="*/ 2147483647 w 1158"/>
                    <a:gd name="T101" fmla="*/ 2147483647 h 3030"/>
                    <a:gd name="T102" fmla="*/ 2147483647 w 1158"/>
                    <a:gd name="T103" fmla="*/ 2147483647 h 3030"/>
                    <a:gd name="T104" fmla="*/ 2147483647 w 1158"/>
                    <a:gd name="T105" fmla="*/ 2147483647 h 3030"/>
                    <a:gd name="T106" fmla="*/ 2147483647 w 1158"/>
                    <a:gd name="T107" fmla="*/ 2147483647 h 3030"/>
                    <a:gd name="T108" fmla="*/ 2147483647 w 1158"/>
                    <a:gd name="T109" fmla="*/ 2147483647 h 3030"/>
                    <a:gd name="T110" fmla="*/ 2147483647 w 1158"/>
                    <a:gd name="T111" fmla="*/ 2147483647 h 3030"/>
                    <a:gd name="T112" fmla="*/ 2147483647 w 1158"/>
                    <a:gd name="T113" fmla="*/ 2147483647 h 3030"/>
                    <a:gd name="T114" fmla="*/ 2147483647 w 1158"/>
                    <a:gd name="T115" fmla="*/ 2147483647 h 3030"/>
                    <a:gd name="T116" fmla="*/ 2147483647 w 1158"/>
                    <a:gd name="T117" fmla="*/ 2147483647 h 3030"/>
                    <a:gd name="T118" fmla="*/ 2147483647 w 1158"/>
                    <a:gd name="T119" fmla="*/ 2147483647 h 3030"/>
                    <a:gd name="T120" fmla="*/ 2147483647 w 1158"/>
                    <a:gd name="T121" fmla="*/ 2147483647 h 3030"/>
                    <a:gd name="T122" fmla="*/ 2147483647 w 1158"/>
                    <a:gd name="T123" fmla="*/ 2147483647 h 303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158"/>
                    <a:gd name="T187" fmla="*/ 0 h 3030"/>
                    <a:gd name="T188" fmla="*/ 1158 w 1158"/>
                    <a:gd name="T189" fmla="*/ 3030 h 303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158" h="3030">
                      <a:moveTo>
                        <a:pt x="1014" y="2910"/>
                      </a:moveTo>
                      <a:lnTo>
                        <a:pt x="984" y="2898"/>
                      </a:lnTo>
                      <a:lnTo>
                        <a:pt x="966" y="2880"/>
                      </a:lnTo>
                      <a:lnTo>
                        <a:pt x="948" y="2874"/>
                      </a:lnTo>
                      <a:lnTo>
                        <a:pt x="942" y="2862"/>
                      </a:lnTo>
                      <a:lnTo>
                        <a:pt x="936" y="2856"/>
                      </a:lnTo>
                      <a:lnTo>
                        <a:pt x="936" y="2850"/>
                      </a:lnTo>
                      <a:lnTo>
                        <a:pt x="906" y="2850"/>
                      </a:lnTo>
                      <a:lnTo>
                        <a:pt x="912" y="2832"/>
                      </a:lnTo>
                      <a:lnTo>
                        <a:pt x="870" y="2796"/>
                      </a:lnTo>
                      <a:lnTo>
                        <a:pt x="840" y="2802"/>
                      </a:lnTo>
                      <a:lnTo>
                        <a:pt x="828" y="2796"/>
                      </a:lnTo>
                      <a:lnTo>
                        <a:pt x="816" y="2808"/>
                      </a:lnTo>
                      <a:lnTo>
                        <a:pt x="792" y="2814"/>
                      </a:lnTo>
                      <a:lnTo>
                        <a:pt x="798" y="2832"/>
                      </a:lnTo>
                      <a:lnTo>
                        <a:pt x="780" y="2832"/>
                      </a:lnTo>
                      <a:lnTo>
                        <a:pt x="780" y="2862"/>
                      </a:lnTo>
                      <a:lnTo>
                        <a:pt x="786" y="2868"/>
                      </a:lnTo>
                      <a:lnTo>
                        <a:pt x="798" y="2868"/>
                      </a:lnTo>
                      <a:lnTo>
                        <a:pt x="810" y="2862"/>
                      </a:lnTo>
                      <a:lnTo>
                        <a:pt x="816" y="2856"/>
                      </a:lnTo>
                      <a:lnTo>
                        <a:pt x="828" y="2850"/>
                      </a:lnTo>
                      <a:lnTo>
                        <a:pt x="834" y="2844"/>
                      </a:lnTo>
                      <a:lnTo>
                        <a:pt x="858" y="2856"/>
                      </a:lnTo>
                      <a:lnTo>
                        <a:pt x="858" y="2874"/>
                      </a:lnTo>
                      <a:lnTo>
                        <a:pt x="846" y="2880"/>
                      </a:lnTo>
                      <a:lnTo>
                        <a:pt x="828" y="2898"/>
                      </a:lnTo>
                      <a:lnTo>
                        <a:pt x="822" y="2898"/>
                      </a:lnTo>
                      <a:lnTo>
                        <a:pt x="828" y="2904"/>
                      </a:lnTo>
                      <a:lnTo>
                        <a:pt x="882" y="2922"/>
                      </a:lnTo>
                      <a:lnTo>
                        <a:pt x="912" y="2928"/>
                      </a:lnTo>
                      <a:lnTo>
                        <a:pt x="924" y="2934"/>
                      </a:lnTo>
                      <a:lnTo>
                        <a:pt x="906" y="2958"/>
                      </a:lnTo>
                      <a:lnTo>
                        <a:pt x="906" y="2952"/>
                      </a:lnTo>
                      <a:lnTo>
                        <a:pt x="894" y="2940"/>
                      </a:lnTo>
                      <a:lnTo>
                        <a:pt x="876" y="2940"/>
                      </a:lnTo>
                      <a:lnTo>
                        <a:pt x="870" y="2946"/>
                      </a:lnTo>
                      <a:lnTo>
                        <a:pt x="870" y="2952"/>
                      </a:lnTo>
                      <a:lnTo>
                        <a:pt x="852" y="2928"/>
                      </a:lnTo>
                      <a:lnTo>
                        <a:pt x="834" y="2934"/>
                      </a:lnTo>
                      <a:lnTo>
                        <a:pt x="846" y="2946"/>
                      </a:lnTo>
                      <a:lnTo>
                        <a:pt x="816" y="2940"/>
                      </a:lnTo>
                      <a:lnTo>
                        <a:pt x="822" y="2946"/>
                      </a:lnTo>
                      <a:lnTo>
                        <a:pt x="828" y="2958"/>
                      </a:lnTo>
                      <a:lnTo>
                        <a:pt x="834" y="2964"/>
                      </a:lnTo>
                      <a:lnTo>
                        <a:pt x="894" y="2964"/>
                      </a:lnTo>
                      <a:lnTo>
                        <a:pt x="906" y="2970"/>
                      </a:lnTo>
                      <a:lnTo>
                        <a:pt x="1050" y="2970"/>
                      </a:lnTo>
                      <a:lnTo>
                        <a:pt x="1074" y="2982"/>
                      </a:lnTo>
                      <a:lnTo>
                        <a:pt x="1080" y="2988"/>
                      </a:lnTo>
                      <a:lnTo>
                        <a:pt x="1086" y="2988"/>
                      </a:lnTo>
                      <a:lnTo>
                        <a:pt x="1122" y="2970"/>
                      </a:lnTo>
                      <a:lnTo>
                        <a:pt x="1140" y="2976"/>
                      </a:lnTo>
                      <a:lnTo>
                        <a:pt x="1152" y="2976"/>
                      </a:lnTo>
                      <a:lnTo>
                        <a:pt x="1158" y="2952"/>
                      </a:lnTo>
                      <a:lnTo>
                        <a:pt x="1140" y="2952"/>
                      </a:lnTo>
                      <a:lnTo>
                        <a:pt x="1086" y="2940"/>
                      </a:lnTo>
                      <a:lnTo>
                        <a:pt x="1014" y="2910"/>
                      </a:lnTo>
                      <a:close/>
                      <a:moveTo>
                        <a:pt x="990" y="2988"/>
                      </a:moveTo>
                      <a:lnTo>
                        <a:pt x="1014" y="3000"/>
                      </a:lnTo>
                      <a:lnTo>
                        <a:pt x="1068" y="3006"/>
                      </a:lnTo>
                      <a:lnTo>
                        <a:pt x="1038" y="2982"/>
                      </a:lnTo>
                      <a:lnTo>
                        <a:pt x="990" y="2988"/>
                      </a:lnTo>
                      <a:close/>
                      <a:moveTo>
                        <a:pt x="960" y="2994"/>
                      </a:moveTo>
                      <a:lnTo>
                        <a:pt x="966" y="2982"/>
                      </a:lnTo>
                      <a:lnTo>
                        <a:pt x="888" y="2982"/>
                      </a:lnTo>
                      <a:lnTo>
                        <a:pt x="906" y="3012"/>
                      </a:lnTo>
                      <a:lnTo>
                        <a:pt x="936" y="3018"/>
                      </a:lnTo>
                      <a:lnTo>
                        <a:pt x="930" y="3006"/>
                      </a:lnTo>
                      <a:lnTo>
                        <a:pt x="936" y="3000"/>
                      </a:lnTo>
                      <a:lnTo>
                        <a:pt x="948" y="3012"/>
                      </a:lnTo>
                      <a:lnTo>
                        <a:pt x="996" y="3012"/>
                      </a:lnTo>
                      <a:lnTo>
                        <a:pt x="1008" y="3030"/>
                      </a:lnTo>
                      <a:lnTo>
                        <a:pt x="1026" y="3030"/>
                      </a:lnTo>
                      <a:lnTo>
                        <a:pt x="996" y="3000"/>
                      </a:lnTo>
                      <a:lnTo>
                        <a:pt x="960" y="2994"/>
                      </a:lnTo>
                      <a:close/>
                      <a:moveTo>
                        <a:pt x="804" y="2946"/>
                      </a:moveTo>
                      <a:lnTo>
                        <a:pt x="744" y="2940"/>
                      </a:lnTo>
                      <a:lnTo>
                        <a:pt x="750" y="2958"/>
                      </a:lnTo>
                      <a:lnTo>
                        <a:pt x="792" y="2958"/>
                      </a:lnTo>
                      <a:lnTo>
                        <a:pt x="804" y="2976"/>
                      </a:lnTo>
                      <a:lnTo>
                        <a:pt x="864" y="3000"/>
                      </a:lnTo>
                      <a:lnTo>
                        <a:pt x="828" y="2970"/>
                      </a:lnTo>
                      <a:lnTo>
                        <a:pt x="804" y="2946"/>
                      </a:lnTo>
                      <a:close/>
                      <a:moveTo>
                        <a:pt x="804" y="2880"/>
                      </a:moveTo>
                      <a:lnTo>
                        <a:pt x="786" y="2898"/>
                      </a:lnTo>
                      <a:lnTo>
                        <a:pt x="792" y="2928"/>
                      </a:lnTo>
                      <a:lnTo>
                        <a:pt x="816" y="2922"/>
                      </a:lnTo>
                      <a:lnTo>
                        <a:pt x="804" y="2880"/>
                      </a:lnTo>
                      <a:close/>
                      <a:moveTo>
                        <a:pt x="774" y="2928"/>
                      </a:moveTo>
                      <a:lnTo>
                        <a:pt x="768" y="2910"/>
                      </a:lnTo>
                      <a:lnTo>
                        <a:pt x="720" y="2898"/>
                      </a:lnTo>
                      <a:lnTo>
                        <a:pt x="708" y="2916"/>
                      </a:lnTo>
                      <a:lnTo>
                        <a:pt x="708" y="2934"/>
                      </a:lnTo>
                      <a:lnTo>
                        <a:pt x="744" y="2922"/>
                      </a:lnTo>
                      <a:lnTo>
                        <a:pt x="774" y="2928"/>
                      </a:lnTo>
                      <a:close/>
                      <a:moveTo>
                        <a:pt x="612" y="2772"/>
                      </a:moveTo>
                      <a:lnTo>
                        <a:pt x="606" y="2766"/>
                      </a:lnTo>
                      <a:lnTo>
                        <a:pt x="594" y="2766"/>
                      </a:lnTo>
                      <a:lnTo>
                        <a:pt x="588" y="2760"/>
                      </a:lnTo>
                      <a:lnTo>
                        <a:pt x="570" y="2760"/>
                      </a:lnTo>
                      <a:lnTo>
                        <a:pt x="570" y="2766"/>
                      </a:lnTo>
                      <a:lnTo>
                        <a:pt x="564" y="2778"/>
                      </a:lnTo>
                      <a:lnTo>
                        <a:pt x="564" y="2808"/>
                      </a:lnTo>
                      <a:lnTo>
                        <a:pt x="570" y="2808"/>
                      </a:lnTo>
                      <a:lnTo>
                        <a:pt x="576" y="2802"/>
                      </a:lnTo>
                      <a:lnTo>
                        <a:pt x="588" y="2802"/>
                      </a:lnTo>
                      <a:lnTo>
                        <a:pt x="594" y="2796"/>
                      </a:lnTo>
                      <a:lnTo>
                        <a:pt x="600" y="2820"/>
                      </a:lnTo>
                      <a:lnTo>
                        <a:pt x="630" y="2808"/>
                      </a:lnTo>
                      <a:lnTo>
                        <a:pt x="612" y="2790"/>
                      </a:lnTo>
                      <a:lnTo>
                        <a:pt x="618" y="2772"/>
                      </a:lnTo>
                      <a:lnTo>
                        <a:pt x="612" y="2772"/>
                      </a:lnTo>
                      <a:close/>
                      <a:moveTo>
                        <a:pt x="552" y="2826"/>
                      </a:moveTo>
                      <a:lnTo>
                        <a:pt x="516" y="2808"/>
                      </a:lnTo>
                      <a:lnTo>
                        <a:pt x="546" y="2832"/>
                      </a:lnTo>
                      <a:lnTo>
                        <a:pt x="588" y="2844"/>
                      </a:lnTo>
                      <a:lnTo>
                        <a:pt x="606" y="2850"/>
                      </a:lnTo>
                      <a:lnTo>
                        <a:pt x="588" y="2832"/>
                      </a:lnTo>
                      <a:lnTo>
                        <a:pt x="552" y="2826"/>
                      </a:lnTo>
                      <a:close/>
                      <a:moveTo>
                        <a:pt x="552" y="2748"/>
                      </a:moveTo>
                      <a:lnTo>
                        <a:pt x="534" y="2730"/>
                      </a:lnTo>
                      <a:lnTo>
                        <a:pt x="528" y="2766"/>
                      </a:lnTo>
                      <a:lnTo>
                        <a:pt x="504" y="2772"/>
                      </a:lnTo>
                      <a:lnTo>
                        <a:pt x="546" y="2784"/>
                      </a:lnTo>
                      <a:lnTo>
                        <a:pt x="552" y="2748"/>
                      </a:lnTo>
                      <a:close/>
                      <a:moveTo>
                        <a:pt x="444" y="2736"/>
                      </a:moveTo>
                      <a:lnTo>
                        <a:pt x="480" y="2772"/>
                      </a:lnTo>
                      <a:lnTo>
                        <a:pt x="492" y="2760"/>
                      </a:lnTo>
                      <a:lnTo>
                        <a:pt x="462" y="2724"/>
                      </a:lnTo>
                      <a:lnTo>
                        <a:pt x="444" y="2736"/>
                      </a:lnTo>
                      <a:close/>
                      <a:moveTo>
                        <a:pt x="516" y="2724"/>
                      </a:moveTo>
                      <a:lnTo>
                        <a:pt x="504" y="2718"/>
                      </a:lnTo>
                      <a:lnTo>
                        <a:pt x="492" y="2730"/>
                      </a:lnTo>
                      <a:lnTo>
                        <a:pt x="504" y="2748"/>
                      </a:lnTo>
                      <a:lnTo>
                        <a:pt x="516" y="2724"/>
                      </a:lnTo>
                      <a:close/>
                      <a:moveTo>
                        <a:pt x="456" y="2706"/>
                      </a:moveTo>
                      <a:lnTo>
                        <a:pt x="462" y="2676"/>
                      </a:lnTo>
                      <a:lnTo>
                        <a:pt x="456" y="2640"/>
                      </a:lnTo>
                      <a:lnTo>
                        <a:pt x="438" y="2634"/>
                      </a:lnTo>
                      <a:lnTo>
                        <a:pt x="438" y="2652"/>
                      </a:lnTo>
                      <a:lnTo>
                        <a:pt x="408" y="2646"/>
                      </a:lnTo>
                      <a:lnTo>
                        <a:pt x="432" y="2682"/>
                      </a:lnTo>
                      <a:lnTo>
                        <a:pt x="426" y="2724"/>
                      </a:lnTo>
                      <a:lnTo>
                        <a:pt x="456" y="2706"/>
                      </a:lnTo>
                      <a:close/>
                      <a:moveTo>
                        <a:pt x="366" y="2622"/>
                      </a:moveTo>
                      <a:lnTo>
                        <a:pt x="384" y="2628"/>
                      </a:lnTo>
                      <a:lnTo>
                        <a:pt x="390" y="2658"/>
                      </a:lnTo>
                      <a:lnTo>
                        <a:pt x="396" y="2628"/>
                      </a:lnTo>
                      <a:lnTo>
                        <a:pt x="402" y="2604"/>
                      </a:lnTo>
                      <a:lnTo>
                        <a:pt x="372" y="2598"/>
                      </a:lnTo>
                      <a:lnTo>
                        <a:pt x="366" y="2622"/>
                      </a:lnTo>
                      <a:close/>
                      <a:moveTo>
                        <a:pt x="372" y="2586"/>
                      </a:moveTo>
                      <a:lnTo>
                        <a:pt x="378" y="2586"/>
                      </a:lnTo>
                      <a:lnTo>
                        <a:pt x="378" y="2580"/>
                      </a:lnTo>
                      <a:lnTo>
                        <a:pt x="384" y="2574"/>
                      </a:lnTo>
                      <a:lnTo>
                        <a:pt x="414" y="2598"/>
                      </a:lnTo>
                      <a:lnTo>
                        <a:pt x="414" y="2574"/>
                      </a:lnTo>
                      <a:lnTo>
                        <a:pt x="384" y="2544"/>
                      </a:lnTo>
                      <a:lnTo>
                        <a:pt x="378" y="2532"/>
                      </a:lnTo>
                      <a:lnTo>
                        <a:pt x="372" y="2526"/>
                      </a:lnTo>
                      <a:lnTo>
                        <a:pt x="360" y="2502"/>
                      </a:lnTo>
                      <a:lnTo>
                        <a:pt x="360" y="2490"/>
                      </a:lnTo>
                      <a:lnTo>
                        <a:pt x="342" y="2454"/>
                      </a:lnTo>
                      <a:lnTo>
                        <a:pt x="330" y="2448"/>
                      </a:lnTo>
                      <a:lnTo>
                        <a:pt x="324" y="2442"/>
                      </a:lnTo>
                      <a:lnTo>
                        <a:pt x="318" y="2442"/>
                      </a:lnTo>
                      <a:lnTo>
                        <a:pt x="312" y="2448"/>
                      </a:lnTo>
                      <a:lnTo>
                        <a:pt x="312" y="2454"/>
                      </a:lnTo>
                      <a:lnTo>
                        <a:pt x="294" y="2448"/>
                      </a:lnTo>
                      <a:lnTo>
                        <a:pt x="288" y="2454"/>
                      </a:lnTo>
                      <a:lnTo>
                        <a:pt x="288" y="2466"/>
                      </a:lnTo>
                      <a:lnTo>
                        <a:pt x="282" y="2472"/>
                      </a:lnTo>
                      <a:lnTo>
                        <a:pt x="282" y="2490"/>
                      </a:lnTo>
                      <a:lnTo>
                        <a:pt x="330" y="2490"/>
                      </a:lnTo>
                      <a:lnTo>
                        <a:pt x="312" y="2532"/>
                      </a:lnTo>
                      <a:lnTo>
                        <a:pt x="324" y="2532"/>
                      </a:lnTo>
                      <a:lnTo>
                        <a:pt x="348" y="2508"/>
                      </a:lnTo>
                      <a:lnTo>
                        <a:pt x="342" y="2532"/>
                      </a:lnTo>
                      <a:lnTo>
                        <a:pt x="342" y="2538"/>
                      </a:lnTo>
                      <a:lnTo>
                        <a:pt x="348" y="2544"/>
                      </a:lnTo>
                      <a:lnTo>
                        <a:pt x="366" y="2580"/>
                      </a:lnTo>
                      <a:lnTo>
                        <a:pt x="366" y="2586"/>
                      </a:lnTo>
                      <a:lnTo>
                        <a:pt x="372" y="2586"/>
                      </a:lnTo>
                      <a:close/>
                      <a:moveTo>
                        <a:pt x="246" y="2082"/>
                      </a:moveTo>
                      <a:lnTo>
                        <a:pt x="246" y="2034"/>
                      </a:lnTo>
                      <a:lnTo>
                        <a:pt x="216" y="2004"/>
                      </a:lnTo>
                      <a:lnTo>
                        <a:pt x="234" y="1992"/>
                      </a:lnTo>
                      <a:lnTo>
                        <a:pt x="210" y="1968"/>
                      </a:lnTo>
                      <a:lnTo>
                        <a:pt x="174" y="1956"/>
                      </a:lnTo>
                      <a:lnTo>
                        <a:pt x="174" y="1986"/>
                      </a:lnTo>
                      <a:lnTo>
                        <a:pt x="180" y="1998"/>
                      </a:lnTo>
                      <a:lnTo>
                        <a:pt x="180" y="2004"/>
                      </a:lnTo>
                      <a:lnTo>
                        <a:pt x="192" y="2016"/>
                      </a:lnTo>
                      <a:lnTo>
                        <a:pt x="198" y="2028"/>
                      </a:lnTo>
                      <a:lnTo>
                        <a:pt x="204" y="2034"/>
                      </a:lnTo>
                      <a:lnTo>
                        <a:pt x="204" y="2046"/>
                      </a:lnTo>
                      <a:lnTo>
                        <a:pt x="198" y="2064"/>
                      </a:lnTo>
                      <a:lnTo>
                        <a:pt x="246" y="2082"/>
                      </a:lnTo>
                      <a:close/>
                      <a:moveTo>
                        <a:pt x="246" y="2178"/>
                      </a:moveTo>
                      <a:lnTo>
                        <a:pt x="258" y="2190"/>
                      </a:lnTo>
                      <a:lnTo>
                        <a:pt x="282" y="2190"/>
                      </a:lnTo>
                      <a:lnTo>
                        <a:pt x="294" y="2172"/>
                      </a:lnTo>
                      <a:lnTo>
                        <a:pt x="264" y="2178"/>
                      </a:lnTo>
                      <a:lnTo>
                        <a:pt x="246" y="2178"/>
                      </a:lnTo>
                      <a:close/>
                      <a:moveTo>
                        <a:pt x="282" y="2220"/>
                      </a:moveTo>
                      <a:lnTo>
                        <a:pt x="282" y="2238"/>
                      </a:lnTo>
                      <a:lnTo>
                        <a:pt x="306" y="2256"/>
                      </a:lnTo>
                      <a:lnTo>
                        <a:pt x="306" y="2232"/>
                      </a:lnTo>
                      <a:lnTo>
                        <a:pt x="294" y="2208"/>
                      </a:lnTo>
                      <a:lnTo>
                        <a:pt x="258" y="2208"/>
                      </a:lnTo>
                      <a:lnTo>
                        <a:pt x="282" y="2220"/>
                      </a:lnTo>
                      <a:close/>
                      <a:moveTo>
                        <a:pt x="318" y="2190"/>
                      </a:moveTo>
                      <a:lnTo>
                        <a:pt x="324" y="2184"/>
                      </a:lnTo>
                      <a:lnTo>
                        <a:pt x="336" y="2178"/>
                      </a:lnTo>
                      <a:lnTo>
                        <a:pt x="348" y="2166"/>
                      </a:lnTo>
                      <a:lnTo>
                        <a:pt x="336" y="2154"/>
                      </a:lnTo>
                      <a:lnTo>
                        <a:pt x="324" y="2154"/>
                      </a:lnTo>
                      <a:lnTo>
                        <a:pt x="312" y="2160"/>
                      </a:lnTo>
                      <a:lnTo>
                        <a:pt x="306" y="2166"/>
                      </a:lnTo>
                      <a:lnTo>
                        <a:pt x="306" y="2184"/>
                      </a:lnTo>
                      <a:lnTo>
                        <a:pt x="312" y="2190"/>
                      </a:lnTo>
                      <a:lnTo>
                        <a:pt x="318" y="2190"/>
                      </a:lnTo>
                      <a:close/>
                      <a:moveTo>
                        <a:pt x="252" y="2112"/>
                      </a:moveTo>
                      <a:lnTo>
                        <a:pt x="240" y="2118"/>
                      </a:lnTo>
                      <a:lnTo>
                        <a:pt x="240" y="2136"/>
                      </a:lnTo>
                      <a:lnTo>
                        <a:pt x="252" y="2136"/>
                      </a:lnTo>
                      <a:lnTo>
                        <a:pt x="264" y="2124"/>
                      </a:lnTo>
                      <a:lnTo>
                        <a:pt x="264" y="2106"/>
                      </a:lnTo>
                      <a:lnTo>
                        <a:pt x="258" y="2106"/>
                      </a:lnTo>
                      <a:lnTo>
                        <a:pt x="252" y="2112"/>
                      </a:lnTo>
                      <a:close/>
                      <a:moveTo>
                        <a:pt x="234" y="2154"/>
                      </a:moveTo>
                      <a:lnTo>
                        <a:pt x="216" y="2154"/>
                      </a:lnTo>
                      <a:lnTo>
                        <a:pt x="228" y="2178"/>
                      </a:lnTo>
                      <a:lnTo>
                        <a:pt x="234" y="2154"/>
                      </a:lnTo>
                      <a:close/>
                      <a:moveTo>
                        <a:pt x="714" y="2874"/>
                      </a:moveTo>
                      <a:lnTo>
                        <a:pt x="726" y="2874"/>
                      </a:lnTo>
                      <a:lnTo>
                        <a:pt x="726" y="2886"/>
                      </a:lnTo>
                      <a:lnTo>
                        <a:pt x="768" y="2886"/>
                      </a:lnTo>
                      <a:lnTo>
                        <a:pt x="774" y="2880"/>
                      </a:lnTo>
                      <a:lnTo>
                        <a:pt x="774" y="2874"/>
                      </a:lnTo>
                      <a:lnTo>
                        <a:pt x="744" y="2844"/>
                      </a:lnTo>
                      <a:lnTo>
                        <a:pt x="744" y="2808"/>
                      </a:lnTo>
                      <a:lnTo>
                        <a:pt x="786" y="2802"/>
                      </a:lnTo>
                      <a:lnTo>
                        <a:pt x="780" y="2790"/>
                      </a:lnTo>
                      <a:lnTo>
                        <a:pt x="804" y="2790"/>
                      </a:lnTo>
                      <a:lnTo>
                        <a:pt x="816" y="2772"/>
                      </a:lnTo>
                      <a:lnTo>
                        <a:pt x="792" y="2754"/>
                      </a:lnTo>
                      <a:lnTo>
                        <a:pt x="696" y="2754"/>
                      </a:lnTo>
                      <a:lnTo>
                        <a:pt x="684" y="2760"/>
                      </a:lnTo>
                      <a:lnTo>
                        <a:pt x="672" y="2760"/>
                      </a:lnTo>
                      <a:lnTo>
                        <a:pt x="654" y="2742"/>
                      </a:lnTo>
                      <a:lnTo>
                        <a:pt x="618" y="2724"/>
                      </a:lnTo>
                      <a:lnTo>
                        <a:pt x="606" y="2706"/>
                      </a:lnTo>
                      <a:lnTo>
                        <a:pt x="588" y="2682"/>
                      </a:lnTo>
                      <a:lnTo>
                        <a:pt x="588" y="2658"/>
                      </a:lnTo>
                      <a:lnTo>
                        <a:pt x="576" y="2646"/>
                      </a:lnTo>
                      <a:lnTo>
                        <a:pt x="564" y="2640"/>
                      </a:lnTo>
                      <a:lnTo>
                        <a:pt x="546" y="2640"/>
                      </a:lnTo>
                      <a:lnTo>
                        <a:pt x="534" y="2652"/>
                      </a:lnTo>
                      <a:lnTo>
                        <a:pt x="528" y="2652"/>
                      </a:lnTo>
                      <a:lnTo>
                        <a:pt x="516" y="2646"/>
                      </a:lnTo>
                      <a:lnTo>
                        <a:pt x="510" y="2640"/>
                      </a:lnTo>
                      <a:lnTo>
                        <a:pt x="510" y="2628"/>
                      </a:lnTo>
                      <a:lnTo>
                        <a:pt x="504" y="2622"/>
                      </a:lnTo>
                      <a:lnTo>
                        <a:pt x="504" y="2616"/>
                      </a:lnTo>
                      <a:lnTo>
                        <a:pt x="474" y="2610"/>
                      </a:lnTo>
                      <a:lnTo>
                        <a:pt x="474" y="2574"/>
                      </a:lnTo>
                      <a:lnTo>
                        <a:pt x="468" y="2568"/>
                      </a:lnTo>
                      <a:lnTo>
                        <a:pt x="462" y="2556"/>
                      </a:lnTo>
                      <a:lnTo>
                        <a:pt x="462" y="2544"/>
                      </a:lnTo>
                      <a:lnTo>
                        <a:pt x="474" y="2538"/>
                      </a:lnTo>
                      <a:lnTo>
                        <a:pt x="474" y="2514"/>
                      </a:lnTo>
                      <a:lnTo>
                        <a:pt x="480" y="2514"/>
                      </a:lnTo>
                      <a:lnTo>
                        <a:pt x="486" y="2508"/>
                      </a:lnTo>
                      <a:lnTo>
                        <a:pt x="492" y="2508"/>
                      </a:lnTo>
                      <a:lnTo>
                        <a:pt x="498" y="2502"/>
                      </a:lnTo>
                      <a:lnTo>
                        <a:pt x="498" y="2496"/>
                      </a:lnTo>
                      <a:lnTo>
                        <a:pt x="474" y="2472"/>
                      </a:lnTo>
                      <a:lnTo>
                        <a:pt x="480" y="2466"/>
                      </a:lnTo>
                      <a:lnTo>
                        <a:pt x="492" y="2460"/>
                      </a:lnTo>
                      <a:lnTo>
                        <a:pt x="498" y="2460"/>
                      </a:lnTo>
                      <a:lnTo>
                        <a:pt x="498" y="2454"/>
                      </a:lnTo>
                      <a:lnTo>
                        <a:pt x="474" y="2430"/>
                      </a:lnTo>
                      <a:lnTo>
                        <a:pt x="468" y="2430"/>
                      </a:lnTo>
                      <a:lnTo>
                        <a:pt x="474" y="2388"/>
                      </a:lnTo>
                      <a:lnTo>
                        <a:pt x="486" y="2382"/>
                      </a:lnTo>
                      <a:lnTo>
                        <a:pt x="474" y="2358"/>
                      </a:lnTo>
                      <a:lnTo>
                        <a:pt x="480" y="2322"/>
                      </a:lnTo>
                      <a:lnTo>
                        <a:pt x="456" y="2298"/>
                      </a:lnTo>
                      <a:lnTo>
                        <a:pt x="462" y="2274"/>
                      </a:lnTo>
                      <a:lnTo>
                        <a:pt x="438" y="2256"/>
                      </a:lnTo>
                      <a:lnTo>
                        <a:pt x="450" y="2244"/>
                      </a:lnTo>
                      <a:lnTo>
                        <a:pt x="456" y="2232"/>
                      </a:lnTo>
                      <a:lnTo>
                        <a:pt x="462" y="2226"/>
                      </a:lnTo>
                      <a:lnTo>
                        <a:pt x="438" y="2202"/>
                      </a:lnTo>
                      <a:lnTo>
                        <a:pt x="426" y="2202"/>
                      </a:lnTo>
                      <a:lnTo>
                        <a:pt x="420" y="2196"/>
                      </a:lnTo>
                      <a:lnTo>
                        <a:pt x="408" y="2190"/>
                      </a:lnTo>
                      <a:lnTo>
                        <a:pt x="402" y="2190"/>
                      </a:lnTo>
                      <a:lnTo>
                        <a:pt x="396" y="2184"/>
                      </a:lnTo>
                      <a:lnTo>
                        <a:pt x="414" y="2184"/>
                      </a:lnTo>
                      <a:lnTo>
                        <a:pt x="426" y="2178"/>
                      </a:lnTo>
                      <a:lnTo>
                        <a:pt x="438" y="2178"/>
                      </a:lnTo>
                      <a:lnTo>
                        <a:pt x="444" y="2172"/>
                      </a:lnTo>
                      <a:lnTo>
                        <a:pt x="444" y="2166"/>
                      </a:lnTo>
                      <a:lnTo>
                        <a:pt x="432" y="2160"/>
                      </a:lnTo>
                      <a:lnTo>
                        <a:pt x="402" y="2160"/>
                      </a:lnTo>
                      <a:lnTo>
                        <a:pt x="390" y="2148"/>
                      </a:lnTo>
                      <a:lnTo>
                        <a:pt x="390" y="2118"/>
                      </a:lnTo>
                      <a:lnTo>
                        <a:pt x="384" y="2106"/>
                      </a:lnTo>
                      <a:lnTo>
                        <a:pt x="384" y="2100"/>
                      </a:lnTo>
                      <a:lnTo>
                        <a:pt x="378" y="2094"/>
                      </a:lnTo>
                      <a:lnTo>
                        <a:pt x="366" y="2088"/>
                      </a:lnTo>
                      <a:lnTo>
                        <a:pt x="360" y="2088"/>
                      </a:lnTo>
                      <a:lnTo>
                        <a:pt x="366" y="2058"/>
                      </a:lnTo>
                      <a:lnTo>
                        <a:pt x="342" y="2046"/>
                      </a:lnTo>
                      <a:lnTo>
                        <a:pt x="336" y="2040"/>
                      </a:lnTo>
                      <a:lnTo>
                        <a:pt x="336" y="2028"/>
                      </a:lnTo>
                      <a:lnTo>
                        <a:pt x="330" y="2016"/>
                      </a:lnTo>
                      <a:lnTo>
                        <a:pt x="330" y="1998"/>
                      </a:lnTo>
                      <a:lnTo>
                        <a:pt x="324" y="1986"/>
                      </a:lnTo>
                      <a:lnTo>
                        <a:pt x="324" y="1974"/>
                      </a:lnTo>
                      <a:lnTo>
                        <a:pt x="330" y="1968"/>
                      </a:lnTo>
                      <a:lnTo>
                        <a:pt x="342" y="1962"/>
                      </a:lnTo>
                      <a:lnTo>
                        <a:pt x="348" y="1962"/>
                      </a:lnTo>
                      <a:lnTo>
                        <a:pt x="336" y="1950"/>
                      </a:lnTo>
                      <a:lnTo>
                        <a:pt x="324" y="1944"/>
                      </a:lnTo>
                      <a:lnTo>
                        <a:pt x="306" y="1926"/>
                      </a:lnTo>
                      <a:lnTo>
                        <a:pt x="300" y="1914"/>
                      </a:lnTo>
                      <a:lnTo>
                        <a:pt x="300" y="1890"/>
                      </a:lnTo>
                      <a:lnTo>
                        <a:pt x="294" y="1878"/>
                      </a:lnTo>
                      <a:lnTo>
                        <a:pt x="288" y="1872"/>
                      </a:lnTo>
                      <a:lnTo>
                        <a:pt x="288" y="1842"/>
                      </a:lnTo>
                      <a:lnTo>
                        <a:pt x="294" y="1836"/>
                      </a:lnTo>
                      <a:lnTo>
                        <a:pt x="294" y="1824"/>
                      </a:lnTo>
                      <a:lnTo>
                        <a:pt x="276" y="1812"/>
                      </a:lnTo>
                      <a:lnTo>
                        <a:pt x="276" y="1806"/>
                      </a:lnTo>
                      <a:lnTo>
                        <a:pt x="282" y="1794"/>
                      </a:lnTo>
                      <a:lnTo>
                        <a:pt x="282" y="1788"/>
                      </a:lnTo>
                      <a:lnTo>
                        <a:pt x="264" y="1770"/>
                      </a:lnTo>
                      <a:lnTo>
                        <a:pt x="282" y="1758"/>
                      </a:lnTo>
                      <a:lnTo>
                        <a:pt x="270" y="1716"/>
                      </a:lnTo>
                      <a:lnTo>
                        <a:pt x="276" y="1716"/>
                      </a:lnTo>
                      <a:lnTo>
                        <a:pt x="282" y="1710"/>
                      </a:lnTo>
                      <a:lnTo>
                        <a:pt x="294" y="1704"/>
                      </a:lnTo>
                      <a:lnTo>
                        <a:pt x="300" y="1692"/>
                      </a:lnTo>
                      <a:lnTo>
                        <a:pt x="300" y="1686"/>
                      </a:lnTo>
                      <a:lnTo>
                        <a:pt x="282" y="1668"/>
                      </a:lnTo>
                      <a:lnTo>
                        <a:pt x="276" y="1668"/>
                      </a:lnTo>
                      <a:lnTo>
                        <a:pt x="276" y="1650"/>
                      </a:lnTo>
                      <a:lnTo>
                        <a:pt x="246" y="1626"/>
                      </a:lnTo>
                      <a:lnTo>
                        <a:pt x="246" y="1578"/>
                      </a:lnTo>
                      <a:lnTo>
                        <a:pt x="240" y="1566"/>
                      </a:lnTo>
                      <a:lnTo>
                        <a:pt x="234" y="1548"/>
                      </a:lnTo>
                      <a:lnTo>
                        <a:pt x="234" y="1536"/>
                      </a:lnTo>
                      <a:lnTo>
                        <a:pt x="228" y="1530"/>
                      </a:lnTo>
                      <a:lnTo>
                        <a:pt x="228" y="1524"/>
                      </a:lnTo>
                      <a:lnTo>
                        <a:pt x="252" y="1518"/>
                      </a:lnTo>
                      <a:lnTo>
                        <a:pt x="258" y="1500"/>
                      </a:lnTo>
                      <a:lnTo>
                        <a:pt x="258" y="1494"/>
                      </a:lnTo>
                      <a:lnTo>
                        <a:pt x="264" y="1482"/>
                      </a:lnTo>
                      <a:lnTo>
                        <a:pt x="264" y="1470"/>
                      </a:lnTo>
                      <a:lnTo>
                        <a:pt x="258" y="1464"/>
                      </a:lnTo>
                      <a:lnTo>
                        <a:pt x="252" y="1452"/>
                      </a:lnTo>
                      <a:lnTo>
                        <a:pt x="246" y="1446"/>
                      </a:lnTo>
                      <a:lnTo>
                        <a:pt x="240" y="1434"/>
                      </a:lnTo>
                      <a:lnTo>
                        <a:pt x="234" y="1428"/>
                      </a:lnTo>
                      <a:lnTo>
                        <a:pt x="246" y="1428"/>
                      </a:lnTo>
                      <a:lnTo>
                        <a:pt x="246" y="1398"/>
                      </a:lnTo>
                      <a:lnTo>
                        <a:pt x="252" y="1380"/>
                      </a:lnTo>
                      <a:lnTo>
                        <a:pt x="252" y="1356"/>
                      </a:lnTo>
                      <a:lnTo>
                        <a:pt x="270" y="1338"/>
                      </a:lnTo>
                      <a:lnTo>
                        <a:pt x="270" y="1332"/>
                      </a:lnTo>
                      <a:lnTo>
                        <a:pt x="264" y="1320"/>
                      </a:lnTo>
                      <a:lnTo>
                        <a:pt x="258" y="1314"/>
                      </a:lnTo>
                      <a:lnTo>
                        <a:pt x="252" y="1302"/>
                      </a:lnTo>
                      <a:lnTo>
                        <a:pt x="246" y="1260"/>
                      </a:lnTo>
                      <a:lnTo>
                        <a:pt x="222" y="1260"/>
                      </a:lnTo>
                      <a:lnTo>
                        <a:pt x="210" y="1248"/>
                      </a:lnTo>
                      <a:lnTo>
                        <a:pt x="210" y="1236"/>
                      </a:lnTo>
                      <a:lnTo>
                        <a:pt x="216" y="1230"/>
                      </a:lnTo>
                      <a:lnTo>
                        <a:pt x="210" y="1218"/>
                      </a:lnTo>
                      <a:lnTo>
                        <a:pt x="198" y="1188"/>
                      </a:lnTo>
                      <a:lnTo>
                        <a:pt x="180" y="1170"/>
                      </a:lnTo>
                      <a:lnTo>
                        <a:pt x="180" y="1164"/>
                      </a:lnTo>
                      <a:lnTo>
                        <a:pt x="186" y="1158"/>
                      </a:lnTo>
                      <a:lnTo>
                        <a:pt x="186" y="1146"/>
                      </a:lnTo>
                      <a:lnTo>
                        <a:pt x="168" y="1128"/>
                      </a:lnTo>
                      <a:lnTo>
                        <a:pt x="156" y="1122"/>
                      </a:lnTo>
                      <a:lnTo>
                        <a:pt x="156" y="1116"/>
                      </a:lnTo>
                      <a:lnTo>
                        <a:pt x="150" y="1110"/>
                      </a:lnTo>
                      <a:lnTo>
                        <a:pt x="150" y="1086"/>
                      </a:lnTo>
                      <a:lnTo>
                        <a:pt x="156" y="1086"/>
                      </a:lnTo>
                      <a:lnTo>
                        <a:pt x="168" y="1080"/>
                      </a:lnTo>
                      <a:lnTo>
                        <a:pt x="162" y="1026"/>
                      </a:lnTo>
                      <a:lnTo>
                        <a:pt x="186" y="1026"/>
                      </a:lnTo>
                      <a:lnTo>
                        <a:pt x="186" y="1020"/>
                      </a:lnTo>
                      <a:lnTo>
                        <a:pt x="180" y="1008"/>
                      </a:lnTo>
                      <a:lnTo>
                        <a:pt x="168" y="972"/>
                      </a:lnTo>
                      <a:lnTo>
                        <a:pt x="156" y="948"/>
                      </a:lnTo>
                      <a:lnTo>
                        <a:pt x="156" y="936"/>
                      </a:lnTo>
                      <a:lnTo>
                        <a:pt x="168" y="924"/>
                      </a:lnTo>
                      <a:lnTo>
                        <a:pt x="168" y="858"/>
                      </a:lnTo>
                      <a:lnTo>
                        <a:pt x="174" y="852"/>
                      </a:lnTo>
                      <a:lnTo>
                        <a:pt x="180" y="840"/>
                      </a:lnTo>
                      <a:lnTo>
                        <a:pt x="192" y="828"/>
                      </a:lnTo>
                      <a:lnTo>
                        <a:pt x="192" y="816"/>
                      </a:lnTo>
                      <a:lnTo>
                        <a:pt x="198" y="804"/>
                      </a:lnTo>
                      <a:lnTo>
                        <a:pt x="198" y="792"/>
                      </a:lnTo>
                      <a:lnTo>
                        <a:pt x="204" y="774"/>
                      </a:lnTo>
                      <a:lnTo>
                        <a:pt x="204" y="762"/>
                      </a:lnTo>
                      <a:lnTo>
                        <a:pt x="222" y="762"/>
                      </a:lnTo>
                      <a:lnTo>
                        <a:pt x="228" y="756"/>
                      </a:lnTo>
                      <a:lnTo>
                        <a:pt x="240" y="750"/>
                      </a:lnTo>
                      <a:lnTo>
                        <a:pt x="240" y="738"/>
                      </a:lnTo>
                      <a:lnTo>
                        <a:pt x="234" y="726"/>
                      </a:lnTo>
                      <a:lnTo>
                        <a:pt x="210" y="714"/>
                      </a:lnTo>
                      <a:lnTo>
                        <a:pt x="204" y="708"/>
                      </a:lnTo>
                      <a:lnTo>
                        <a:pt x="198" y="708"/>
                      </a:lnTo>
                      <a:lnTo>
                        <a:pt x="204" y="708"/>
                      </a:lnTo>
                      <a:lnTo>
                        <a:pt x="216" y="696"/>
                      </a:lnTo>
                      <a:lnTo>
                        <a:pt x="222" y="684"/>
                      </a:lnTo>
                      <a:lnTo>
                        <a:pt x="228" y="678"/>
                      </a:lnTo>
                      <a:lnTo>
                        <a:pt x="222" y="666"/>
                      </a:lnTo>
                      <a:lnTo>
                        <a:pt x="210" y="654"/>
                      </a:lnTo>
                      <a:lnTo>
                        <a:pt x="198" y="648"/>
                      </a:lnTo>
                      <a:lnTo>
                        <a:pt x="192" y="642"/>
                      </a:lnTo>
                      <a:lnTo>
                        <a:pt x="192" y="624"/>
                      </a:lnTo>
                      <a:lnTo>
                        <a:pt x="216" y="600"/>
                      </a:lnTo>
                      <a:lnTo>
                        <a:pt x="216" y="594"/>
                      </a:lnTo>
                      <a:lnTo>
                        <a:pt x="204" y="594"/>
                      </a:lnTo>
                      <a:lnTo>
                        <a:pt x="192" y="588"/>
                      </a:lnTo>
                      <a:lnTo>
                        <a:pt x="186" y="582"/>
                      </a:lnTo>
                      <a:lnTo>
                        <a:pt x="186" y="576"/>
                      </a:lnTo>
                      <a:lnTo>
                        <a:pt x="192" y="570"/>
                      </a:lnTo>
                      <a:lnTo>
                        <a:pt x="198" y="558"/>
                      </a:lnTo>
                      <a:lnTo>
                        <a:pt x="210" y="552"/>
                      </a:lnTo>
                      <a:lnTo>
                        <a:pt x="222" y="540"/>
                      </a:lnTo>
                      <a:lnTo>
                        <a:pt x="240" y="534"/>
                      </a:lnTo>
                      <a:lnTo>
                        <a:pt x="252" y="528"/>
                      </a:lnTo>
                      <a:lnTo>
                        <a:pt x="258" y="522"/>
                      </a:lnTo>
                      <a:lnTo>
                        <a:pt x="264" y="522"/>
                      </a:lnTo>
                      <a:lnTo>
                        <a:pt x="276" y="438"/>
                      </a:lnTo>
                      <a:lnTo>
                        <a:pt x="264" y="420"/>
                      </a:lnTo>
                      <a:lnTo>
                        <a:pt x="222" y="420"/>
                      </a:lnTo>
                      <a:lnTo>
                        <a:pt x="216" y="408"/>
                      </a:lnTo>
                      <a:lnTo>
                        <a:pt x="216" y="384"/>
                      </a:lnTo>
                      <a:lnTo>
                        <a:pt x="192" y="360"/>
                      </a:lnTo>
                      <a:lnTo>
                        <a:pt x="192" y="294"/>
                      </a:lnTo>
                      <a:lnTo>
                        <a:pt x="186" y="288"/>
                      </a:lnTo>
                      <a:lnTo>
                        <a:pt x="174" y="282"/>
                      </a:lnTo>
                      <a:lnTo>
                        <a:pt x="168" y="276"/>
                      </a:lnTo>
                      <a:lnTo>
                        <a:pt x="156" y="270"/>
                      </a:lnTo>
                      <a:lnTo>
                        <a:pt x="150" y="264"/>
                      </a:lnTo>
                      <a:lnTo>
                        <a:pt x="144" y="264"/>
                      </a:lnTo>
                      <a:lnTo>
                        <a:pt x="144" y="240"/>
                      </a:lnTo>
                      <a:lnTo>
                        <a:pt x="138" y="234"/>
                      </a:lnTo>
                      <a:lnTo>
                        <a:pt x="132" y="222"/>
                      </a:lnTo>
                      <a:lnTo>
                        <a:pt x="132" y="210"/>
                      </a:lnTo>
                      <a:lnTo>
                        <a:pt x="138" y="204"/>
                      </a:lnTo>
                      <a:lnTo>
                        <a:pt x="144" y="192"/>
                      </a:lnTo>
                      <a:lnTo>
                        <a:pt x="150" y="186"/>
                      </a:lnTo>
                      <a:lnTo>
                        <a:pt x="132" y="168"/>
                      </a:lnTo>
                      <a:lnTo>
                        <a:pt x="144" y="156"/>
                      </a:lnTo>
                      <a:lnTo>
                        <a:pt x="150" y="144"/>
                      </a:lnTo>
                      <a:lnTo>
                        <a:pt x="150" y="138"/>
                      </a:lnTo>
                      <a:lnTo>
                        <a:pt x="144" y="126"/>
                      </a:lnTo>
                      <a:lnTo>
                        <a:pt x="120" y="114"/>
                      </a:lnTo>
                      <a:lnTo>
                        <a:pt x="114" y="114"/>
                      </a:lnTo>
                      <a:lnTo>
                        <a:pt x="102" y="108"/>
                      </a:lnTo>
                      <a:lnTo>
                        <a:pt x="90" y="30"/>
                      </a:lnTo>
                      <a:lnTo>
                        <a:pt x="66" y="30"/>
                      </a:lnTo>
                      <a:lnTo>
                        <a:pt x="48" y="0"/>
                      </a:lnTo>
                      <a:lnTo>
                        <a:pt x="36" y="6"/>
                      </a:lnTo>
                      <a:lnTo>
                        <a:pt x="42" y="18"/>
                      </a:lnTo>
                      <a:lnTo>
                        <a:pt x="42" y="36"/>
                      </a:lnTo>
                      <a:lnTo>
                        <a:pt x="36" y="42"/>
                      </a:lnTo>
                      <a:lnTo>
                        <a:pt x="0" y="66"/>
                      </a:lnTo>
                      <a:lnTo>
                        <a:pt x="0" y="108"/>
                      </a:lnTo>
                      <a:lnTo>
                        <a:pt x="24" y="156"/>
                      </a:lnTo>
                      <a:lnTo>
                        <a:pt x="30" y="174"/>
                      </a:lnTo>
                      <a:lnTo>
                        <a:pt x="36" y="228"/>
                      </a:lnTo>
                      <a:lnTo>
                        <a:pt x="36" y="282"/>
                      </a:lnTo>
                      <a:lnTo>
                        <a:pt x="48" y="318"/>
                      </a:lnTo>
                      <a:lnTo>
                        <a:pt x="48" y="360"/>
                      </a:lnTo>
                      <a:lnTo>
                        <a:pt x="54" y="384"/>
                      </a:lnTo>
                      <a:lnTo>
                        <a:pt x="54" y="432"/>
                      </a:lnTo>
                      <a:lnTo>
                        <a:pt x="30" y="444"/>
                      </a:lnTo>
                      <a:lnTo>
                        <a:pt x="36" y="474"/>
                      </a:lnTo>
                      <a:lnTo>
                        <a:pt x="54" y="486"/>
                      </a:lnTo>
                      <a:lnTo>
                        <a:pt x="48" y="582"/>
                      </a:lnTo>
                      <a:lnTo>
                        <a:pt x="72" y="624"/>
                      </a:lnTo>
                      <a:lnTo>
                        <a:pt x="54" y="642"/>
                      </a:lnTo>
                      <a:lnTo>
                        <a:pt x="60" y="702"/>
                      </a:lnTo>
                      <a:lnTo>
                        <a:pt x="66" y="708"/>
                      </a:lnTo>
                      <a:lnTo>
                        <a:pt x="78" y="732"/>
                      </a:lnTo>
                      <a:lnTo>
                        <a:pt x="78" y="744"/>
                      </a:lnTo>
                      <a:lnTo>
                        <a:pt x="72" y="756"/>
                      </a:lnTo>
                      <a:lnTo>
                        <a:pt x="66" y="762"/>
                      </a:lnTo>
                      <a:lnTo>
                        <a:pt x="60" y="762"/>
                      </a:lnTo>
                      <a:lnTo>
                        <a:pt x="60" y="792"/>
                      </a:lnTo>
                      <a:lnTo>
                        <a:pt x="72" y="810"/>
                      </a:lnTo>
                      <a:lnTo>
                        <a:pt x="60" y="822"/>
                      </a:lnTo>
                      <a:lnTo>
                        <a:pt x="48" y="846"/>
                      </a:lnTo>
                      <a:lnTo>
                        <a:pt x="48" y="852"/>
                      </a:lnTo>
                      <a:lnTo>
                        <a:pt x="60" y="852"/>
                      </a:lnTo>
                      <a:lnTo>
                        <a:pt x="60" y="864"/>
                      </a:lnTo>
                      <a:lnTo>
                        <a:pt x="66" y="870"/>
                      </a:lnTo>
                      <a:lnTo>
                        <a:pt x="66" y="888"/>
                      </a:lnTo>
                      <a:lnTo>
                        <a:pt x="54" y="900"/>
                      </a:lnTo>
                      <a:lnTo>
                        <a:pt x="54" y="906"/>
                      </a:lnTo>
                      <a:lnTo>
                        <a:pt x="48" y="912"/>
                      </a:lnTo>
                      <a:lnTo>
                        <a:pt x="48" y="936"/>
                      </a:lnTo>
                      <a:lnTo>
                        <a:pt x="54" y="948"/>
                      </a:lnTo>
                      <a:lnTo>
                        <a:pt x="60" y="954"/>
                      </a:lnTo>
                      <a:lnTo>
                        <a:pt x="66" y="954"/>
                      </a:lnTo>
                      <a:lnTo>
                        <a:pt x="78" y="966"/>
                      </a:lnTo>
                      <a:lnTo>
                        <a:pt x="78" y="1020"/>
                      </a:lnTo>
                      <a:lnTo>
                        <a:pt x="60" y="1020"/>
                      </a:lnTo>
                      <a:lnTo>
                        <a:pt x="60" y="1044"/>
                      </a:lnTo>
                      <a:lnTo>
                        <a:pt x="66" y="1056"/>
                      </a:lnTo>
                      <a:lnTo>
                        <a:pt x="90" y="1128"/>
                      </a:lnTo>
                      <a:lnTo>
                        <a:pt x="96" y="1140"/>
                      </a:lnTo>
                      <a:lnTo>
                        <a:pt x="102" y="1146"/>
                      </a:lnTo>
                      <a:lnTo>
                        <a:pt x="102" y="1164"/>
                      </a:lnTo>
                      <a:lnTo>
                        <a:pt x="108" y="1170"/>
                      </a:lnTo>
                      <a:lnTo>
                        <a:pt x="114" y="1182"/>
                      </a:lnTo>
                      <a:lnTo>
                        <a:pt x="120" y="1188"/>
                      </a:lnTo>
                      <a:lnTo>
                        <a:pt x="120" y="1236"/>
                      </a:lnTo>
                      <a:lnTo>
                        <a:pt x="114" y="1266"/>
                      </a:lnTo>
                      <a:lnTo>
                        <a:pt x="138" y="1290"/>
                      </a:lnTo>
                      <a:lnTo>
                        <a:pt x="138" y="1296"/>
                      </a:lnTo>
                      <a:lnTo>
                        <a:pt x="132" y="1302"/>
                      </a:lnTo>
                      <a:lnTo>
                        <a:pt x="126" y="1314"/>
                      </a:lnTo>
                      <a:lnTo>
                        <a:pt x="126" y="1326"/>
                      </a:lnTo>
                      <a:lnTo>
                        <a:pt x="120" y="1338"/>
                      </a:lnTo>
                      <a:lnTo>
                        <a:pt x="120" y="1416"/>
                      </a:lnTo>
                      <a:lnTo>
                        <a:pt x="102" y="1452"/>
                      </a:lnTo>
                      <a:lnTo>
                        <a:pt x="114" y="1464"/>
                      </a:lnTo>
                      <a:lnTo>
                        <a:pt x="114" y="1470"/>
                      </a:lnTo>
                      <a:lnTo>
                        <a:pt x="108" y="1476"/>
                      </a:lnTo>
                      <a:lnTo>
                        <a:pt x="108" y="1536"/>
                      </a:lnTo>
                      <a:lnTo>
                        <a:pt x="102" y="1554"/>
                      </a:lnTo>
                      <a:lnTo>
                        <a:pt x="102" y="1578"/>
                      </a:lnTo>
                      <a:lnTo>
                        <a:pt x="84" y="1584"/>
                      </a:lnTo>
                      <a:lnTo>
                        <a:pt x="84" y="1608"/>
                      </a:lnTo>
                      <a:lnTo>
                        <a:pt x="108" y="1650"/>
                      </a:lnTo>
                      <a:lnTo>
                        <a:pt x="108" y="1692"/>
                      </a:lnTo>
                      <a:lnTo>
                        <a:pt x="114" y="1704"/>
                      </a:lnTo>
                      <a:lnTo>
                        <a:pt x="144" y="1734"/>
                      </a:lnTo>
                      <a:lnTo>
                        <a:pt x="156" y="1758"/>
                      </a:lnTo>
                      <a:lnTo>
                        <a:pt x="156" y="1800"/>
                      </a:lnTo>
                      <a:lnTo>
                        <a:pt x="150" y="1812"/>
                      </a:lnTo>
                      <a:lnTo>
                        <a:pt x="150" y="1824"/>
                      </a:lnTo>
                      <a:lnTo>
                        <a:pt x="162" y="1836"/>
                      </a:lnTo>
                      <a:lnTo>
                        <a:pt x="162" y="1896"/>
                      </a:lnTo>
                      <a:lnTo>
                        <a:pt x="168" y="1908"/>
                      </a:lnTo>
                      <a:lnTo>
                        <a:pt x="174" y="1914"/>
                      </a:lnTo>
                      <a:lnTo>
                        <a:pt x="186" y="1920"/>
                      </a:lnTo>
                      <a:lnTo>
                        <a:pt x="192" y="1926"/>
                      </a:lnTo>
                      <a:lnTo>
                        <a:pt x="198" y="1926"/>
                      </a:lnTo>
                      <a:lnTo>
                        <a:pt x="192" y="1944"/>
                      </a:lnTo>
                      <a:lnTo>
                        <a:pt x="234" y="1944"/>
                      </a:lnTo>
                      <a:lnTo>
                        <a:pt x="234" y="1914"/>
                      </a:lnTo>
                      <a:lnTo>
                        <a:pt x="246" y="1926"/>
                      </a:lnTo>
                      <a:lnTo>
                        <a:pt x="258" y="1932"/>
                      </a:lnTo>
                      <a:lnTo>
                        <a:pt x="270" y="1932"/>
                      </a:lnTo>
                      <a:lnTo>
                        <a:pt x="276" y="1926"/>
                      </a:lnTo>
                      <a:lnTo>
                        <a:pt x="276" y="1914"/>
                      </a:lnTo>
                      <a:lnTo>
                        <a:pt x="288" y="1932"/>
                      </a:lnTo>
                      <a:lnTo>
                        <a:pt x="282" y="1938"/>
                      </a:lnTo>
                      <a:lnTo>
                        <a:pt x="270" y="1944"/>
                      </a:lnTo>
                      <a:lnTo>
                        <a:pt x="264" y="1956"/>
                      </a:lnTo>
                      <a:lnTo>
                        <a:pt x="258" y="1962"/>
                      </a:lnTo>
                      <a:lnTo>
                        <a:pt x="258" y="1968"/>
                      </a:lnTo>
                      <a:lnTo>
                        <a:pt x="288" y="1968"/>
                      </a:lnTo>
                      <a:lnTo>
                        <a:pt x="294" y="1974"/>
                      </a:lnTo>
                      <a:lnTo>
                        <a:pt x="294" y="1992"/>
                      </a:lnTo>
                      <a:lnTo>
                        <a:pt x="270" y="1986"/>
                      </a:lnTo>
                      <a:lnTo>
                        <a:pt x="288" y="2010"/>
                      </a:lnTo>
                      <a:lnTo>
                        <a:pt x="276" y="2022"/>
                      </a:lnTo>
                      <a:lnTo>
                        <a:pt x="294" y="2046"/>
                      </a:lnTo>
                      <a:lnTo>
                        <a:pt x="276" y="2064"/>
                      </a:lnTo>
                      <a:lnTo>
                        <a:pt x="270" y="2076"/>
                      </a:lnTo>
                      <a:lnTo>
                        <a:pt x="270" y="2082"/>
                      </a:lnTo>
                      <a:lnTo>
                        <a:pt x="276" y="2088"/>
                      </a:lnTo>
                      <a:lnTo>
                        <a:pt x="282" y="2088"/>
                      </a:lnTo>
                      <a:lnTo>
                        <a:pt x="306" y="2100"/>
                      </a:lnTo>
                      <a:lnTo>
                        <a:pt x="318" y="2100"/>
                      </a:lnTo>
                      <a:lnTo>
                        <a:pt x="300" y="2118"/>
                      </a:lnTo>
                      <a:lnTo>
                        <a:pt x="300" y="2130"/>
                      </a:lnTo>
                      <a:lnTo>
                        <a:pt x="312" y="2136"/>
                      </a:lnTo>
                      <a:lnTo>
                        <a:pt x="318" y="2142"/>
                      </a:lnTo>
                      <a:lnTo>
                        <a:pt x="330" y="2148"/>
                      </a:lnTo>
                      <a:lnTo>
                        <a:pt x="354" y="2148"/>
                      </a:lnTo>
                      <a:lnTo>
                        <a:pt x="360" y="2184"/>
                      </a:lnTo>
                      <a:lnTo>
                        <a:pt x="354" y="2184"/>
                      </a:lnTo>
                      <a:lnTo>
                        <a:pt x="324" y="2214"/>
                      </a:lnTo>
                      <a:lnTo>
                        <a:pt x="324" y="2220"/>
                      </a:lnTo>
                      <a:lnTo>
                        <a:pt x="330" y="2226"/>
                      </a:lnTo>
                      <a:lnTo>
                        <a:pt x="354" y="2226"/>
                      </a:lnTo>
                      <a:lnTo>
                        <a:pt x="366" y="2232"/>
                      </a:lnTo>
                      <a:lnTo>
                        <a:pt x="378" y="2244"/>
                      </a:lnTo>
                      <a:lnTo>
                        <a:pt x="348" y="2244"/>
                      </a:lnTo>
                      <a:lnTo>
                        <a:pt x="342" y="2238"/>
                      </a:lnTo>
                      <a:lnTo>
                        <a:pt x="330" y="2238"/>
                      </a:lnTo>
                      <a:lnTo>
                        <a:pt x="324" y="2244"/>
                      </a:lnTo>
                      <a:lnTo>
                        <a:pt x="324" y="2250"/>
                      </a:lnTo>
                      <a:lnTo>
                        <a:pt x="354" y="2256"/>
                      </a:lnTo>
                      <a:lnTo>
                        <a:pt x="330" y="2268"/>
                      </a:lnTo>
                      <a:lnTo>
                        <a:pt x="336" y="2292"/>
                      </a:lnTo>
                      <a:lnTo>
                        <a:pt x="348" y="2292"/>
                      </a:lnTo>
                      <a:lnTo>
                        <a:pt x="348" y="2316"/>
                      </a:lnTo>
                      <a:lnTo>
                        <a:pt x="336" y="2328"/>
                      </a:lnTo>
                      <a:lnTo>
                        <a:pt x="336" y="2322"/>
                      </a:lnTo>
                      <a:lnTo>
                        <a:pt x="330" y="2316"/>
                      </a:lnTo>
                      <a:lnTo>
                        <a:pt x="324" y="2304"/>
                      </a:lnTo>
                      <a:lnTo>
                        <a:pt x="324" y="2298"/>
                      </a:lnTo>
                      <a:lnTo>
                        <a:pt x="288" y="2298"/>
                      </a:lnTo>
                      <a:lnTo>
                        <a:pt x="306" y="2292"/>
                      </a:lnTo>
                      <a:lnTo>
                        <a:pt x="282" y="2268"/>
                      </a:lnTo>
                      <a:lnTo>
                        <a:pt x="276" y="2268"/>
                      </a:lnTo>
                      <a:lnTo>
                        <a:pt x="276" y="2280"/>
                      </a:lnTo>
                      <a:lnTo>
                        <a:pt x="270" y="2268"/>
                      </a:lnTo>
                      <a:lnTo>
                        <a:pt x="228" y="2280"/>
                      </a:lnTo>
                      <a:lnTo>
                        <a:pt x="264" y="2286"/>
                      </a:lnTo>
                      <a:lnTo>
                        <a:pt x="258" y="2292"/>
                      </a:lnTo>
                      <a:lnTo>
                        <a:pt x="252" y="2304"/>
                      </a:lnTo>
                      <a:lnTo>
                        <a:pt x="246" y="2310"/>
                      </a:lnTo>
                      <a:lnTo>
                        <a:pt x="234" y="2316"/>
                      </a:lnTo>
                      <a:lnTo>
                        <a:pt x="228" y="2328"/>
                      </a:lnTo>
                      <a:lnTo>
                        <a:pt x="222" y="2334"/>
                      </a:lnTo>
                      <a:lnTo>
                        <a:pt x="222" y="2340"/>
                      </a:lnTo>
                      <a:lnTo>
                        <a:pt x="228" y="2346"/>
                      </a:lnTo>
                      <a:lnTo>
                        <a:pt x="240" y="2352"/>
                      </a:lnTo>
                      <a:lnTo>
                        <a:pt x="252" y="2352"/>
                      </a:lnTo>
                      <a:lnTo>
                        <a:pt x="252" y="2346"/>
                      </a:lnTo>
                      <a:lnTo>
                        <a:pt x="240" y="2334"/>
                      </a:lnTo>
                      <a:lnTo>
                        <a:pt x="264" y="2328"/>
                      </a:lnTo>
                      <a:lnTo>
                        <a:pt x="282" y="2346"/>
                      </a:lnTo>
                      <a:lnTo>
                        <a:pt x="324" y="2346"/>
                      </a:lnTo>
                      <a:lnTo>
                        <a:pt x="336" y="2352"/>
                      </a:lnTo>
                      <a:lnTo>
                        <a:pt x="342" y="2364"/>
                      </a:lnTo>
                      <a:lnTo>
                        <a:pt x="354" y="2370"/>
                      </a:lnTo>
                      <a:lnTo>
                        <a:pt x="354" y="2376"/>
                      </a:lnTo>
                      <a:lnTo>
                        <a:pt x="336" y="2394"/>
                      </a:lnTo>
                      <a:lnTo>
                        <a:pt x="342" y="2406"/>
                      </a:lnTo>
                      <a:lnTo>
                        <a:pt x="360" y="2406"/>
                      </a:lnTo>
                      <a:lnTo>
                        <a:pt x="360" y="2418"/>
                      </a:lnTo>
                      <a:lnTo>
                        <a:pt x="378" y="2424"/>
                      </a:lnTo>
                      <a:lnTo>
                        <a:pt x="384" y="2406"/>
                      </a:lnTo>
                      <a:lnTo>
                        <a:pt x="402" y="2424"/>
                      </a:lnTo>
                      <a:lnTo>
                        <a:pt x="408" y="2424"/>
                      </a:lnTo>
                      <a:lnTo>
                        <a:pt x="420" y="2430"/>
                      </a:lnTo>
                      <a:lnTo>
                        <a:pt x="426" y="2436"/>
                      </a:lnTo>
                      <a:lnTo>
                        <a:pt x="426" y="2448"/>
                      </a:lnTo>
                      <a:lnTo>
                        <a:pt x="414" y="2460"/>
                      </a:lnTo>
                      <a:lnTo>
                        <a:pt x="408" y="2454"/>
                      </a:lnTo>
                      <a:lnTo>
                        <a:pt x="396" y="2454"/>
                      </a:lnTo>
                      <a:lnTo>
                        <a:pt x="384" y="2448"/>
                      </a:lnTo>
                      <a:lnTo>
                        <a:pt x="378" y="2442"/>
                      </a:lnTo>
                      <a:lnTo>
                        <a:pt x="366" y="2442"/>
                      </a:lnTo>
                      <a:lnTo>
                        <a:pt x="366" y="2454"/>
                      </a:lnTo>
                      <a:lnTo>
                        <a:pt x="372" y="2460"/>
                      </a:lnTo>
                      <a:lnTo>
                        <a:pt x="378" y="2460"/>
                      </a:lnTo>
                      <a:lnTo>
                        <a:pt x="390" y="2472"/>
                      </a:lnTo>
                      <a:lnTo>
                        <a:pt x="402" y="2496"/>
                      </a:lnTo>
                      <a:lnTo>
                        <a:pt x="402" y="2508"/>
                      </a:lnTo>
                      <a:lnTo>
                        <a:pt x="384" y="2508"/>
                      </a:lnTo>
                      <a:lnTo>
                        <a:pt x="396" y="2526"/>
                      </a:lnTo>
                      <a:lnTo>
                        <a:pt x="414" y="2562"/>
                      </a:lnTo>
                      <a:lnTo>
                        <a:pt x="426" y="2520"/>
                      </a:lnTo>
                      <a:lnTo>
                        <a:pt x="426" y="2550"/>
                      </a:lnTo>
                      <a:lnTo>
                        <a:pt x="444" y="2574"/>
                      </a:lnTo>
                      <a:lnTo>
                        <a:pt x="420" y="2574"/>
                      </a:lnTo>
                      <a:lnTo>
                        <a:pt x="426" y="2592"/>
                      </a:lnTo>
                      <a:lnTo>
                        <a:pt x="450" y="2592"/>
                      </a:lnTo>
                      <a:lnTo>
                        <a:pt x="432" y="2604"/>
                      </a:lnTo>
                      <a:lnTo>
                        <a:pt x="462" y="2616"/>
                      </a:lnTo>
                      <a:lnTo>
                        <a:pt x="444" y="2628"/>
                      </a:lnTo>
                      <a:lnTo>
                        <a:pt x="474" y="2640"/>
                      </a:lnTo>
                      <a:lnTo>
                        <a:pt x="462" y="2652"/>
                      </a:lnTo>
                      <a:lnTo>
                        <a:pt x="480" y="2658"/>
                      </a:lnTo>
                      <a:lnTo>
                        <a:pt x="480" y="2652"/>
                      </a:lnTo>
                      <a:lnTo>
                        <a:pt x="486" y="2640"/>
                      </a:lnTo>
                      <a:lnTo>
                        <a:pt x="486" y="2634"/>
                      </a:lnTo>
                      <a:lnTo>
                        <a:pt x="492" y="2634"/>
                      </a:lnTo>
                      <a:lnTo>
                        <a:pt x="498" y="2640"/>
                      </a:lnTo>
                      <a:lnTo>
                        <a:pt x="504" y="2652"/>
                      </a:lnTo>
                      <a:lnTo>
                        <a:pt x="498" y="2658"/>
                      </a:lnTo>
                      <a:lnTo>
                        <a:pt x="498" y="2664"/>
                      </a:lnTo>
                      <a:lnTo>
                        <a:pt x="492" y="2664"/>
                      </a:lnTo>
                      <a:lnTo>
                        <a:pt x="480" y="2676"/>
                      </a:lnTo>
                      <a:lnTo>
                        <a:pt x="480" y="2682"/>
                      </a:lnTo>
                      <a:lnTo>
                        <a:pt x="486" y="2688"/>
                      </a:lnTo>
                      <a:lnTo>
                        <a:pt x="516" y="2688"/>
                      </a:lnTo>
                      <a:lnTo>
                        <a:pt x="516" y="2700"/>
                      </a:lnTo>
                      <a:lnTo>
                        <a:pt x="540" y="2724"/>
                      </a:lnTo>
                      <a:lnTo>
                        <a:pt x="552" y="2730"/>
                      </a:lnTo>
                      <a:lnTo>
                        <a:pt x="558" y="2736"/>
                      </a:lnTo>
                      <a:lnTo>
                        <a:pt x="558" y="2700"/>
                      </a:lnTo>
                      <a:lnTo>
                        <a:pt x="564" y="2700"/>
                      </a:lnTo>
                      <a:lnTo>
                        <a:pt x="570" y="2706"/>
                      </a:lnTo>
                      <a:lnTo>
                        <a:pt x="582" y="2712"/>
                      </a:lnTo>
                      <a:lnTo>
                        <a:pt x="600" y="2718"/>
                      </a:lnTo>
                      <a:lnTo>
                        <a:pt x="624" y="2742"/>
                      </a:lnTo>
                      <a:lnTo>
                        <a:pt x="618" y="2748"/>
                      </a:lnTo>
                      <a:lnTo>
                        <a:pt x="618" y="2754"/>
                      </a:lnTo>
                      <a:lnTo>
                        <a:pt x="612" y="2760"/>
                      </a:lnTo>
                      <a:lnTo>
                        <a:pt x="630" y="2766"/>
                      </a:lnTo>
                      <a:lnTo>
                        <a:pt x="630" y="2790"/>
                      </a:lnTo>
                      <a:lnTo>
                        <a:pt x="684" y="2790"/>
                      </a:lnTo>
                      <a:lnTo>
                        <a:pt x="696" y="2802"/>
                      </a:lnTo>
                      <a:lnTo>
                        <a:pt x="666" y="2802"/>
                      </a:lnTo>
                      <a:lnTo>
                        <a:pt x="654" y="2814"/>
                      </a:lnTo>
                      <a:lnTo>
                        <a:pt x="630" y="2814"/>
                      </a:lnTo>
                      <a:lnTo>
                        <a:pt x="618" y="2832"/>
                      </a:lnTo>
                      <a:lnTo>
                        <a:pt x="648" y="2832"/>
                      </a:lnTo>
                      <a:lnTo>
                        <a:pt x="636" y="2850"/>
                      </a:lnTo>
                      <a:lnTo>
                        <a:pt x="666" y="2844"/>
                      </a:lnTo>
                      <a:lnTo>
                        <a:pt x="666" y="2826"/>
                      </a:lnTo>
                      <a:lnTo>
                        <a:pt x="690" y="2838"/>
                      </a:lnTo>
                      <a:lnTo>
                        <a:pt x="696" y="2826"/>
                      </a:lnTo>
                      <a:lnTo>
                        <a:pt x="702" y="2820"/>
                      </a:lnTo>
                      <a:lnTo>
                        <a:pt x="714" y="2814"/>
                      </a:lnTo>
                      <a:lnTo>
                        <a:pt x="720" y="2808"/>
                      </a:lnTo>
                      <a:lnTo>
                        <a:pt x="732" y="2808"/>
                      </a:lnTo>
                      <a:lnTo>
                        <a:pt x="732" y="2820"/>
                      </a:lnTo>
                      <a:lnTo>
                        <a:pt x="726" y="2832"/>
                      </a:lnTo>
                      <a:lnTo>
                        <a:pt x="702" y="2856"/>
                      </a:lnTo>
                      <a:lnTo>
                        <a:pt x="696" y="2850"/>
                      </a:lnTo>
                      <a:lnTo>
                        <a:pt x="678" y="2850"/>
                      </a:lnTo>
                      <a:lnTo>
                        <a:pt x="678" y="2868"/>
                      </a:lnTo>
                      <a:lnTo>
                        <a:pt x="642" y="2868"/>
                      </a:lnTo>
                      <a:lnTo>
                        <a:pt x="630" y="2880"/>
                      </a:lnTo>
                      <a:lnTo>
                        <a:pt x="642" y="2886"/>
                      </a:lnTo>
                      <a:lnTo>
                        <a:pt x="648" y="2916"/>
                      </a:lnTo>
                      <a:lnTo>
                        <a:pt x="678" y="2898"/>
                      </a:lnTo>
                      <a:lnTo>
                        <a:pt x="684" y="2910"/>
                      </a:lnTo>
                      <a:lnTo>
                        <a:pt x="684" y="2916"/>
                      </a:lnTo>
                      <a:lnTo>
                        <a:pt x="690" y="2916"/>
                      </a:lnTo>
                      <a:lnTo>
                        <a:pt x="696" y="2910"/>
                      </a:lnTo>
                      <a:lnTo>
                        <a:pt x="702" y="2898"/>
                      </a:lnTo>
                      <a:lnTo>
                        <a:pt x="702" y="2892"/>
                      </a:lnTo>
                      <a:lnTo>
                        <a:pt x="708" y="2880"/>
                      </a:lnTo>
                      <a:lnTo>
                        <a:pt x="714" y="2874"/>
                      </a:lnTo>
                      <a:close/>
                    </a:path>
                  </a:pathLst>
                </a:custGeom>
                <a:solidFill>
                  <a:schemeClr val="accent1"/>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662" name="China"/>
                <p:cNvSpPr>
                  <a:spLocks noEditPoints="1"/>
                </p:cNvSpPr>
                <p:nvPr/>
              </p:nvSpPr>
              <p:spPr bwMode="gray">
                <a:xfrm>
                  <a:off x="3907" y="1211"/>
                  <a:ext cx="936" cy="723"/>
                </a:xfrm>
                <a:custGeom>
                  <a:avLst/>
                  <a:gdLst>
                    <a:gd name="T0" fmla="*/ 2147483647 w 3660"/>
                    <a:gd name="T1" fmla="*/ 2147483647 h 2826"/>
                    <a:gd name="T2" fmla="*/ 2147483647 w 3660"/>
                    <a:gd name="T3" fmla="*/ 2147483647 h 2826"/>
                    <a:gd name="T4" fmla="*/ 2147483647 w 3660"/>
                    <a:gd name="T5" fmla="*/ 2147483647 h 2826"/>
                    <a:gd name="T6" fmla="*/ 2147483647 w 3660"/>
                    <a:gd name="T7" fmla="*/ 2147483647 h 2826"/>
                    <a:gd name="T8" fmla="*/ 2147483647 w 3660"/>
                    <a:gd name="T9" fmla="*/ 2147483647 h 2826"/>
                    <a:gd name="T10" fmla="*/ 2147483647 w 3660"/>
                    <a:gd name="T11" fmla="*/ 2147483647 h 2826"/>
                    <a:gd name="T12" fmla="*/ 2147483647 w 3660"/>
                    <a:gd name="T13" fmla="*/ 2147483647 h 2826"/>
                    <a:gd name="T14" fmla="*/ 2147483647 w 3660"/>
                    <a:gd name="T15" fmla="*/ 2147483647 h 2826"/>
                    <a:gd name="T16" fmla="*/ 2147483647 w 3660"/>
                    <a:gd name="T17" fmla="*/ 2147483647 h 2826"/>
                    <a:gd name="T18" fmla="*/ 2147483647 w 3660"/>
                    <a:gd name="T19" fmla="*/ 2147483647 h 2826"/>
                    <a:gd name="T20" fmla="*/ 2147483647 w 3660"/>
                    <a:gd name="T21" fmla="*/ 2147483647 h 2826"/>
                    <a:gd name="T22" fmla="*/ 2147483647 w 3660"/>
                    <a:gd name="T23" fmla="*/ 2147483647 h 2826"/>
                    <a:gd name="T24" fmla="*/ 2147483647 w 3660"/>
                    <a:gd name="T25" fmla="*/ 2147483647 h 2826"/>
                    <a:gd name="T26" fmla="*/ 2147483647 w 3660"/>
                    <a:gd name="T27" fmla="*/ 2147483647 h 2826"/>
                    <a:gd name="T28" fmla="*/ 2147483647 w 3660"/>
                    <a:gd name="T29" fmla="*/ 2147483647 h 2826"/>
                    <a:gd name="T30" fmla="*/ 2147483647 w 3660"/>
                    <a:gd name="T31" fmla="*/ 2147483647 h 2826"/>
                    <a:gd name="T32" fmla="*/ 2147483647 w 3660"/>
                    <a:gd name="T33" fmla="*/ 2147483647 h 2826"/>
                    <a:gd name="T34" fmla="*/ 2147483647 w 3660"/>
                    <a:gd name="T35" fmla="*/ 2147483647 h 2826"/>
                    <a:gd name="T36" fmla="*/ 2147483647 w 3660"/>
                    <a:gd name="T37" fmla="*/ 2147483647 h 2826"/>
                    <a:gd name="T38" fmla="*/ 2147483647 w 3660"/>
                    <a:gd name="T39" fmla="*/ 2147483647 h 2826"/>
                    <a:gd name="T40" fmla="*/ 2147483647 w 3660"/>
                    <a:gd name="T41" fmla="*/ 2147483647 h 2826"/>
                    <a:gd name="T42" fmla="*/ 2147483647 w 3660"/>
                    <a:gd name="T43" fmla="*/ 2147483647 h 2826"/>
                    <a:gd name="T44" fmla="*/ 2147483647 w 3660"/>
                    <a:gd name="T45" fmla="*/ 2147483647 h 2826"/>
                    <a:gd name="T46" fmla="*/ 0 w 3660"/>
                    <a:gd name="T47" fmla="*/ 2147483647 h 2826"/>
                    <a:gd name="T48" fmla="*/ 2147483647 w 3660"/>
                    <a:gd name="T49" fmla="*/ 2147483647 h 2826"/>
                    <a:gd name="T50" fmla="*/ 2147483647 w 3660"/>
                    <a:gd name="T51" fmla="*/ 2147483647 h 2826"/>
                    <a:gd name="T52" fmla="*/ 2147483647 w 3660"/>
                    <a:gd name="T53" fmla="*/ 2147483647 h 2826"/>
                    <a:gd name="T54" fmla="*/ 2147483647 w 3660"/>
                    <a:gd name="T55" fmla="*/ 2147483647 h 2826"/>
                    <a:gd name="T56" fmla="*/ 2147483647 w 3660"/>
                    <a:gd name="T57" fmla="*/ 2147483647 h 2826"/>
                    <a:gd name="T58" fmla="*/ 2147483647 w 3660"/>
                    <a:gd name="T59" fmla="*/ 2147483647 h 2826"/>
                    <a:gd name="T60" fmla="*/ 2147483647 w 3660"/>
                    <a:gd name="T61" fmla="*/ 2147483647 h 2826"/>
                    <a:gd name="T62" fmla="*/ 2147483647 w 3660"/>
                    <a:gd name="T63" fmla="*/ 2147483647 h 2826"/>
                    <a:gd name="T64" fmla="*/ 2147483647 w 3660"/>
                    <a:gd name="T65" fmla="*/ 2147483647 h 2826"/>
                    <a:gd name="T66" fmla="*/ 2147483647 w 3660"/>
                    <a:gd name="T67" fmla="*/ 2147483647 h 2826"/>
                    <a:gd name="T68" fmla="*/ 2147483647 w 3660"/>
                    <a:gd name="T69" fmla="*/ 2147483647 h 2826"/>
                    <a:gd name="T70" fmla="*/ 2147483647 w 3660"/>
                    <a:gd name="T71" fmla="*/ 2147483647 h 2826"/>
                    <a:gd name="T72" fmla="*/ 2147483647 w 3660"/>
                    <a:gd name="T73" fmla="*/ 2147483647 h 2826"/>
                    <a:gd name="T74" fmla="*/ 2147483647 w 3660"/>
                    <a:gd name="T75" fmla="*/ 2147483647 h 2826"/>
                    <a:gd name="T76" fmla="*/ 2147483647 w 3660"/>
                    <a:gd name="T77" fmla="*/ 2147483647 h 2826"/>
                    <a:gd name="T78" fmla="*/ 2147483647 w 3660"/>
                    <a:gd name="T79" fmla="*/ 2147483647 h 2826"/>
                    <a:gd name="T80" fmla="*/ 2147483647 w 3660"/>
                    <a:gd name="T81" fmla="*/ 2147483647 h 2826"/>
                    <a:gd name="T82" fmla="*/ 2147483647 w 3660"/>
                    <a:gd name="T83" fmla="*/ 2147483647 h 2826"/>
                    <a:gd name="T84" fmla="*/ 2147483647 w 3660"/>
                    <a:gd name="T85" fmla="*/ 2147483647 h 2826"/>
                    <a:gd name="T86" fmla="*/ 2147483647 w 3660"/>
                    <a:gd name="T87" fmla="*/ 2147483647 h 2826"/>
                    <a:gd name="T88" fmla="*/ 2147483647 w 3660"/>
                    <a:gd name="T89" fmla="*/ 2147483647 h 2826"/>
                    <a:gd name="T90" fmla="*/ 2147483647 w 3660"/>
                    <a:gd name="T91" fmla="*/ 2147483647 h 2826"/>
                    <a:gd name="T92" fmla="*/ 2147483647 w 3660"/>
                    <a:gd name="T93" fmla="*/ 2147483647 h 2826"/>
                    <a:gd name="T94" fmla="*/ 2147483647 w 3660"/>
                    <a:gd name="T95" fmla="*/ 2147483647 h 2826"/>
                    <a:gd name="T96" fmla="*/ 2147483647 w 3660"/>
                    <a:gd name="T97" fmla="*/ 2147483647 h 2826"/>
                    <a:gd name="T98" fmla="*/ 2147483647 w 3660"/>
                    <a:gd name="T99" fmla="*/ 2147483647 h 2826"/>
                    <a:gd name="T100" fmla="*/ 2147483647 w 3660"/>
                    <a:gd name="T101" fmla="*/ 2147483647 h 2826"/>
                    <a:gd name="T102" fmla="*/ 2147483647 w 3660"/>
                    <a:gd name="T103" fmla="*/ 2147483647 h 2826"/>
                    <a:gd name="T104" fmla="*/ 2147483647 w 3660"/>
                    <a:gd name="T105" fmla="*/ 2147483647 h 2826"/>
                    <a:gd name="T106" fmla="*/ 2147483647 w 3660"/>
                    <a:gd name="T107" fmla="*/ 2147483647 h 2826"/>
                    <a:gd name="T108" fmla="*/ 2147483647 w 3660"/>
                    <a:gd name="T109" fmla="*/ 2147483647 h 2826"/>
                    <a:gd name="T110" fmla="*/ 2147483647 w 3660"/>
                    <a:gd name="T111" fmla="*/ 2147483647 h 2826"/>
                    <a:gd name="T112" fmla="*/ 2147483647 w 3660"/>
                    <a:gd name="T113" fmla="*/ 2147483647 h 2826"/>
                    <a:gd name="T114" fmla="*/ 2147483647 w 3660"/>
                    <a:gd name="T115" fmla="*/ 2147483647 h 2826"/>
                    <a:gd name="T116" fmla="*/ 2147483647 w 3660"/>
                    <a:gd name="T117" fmla="*/ 2147483647 h 2826"/>
                    <a:gd name="T118" fmla="*/ 2147483647 w 3660"/>
                    <a:gd name="T119" fmla="*/ 2147483647 h 2826"/>
                    <a:gd name="T120" fmla="*/ 2147483647 w 3660"/>
                    <a:gd name="T121" fmla="*/ 2147483647 h 2826"/>
                    <a:gd name="T122" fmla="*/ 2147483647 w 3660"/>
                    <a:gd name="T123" fmla="*/ 2147483647 h 28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660"/>
                    <a:gd name="T187" fmla="*/ 0 h 2826"/>
                    <a:gd name="T188" fmla="*/ 3660 w 3660"/>
                    <a:gd name="T189" fmla="*/ 2826 h 282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660" h="2826">
                      <a:moveTo>
                        <a:pt x="2862" y="2688"/>
                      </a:moveTo>
                      <a:lnTo>
                        <a:pt x="2850" y="2682"/>
                      </a:lnTo>
                      <a:lnTo>
                        <a:pt x="2772" y="2682"/>
                      </a:lnTo>
                      <a:lnTo>
                        <a:pt x="2766" y="2700"/>
                      </a:lnTo>
                      <a:lnTo>
                        <a:pt x="2748" y="2694"/>
                      </a:lnTo>
                      <a:lnTo>
                        <a:pt x="2736" y="2718"/>
                      </a:lnTo>
                      <a:lnTo>
                        <a:pt x="2730" y="2724"/>
                      </a:lnTo>
                      <a:lnTo>
                        <a:pt x="2712" y="2760"/>
                      </a:lnTo>
                      <a:lnTo>
                        <a:pt x="2718" y="2772"/>
                      </a:lnTo>
                      <a:lnTo>
                        <a:pt x="2724" y="2790"/>
                      </a:lnTo>
                      <a:lnTo>
                        <a:pt x="2754" y="2820"/>
                      </a:lnTo>
                      <a:lnTo>
                        <a:pt x="2766" y="2826"/>
                      </a:lnTo>
                      <a:lnTo>
                        <a:pt x="2772" y="2826"/>
                      </a:lnTo>
                      <a:lnTo>
                        <a:pt x="2802" y="2820"/>
                      </a:lnTo>
                      <a:lnTo>
                        <a:pt x="2820" y="2820"/>
                      </a:lnTo>
                      <a:lnTo>
                        <a:pt x="2844" y="2808"/>
                      </a:lnTo>
                      <a:lnTo>
                        <a:pt x="2850" y="2802"/>
                      </a:lnTo>
                      <a:lnTo>
                        <a:pt x="2850" y="2754"/>
                      </a:lnTo>
                      <a:lnTo>
                        <a:pt x="2856" y="2742"/>
                      </a:lnTo>
                      <a:lnTo>
                        <a:pt x="2862" y="2736"/>
                      </a:lnTo>
                      <a:lnTo>
                        <a:pt x="2868" y="2724"/>
                      </a:lnTo>
                      <a:lnTo>
                        <a:pt x="2868" y="2700"/>
                      </a:lnTo>
                      <a:lnTo>
                        <a:pt x="2862" y="2688"/>
                      </a:lnTo>
                      <a:close/>
                      <a:moveTo>
                        <a:pt x="3660" y="624"/>
                      </a:moveTo>
                      <a:lnTo>
                        <a:pt x="3654" y="600"/>
                      </a:lnTo>
                      <a:lnTo>
                        <a:pt x="3660" y="570"/>
                      </a:lnTo>
                      <a:lnTo>
                        <a:pt x="3642" y="564"/>
                      </a:lnTo>
                      <a:lnTo>
                        <a:pt x="3642" y="540"/>
                      </a:lnTo>
                      <a:lnTo>
                        <a:pt x="3630" y="528"/>
                      </a:lnTo>
                      <a:lnTo>
                        <a:pt x="3630" y="510"/>
                      </a:lnTo>
                      <a:lnTo>
                        <a:pt x="3618" y="492"/>
                      </a:lnTo>
                      <a:lnTo>
                        <a:pt x="3636" y="486"/>
                      </a:lnTo>
                      <a:lnTo>
                        <a:pt x="3636" y="456"/>
                      </a:lnTo>
                      <a:lnTo>
                        <a:pt x="3612" y="444"/>
                      </a:lnTo>
                      <a:lnTo>
                        <a:pt x="3612" y="426"/>
                      </a:lnTo>
                      <a:lnTo>
                        <a:pt x="3606" y="414"/>
                      </a:lnTo>
                      <a:lnTo>
                        <a:pt x="3594" y="408"/>
                      </a:lnTo>
                      <a:lnTo>
                        <a:pt x="3552" y="408"/>
                      </a:lnTo>
                      <a:lnTo>
                        <a:pt x="3546" y="432"/>
                      </a:lnTo>
                      <a:lnTo>
                        <a:pt x="3516" y="432"/>
                      </a:lnTo>
                      <a:lnTo>
                        <a:pt x="3504" y="438"/>
                      </a:lnTo>
                      <a:lnTo>
                        <a:pt x="3498" y="438"/>
                      </a:lnTo>
                      <a:lnTo>
                        <a:pt x="3492" y="444"/>
                      </a:lnTo>
                      <a:lnTo>
                        <a:pt x="3492" y="462"/>
                      </a:lnTo>
                      <a:lnTo>
                        <a:pt x="3462" y="456"/>
                      </a:lnTo>
                      <a:lnTo>
                        <a:pt x="3462" y="468"/>
                      </a:lnTo>
                      <a:lnTo>
                        <a:pt x="3444" y="468"/>
                      </a:lnTo>
                      <a:lnTo>
                        <a:pt x="3432" y="456"/>
                      </a:lnTo>
                      <a:lnTo>
                        <a:pt x="3408" y="462"/>
                      </a:lnTo>
                      <a:lnTo>
                        <a:pt x="3366" y="432"/>
                      </a:lnTo>
                      <a:lnTo>
                        <a:pt x="3366" y="420"/>
                      </a:lnTo>
                      <a:lnTo>
                        <a:pt x="3360" y="408"/>
                      </a:lnTo>
                      <a:lnTo>
                        <a:pt x="3360" y="402"/>
                      </a:lnTo>
                      <a:lnTo>
                        <a:pt x="3354" y="396"/>
                      </a:lnTo>
                      <a:lnTo>
                        <a:pt x="3336" y="396"/>
                      </a:lnTo>
                      <a:lnTo>
                        <a:pt x="3318" y="366"/>
                      </a:lnTo>
                      <a:lnTo>
                        <a:pt x="3276" y="366"/>
                      </a:lnTo>
                      <a:lnTo>
                        <a:pt x="3258" y="348"/>
                      </a:lnTo>
                      <a:lnTo>
                        <a:pt x="3246" y="342"/>
                      </a:lnTo>
                      <a:lnTo>
                        <a:pt x="3228" y="324"/>
                      </a:lnTo>
                      <a:lnTo>
                        <a:pt x="3216" y="324"/>
                      </a:lnTo>
                      <a:lnTo>
                        <a:pt x="3204" y="336"/>
                      </a:lnTo>
                      <a:lnTo>
                        <a:pt x="3192" y="330"/>
                      </a:lnTo>
                      <a:lnTo>
                        <a:pt x="3186" y="324"/>
                      </a:lnTo>
                      <a:lnTo>
                        <a:pt x="3174" y="318"/>
                      </a:lnTo>
                      <a:lnTo>
                        <a:pt x="3126" y="318"/>
                      </a:lnTo>
                      <a:lnTo>
                        <a:pt x="3114" y="312"/>
                      </a:lnTo>
                      <a:lnTo>
                        <a:pt x="3108" y="306"/>
                      </a:lnTo>
                      <a:lnTo>
                        <a:pt x="3084" y="294"/>
                      </a:lnTo>
                      <a:lnTo>
                        <a:pt x="3078" y="288"/>
                      </a:lnTo>
                      <a:lnTo>
                        <a:pt x="3072" y="288"/>
                      </a:lnTo>
                      <a:lnTo>
                        <a:pt x="3066" y="264"/>
                      </a:lnTo>
                      <a:lnTo>
                        <a:pt x="3054" y="264"/>
                      </a:lnTo>
                      <a:lnTo>
                        <a:pt x="3048" y="252"/>
                      </a:lnTo>
                      <a:lnTo>
                        <a:pt x="3030" y="234"/>
                      </a:lnTo>
                      <a:lnTo>
                        <a:pt x="3024" y="222"/>
                      </a:lnTo>
                      <a:lnTo>
                        <a:pt x="2976" y="198"/>
                      </a:lnTo>
                      <a:lnTo>
                        <a:pt x="2964" y="198"/>
                      </a:lnTo>
                      <a:lnTo>
                        <a:pt x="2952" y="168"/>
                      </a:lnTo>
                      <a:lnTo>
                        <a:pt x="2904" y="144"/>
                      </a:lnTo>
                      <a:lnTo>
                        <a:pt x="2898" y="114"/>
                      </a:lnTo>
                      <a:lnTo>
                        <a:pt x="2892" y="114"/>
                      </a:lnTo>
                      <a:lnTo>
                        <a:pt x="2886" y="108"/>
                      </a:lnTo>
                      <a:lnTo>
                        <a:pt x="2874" y="108"/>
                      </a:lnTo>
                      <a:lnTo>
                        <a:pt x="2862" y="96"/>
                      </a:lnTo>
                      <a:lnTo>
                        <a:pt x="2850" y="90"/>
                      </a:lnTo>
                      <a:lnTo>
                        <a:pt x="2838" y="78"/>
                      </a:lnTo>
                      <a:lnTo>
                        <a:pt x="2832" y="78"/>
                      </a:lnTo>
                      <a:lnTo>
                        <a:pt x="2832" y="66"/>
                      </a:lnTo>
                      <a:lnTo>
                        <a:pt x="2820" y="60"/>
                      </a:lnTo>
                      <a:lnTo>
                        <a:pt x="2814" y="54"/>
                      </a:lnTo>
                      <a:lnTo>
                        <a:pt x="2802" y="48"/>
                      </a:lnTo>
                      <a:lnTo>
                        <a:pt x="2796" y="42"/>
                      </a:lnTo>
                      <a:lnTo>
                        <a:pt x="2724" y="42"/>
                      </a:lnTo>
                      <a:lnTo>
                        <a:pt x="2688" y="18"/>
                      </a:lnTo>
                      <a:lnTo>
                        <a:pt x="2652" y="0"/>
                      </a:lnTo>
                      <a:lnTo>
                        <a:pt x="2598" y="12"/>
                      </a:lnTo>
                      <a:lnTo>
                        <a:pt x="2556" y="6"/>
                      </a:lnTo>
                      <a:lnTo>
                        <a:pt x="2550" y="18"/>
                      </a:lnTo>
                      <a:lnTo>
                        <a:pt x="2514" y="24"/>
                      </a:lnTo>
                      <a:lnTo>
                        <a:pt x="2472" y="66"/>
                      </a:lnTo>
                      <a:lnTo>
                        <a:pt x="2466" y="66"/>
                      </a:lnTo>
                      <a:lnTo>
                        <a:pt x="2466" y="78"/>
                      </a:lnTo>
                      <a:lnTo>
                        <a:pt x="2472" y="78"/>
                      </a:lnTo>
                      <a:lnTo>
                        <a:pt x="2490" y="84"/>
                      </a:lnTo>
                      <a:lnTo>
                        <a:pt x="2502" y="84"/>
                      </a:lnTo>
                      <a:lnTo>
                        <a:pt x="2508" y="90"/>
                      </a:lnTo>
                      <a:lnTo>
                        <a:pt x="2520" y="90"/>
                      </a:lnTo>
                      <a:lnTo>
                        <a:pt x="2532" y="102"/>
                      </a:lnTo>
                      <a:lnTo>
                        <a:pt x="2544" y="108"/>
                      </a:lnTo>
                      <a:lnTo>
                        <a:pt x="2550" y="114"/>
                      </a:lnTo>
                      <a:lnTo>
                        <a:pt x="2550" y="126"/>
                      </a:lnTo>
                      <a:lnTo>
                        <a:pt x="2532" y="144"/>
                      </a:lnTo>
                      <a:lnTo>
                        <a:pt x="2532" y="216"/>
                      </a:lnTo>
                      <a:lnTo>
                        <a:pt x="2538" y="258"/>
                      </a:lnTo>
                      <a:lnTo>
                        <a:pt x="2544" y="264"/>
                      </a:lnTo>
                      <a:lnTo>
                        <a:pt x="2556" y="264"/>
                      </a:lnTo>
                      <a:lnTo>
                        <a:pt x="2556" y="276"/>
                      </a:lnTo>
                      <a:lnTo>
                        <a:pt x="2550" y="282"/>
                      </a:lnTo>
                      <a:lnTo>
                        <a:pt x="2538" y="288"/>
                      </a:lnTo>
                      <a:lnTo>
                        <a:pt x="2514" y="288"/>
                      </a:lnTo>
                      <a:lnTo>
                        <a:pt x="2514" y="300"/>
                      </a:lnTo>
                      <a:lnTo>
                        <a:pt x="2496" y="318"/>
                      </a:lnTo>
                      <a:lnTo>
                        <a:pt x="2484" y="318"/>
                      </a:lnTo>
                      <a:lnTo>
                        <a:pt x="2478" y="312"/>
                      </a:lnTo>
                      <a:lnTo>
                        <a:pt x="2442" y="312"/>
                      </a:lnTo>
                      <a:lnTo>
                        <a:pt x="2406" y="288"/>
                      </a:lnTo>
                      <a:lnTo>
                        <a:pt x="2406" y="372"/>
                      </a:lnTo>
                      <a:lnTo>
                        <a:pt x="2412" y="384"/>
                      </a:lnTo>
                      <a:lnTo>
                        <a:pt x="2418" y="408"/>
                      </a:lnTo>
                      <a:lnTo>
                        <a:pt x="2424" y="420"/>
                      </a:lnTo>
                      <a:lnTo>
                        <a:pt x="2418" y="420"/>
                      </a:lnTo>
                      <a:lnTo>
                        <a:pt x="2418" y="438"/>
                      </a:lnTo>
                      <a:lnTo>
                        <a:pt x="2424" y="450"/>
                      </a:lnTo>
                      <a:lnTo>
                        <a:pt x="2436" y="456"/>
                      </a:lnTo>
                      <a:lnTo>
                        <a:pt x="2442" y="462"/>
                      </a:lnTo>
                      <a:lnTo>
                        <a:pt x="2460" y="462"/>
                      </a:lnTo>
                      <a:lnTo>
                        <a:pt x="2460" y="456"/>
                      </a:lnTo>
                      <a:lnTo>
                        <a:pt x="2454" y="456"/>
                      </a:lnTo>
                      <a:lnTo>
                        <a:pt x="2460" y="450"/>
                      </a:lnTo>
                      <a:lnTo>
                        <a:pt x="2514" y="450"/>
                      </a:lnTo>
                      <a:lnTo>
                        <a:pt x="2526" y="462"/>
                      </a:lnTo>
                      <a:lnTo>
                        <a:pt x="2538" y="468"/>
                      </a:lnTo>
                      <a:lnTo>
                        <a:pt x="2544" y="468"/>
                      </a:lnTo>
                      <a:lnTo>
                        <a:pt x="2550" y="462"/>
                      </a:lnTo>
                      <a:lnTo>
                        <a:pt x="2550" y="438"/>
                      </a:lnTo>
                      <a:lnTo>
                        <a:pt x="2616" y="438"/>
                      </a:lnTo>
                      <a:lnTo>
                        <a:pt x="2616" y="450"/>
                      </a:lnTo>
                      <a:lnTo>
                        <a:pt x="2622" y="456"/>
                      </a:lnTo>
                      <a:lnTo>
                        <a:pt x="2634" y="462"/>
                      </a:lnTo>
                      <a:lnTo>
                        <a:pt x="2652" y="462"/>
                      </a:lnTo>
                      <a:lnTo>
                        <a:pt x="2658" y="468"/>
                      </a:lnTo>
                      <a:lnTo>
                        <a:pt x="2670" y="474"/>
                      </a:lnTo>
                      <a:lnTo>
                        <a:pt x="2682" y="486"/>
                      </a:lnTo>
                      <a:lnTo>
                        <a:pt x="2706" y="498"/>
                      </a:lnTo>
                      <a:lnTo>
                        <a:pt x="2718" y="498"/>
                      </a:lnTo>
                      <a:lnTo>
                        <a:pt x="2724" y="510"/>
                      </a:lnTo>
                      <a:lnTo>
                        <a:pt x="2748" y="534"/>
                      </a:lnTo>
                      <a:lnTo>
                        <a:pt x="2748" y="540"/>
                      </a:lnTo>
                      <a:lnTo>
                        <a:pt x="2742" y="546"/>
                      </a:lnTo>
                      <a:lnTo>
                        <a:pt x="2706" y="546"/>
                      </a:lnTo>
                      <a:lnTo>
                        <a:pt x="2700" y="540"/>
                      </a:lnTo>
                      <a:lnTo>
                        <a:pt x="2688" y="534"/>
                      </a:lnTo>
                      <a:lnTo>
                        <a:pt x="2658" y="534"/>
                      </a:lnTo>
                      <a:lnTo>
                        <a:pt x="2652" y="540"/>
                      </a:lnTo>
                      <a:lnTo>
                        <a:pt x="2646" y="540"/>
                      </a:lnTo>
                      <a:lnTo>
                        <a:pt x="2628" y="558"/>
                      </a:lnTo>
                      <a:lnTo>
                        <a:pt x="2598" y="552"/>
                      </a:lnTo>
                      <a:lnTo>
                        <a:pt x="2598" y="570"/>
                      </a:lnTo>
                      <a:lnTo>
                        <a:pt x="2586" y="570"/>
                      </a:lnTo>
                      <a:lnTo>
                        <a:pt x="2550" y="588"/>
                      </a:lnTo>
                      <a:lnTo>
                        <a:pt x="2544" y="594"/>
                      </a:lnTo>
                      <a:lnTo>
                        <a:pt x="2550" y="606"/>
                      </a:lnTo>
                      <a:lnTo>
                        <a:pt x="2562" y="618"/>
                      </a:lnTo>
                      <a:lnTo>
                        <a:pt x="2538" y="642"/>
                      </a:lnTo>
                      <a:lnTo>
                        <a:pt x="2466" y="642"/>
                      </a:lnTo>
                      <a:lnTo>
                        <a:pt x="2466" y="666"/>
                      </a:lnTo>
                      <a:lnTo>
                        <a:pt x="2460" y="672"/>
                      </a:lnTo>
                      <a:lnTo>
                        <a:pt x="2454" y="684"/>
                      </a:lnTo>
                      <a:lnTo>
                        <a:pt x="2442" y="690"/>
                      </a:lnTo>
                      <a:lnTo>
                        <a:pt x="2424" y="690"/>
                      </a:lnTo>
                      <a:lnTo>
                        <a:pt x="2412" y="696"/>
                      </a:lnTo>
                      <a:lnTo>
                        <a:pt x="2388" y="696"/>
                      </a:lnTo>
                      <a:lnTo>
                        <a:pt x="2376" y="690"/>
                      </a:lnTo>
                      <a:lnTo>
                        <a:pt x="2370" y="684"/>
                      </a:lnTo>
                      <a:lnTo>
                        <a:pt x="2358" y="678"/>
                      </a:lnTo>
                      <a:lnTo>
                        <a:pt x="2352" y="672"/>
                      </a:lnTo>
                      <a:lnTo>
                        <a:pt x="2346" y="672"/>
                      </a:lnTo>
                      <a:lnTo>
                        <a:pt x="2340" y="666"/>
                      </a:lnTo>
                      <a:lnTo>
                        <a:pt x="2316" y="666"/>
                      </a:lnTo>
                      <a:lnTo>
                        <a:pt x="2304" y="672"/>
                      </a:lnTo>
                      <a:lnTo>
                        <a:pt x="2304" y="684"/>
                      </a:lnTo>
                      <a:lnTo>
                        <a:pt x="2298" y="696"/>
                      </a:lnTo>
                      <a:lnTo>
                        <a:pt x="2298" y="708"/>
                      </a:lnTo>
                      <a:lnTo>
                        <a:pt x="2304" y="720"/>
                      </a:lnTo>
                      <a:lnTo>
                        <a:pt x="2322" y="738"/>
                      </a:lnTo>
                      <a:lnTo>
                        <a:pt x="2334" y="744"/>
                      </a:lnTo>
                      <a:lnTo>
                        <a:pt x="2352" y="762"/>
                      </a:lnTo>
                      <a:lnTo>
                        <a:pt x="2364" y="768"/>
                      </a:lnTo>
                      <a:lnTo>
                        <a:pt x="2364" y="774"/>
                      </a:lnTo>
                      <a:lnTo>
                        <a:pt x="2358" y="780"/>
                      </a:lnTo>
                      <a:lnTo>
                        <a:pt x="2352" y="792"/>
                      </a:lnTo>
                      <a:lnTo>
                        <a:pt x="2340" y="804"/>
                      </a:lnTo>
                      <a:lnTo>
                        <a:pt x="2316" y="804"/>
                      </a:lnTo>
                      <a:lnTo>
                        <a:pt x="2316" y="810"/>
                      </a:lnTo>
                      <a:lnTo>
                        <a:pt x="2310" y="822"/>
                      </a:lnTo>
                      <a:lnTo>
                        <a:pt x="2310" y="828"/>
                      </a:lnTo>
                      <a:lnTo>
                        <a:pt x="2298" y="852"/>
                      </a:lnTo>
                      <a:lnTo>
                        <a:pt x="2286" y="858"/>
                      </a:lnTo>
                      <a:lnTo>
                        <a:pt x="2262" y="858"/>
                      </a:lnTo>
                      <a:lnTo>
                        <a:pt x="2244" y="882"/>
                      </a:lnTo>
                      <a:lnTo>
                        <a:pt x="2088" y="882"/>
                      </a:lnTo>
                      <a:lnTo>
                        <a:pt x="2070" y="894"/>
                      </a:lnTo>
                      <a:lnTo>
                        <a:pt x="2010" y="930"/>
                      </a:lnTo>
                      <a:lnTo>
                        <a:pt x="1992" y="942"/>
                      </a:lnTo>
                      <a:lnTo>
                        <a:pt x="1986" y="948"/>
                      </a:lnTo>
                      <a:lnTo>
                        <a:pt x="1968" y="948"/>
                      </a:lnTo>
                      <a:lnTo>
                        <a:pt x="1962" y="942"/>
                      </a:lnTo>
                      <a:lnTo>
                        <a:pt x="1956" y="942"/>
                      </a:lnTo>
                      <a:lnTo>
                        <a:pt x="1950" y="930"/>
                      </a:lnTo>
                      <a:lnTo>
                        <a:pt x="1950" y="924"/>
                      </a:lnTo>
                      <a:lnTo>
                        <a:pt x="1938" y="924"/>
                      </a:lnTo>
                      <a:lnTo>
                        <a:pt x="1926" y="930"/>
                      </a:lnTo>
                      <a:lnTo>
                        <a:pt x="1914" y="930"/>
                      </a:lnTo>
                      <a:lnTo>
                        <a:pt x="1908" y="936"/>
                      </a:lnTo>
                      <a:lnTo>
                        <a:pt x="1896" y="936"/>
                      </a:lnTo>
                      <a:lnTo>
                        <a:pt x="1890" y="930"/>
                      </a:lnTo>
                      <a:lnTo>
                        <a:pt x="1866" y="918"/>
                      </a:lnTo>
                      <a:lnTo>
                        <a:pt x="1848" y="912"/>
                      </a:lnTo>
                      <a:lnTo>
                        <a:pt x="1800" y="912"/>
                      </a:lnTo>
                      <a:lnTo>
                        <a:pt x="1776" y="906"/>
                      </a:lnTo>
                      <a:lnTo>
                        <a:pt x="1764" y="900"/>
                      </a:lnTo>
                      <a:lnTo>
                        <a:pt x="1758" y="888"/>
                      </a:lnTo>
                      <a:lnTo>
                        <a:pt x="1740" y="870"/>
                      </a:lnTo>
                      <a:lnTo>
                        <a:pt x="1728" y="870"/>
                      </a:lnTo>
                      <a:lnTo>
                        <a:pt x="1710" y="864"/>
                      </a:lnTo>
                      <a:lnTo>
                        <a:pt x="1656" y="864"/>
                      </a:lnTo>
                      <a:lnTo>
                        <a:pt x="1650" y="858"/>
                      </a:lnTo>
                      <a:lnTo>
                        <a:pt x="1644" y="858"/>
                      </a:lnTo>
                      <a:lnTo>
                        <a:pt x="1632" y="852"/>
                      </a:lnTo>
                      <a:lnTo>
                        <a:pt x="1620" y="852"/>
                      </a:lnTo>
                      <a:lnTo>
                        <a:pt x="1614" y="858"/>
                      </a:lnTo>
                      <a:lnTo>
                        <a:pt x="1602" y="864"/>
                      </a:lnTo>
                      <a:lnTo>
                        <a:pt x="1596" y="870"/>
                      </a:lnTo>
                      <a:lnTo>
                        <a:pt x="1560" y="864"/>
                      </a:lnTo>
                      <a:lnTo>
                        <a:pt x="1512" y="864"/>
                      </a:lnTo>
                      <a:lnTo>
                        <a:pt x="1458" y="858"/>
                      </a:lnTo>
                      <a:lnTo>
                        <a:pt x="1398" y="864"/>
                      </a:lnTo>
                      <a:lnTo>
                        <a:pt x="1386" y="858"/>
                      </a:lnTo>
                      <a:lnTo>
                        <a:pt x="1380" y="846"/>
                      </a:lnTo>
                      <a:lnTo>
                        <a:pt x="1368" y="840"/>
                      </a:lnTo>
                      <a:lnTo>
                        <a:pt x="1338" y="810"/>
                      </a:lnTo>
                      <a:lnTo>
                        <a:pt x="1332" y="798"/>
                      </a:lnTo>
                      <a:lnTo>
                        <a:pt x="1290" y="756"/>
                      </a:lnTo>
                      <a:lnTo>
                        <a:pt x="1278" y="732"/>
                      </a:lnTo>
                      <a:lnTo>
                        <a:pt x="1242" y="732"/>
                      </a:lnTo>
                      <a:lnTo>
                        <a:pt x="1236" y="726"/>
                      </a:lnTo>
                      <a:lnTo>
                        <a:pt x="1224" y="726"/>
                      </a:lnTo>
                      <a:lnTo>
                        <a:pt x="1200" y="714"/>
                      </a:lnTo>
                      <a:lnTo>
                        <a:pt x="1194" y="714"/>
                      </a:lnTo>
                      <a:lnTo>
                        <a:pt x="1188" y="708"/>
                      </a:lnTo>
                      <a:lnTo>
                        <a:pt x="1182" y="708"/>
                      </a:lnTo>
                      <a:lnTo>
                        <a:pt x="1176" y="696"/>
                      </a:lnTo>
                      <a:lnTo>
                        <a:pt x="1164" y="690"/>
                      </a:lnTo>
                      <a:lnTo>
                        <a:pt x="1158" y="690"/>
                      </a:lnTo>
                      <a:lnTo>
                        <a:pt x="1146" y="684"/>
                      </a:lnTo>
                      <a:lnTo>
                        <a:pt x="1140" y="684"/>
                      </a:lnTo>
                      <a:lnTo>
                        <a:pt x="1134" y="678"/>
                      </a:lnTo>
                      <a:lnTo>
                        <a:pt x="1038" y="678"/>
                      </a:lnTo>
                      <a:lnTo>
                        <a:pt x="1014" y="672"/>
                      </a:lnTo>
                      <a:lnTo>
                        <a:pt x="996" y="666"/>
                      </a:lnTo>
                      <a:lnTo>
                        <a:pt x="990" y="666"/>
                      </a:lnTo>
                      <a:lnTo>
                        <a:pt x="978" y="660"/>
                      </a:lnTo>
                      <a:lnTo>
                        <a:pt x="966" y="660"/>
                      </a:lnTo>
                      <a:lnTo>
                        <a:pt x="954" y="654"/>
                      </a:lnTo>
                      <a:lnTo>
                        <a:pt x="948" y="648"/>
                      </a:lnTo>
                      <a:lnTo>
                        <a:pt x="942" y="636"/>
                      </a:lnTo>
                      <a:lnTo>
                        <a:pt x="936" y="618"/>
                      </a:lnTo>
                      <a:lnTo>
                        <a:pt x="936" y="606"/>
                      </a:lnTo>
                      <a:lnTo>
                        <a:pt x="948" y="594"/>
                      </a:lnTo>
                      <a:lnTo>
                        <a:pt x="948" y="588"/>
                      </a:lnTo>
                      <a:lnTo>
                        <a:pt x="942" y="582"/>
                      </a:lnTo>
                      <a:lnTo>
                        <a:pt x="936" y="570"/>
                      </a:lnTo>
                      <a:lnTo>
                        <a:pt x="930" y="564"/>
                      </a:lnTo>
                      <a:lnTo>
                        <a:pt x="930" y="552"/>
                      </a:lnTo>
                      <a:lnTo>
                        <a:pt x="924" y="540"/>
                      </a:lnTo>
                      <a:lnTo>
                        <a:pt x="912" y="528"/>
                      </a:lnTo>
                      <a:lnTo>
                        <a:pt x="888" y="510"/>
                      </a:lnTo>
                      <a:lnTo>
                        <a:pt x="876" y="492"/>
                      </a:lnTo>
                      <a:lnTo>
                        <a:pt x="870" y="480"/>
                      </a:lnTo>
                      <a:lnTo>
                        <a:pt x="852" y="462"/>
                      </a:lnTo>
                      <a:lnTo>
                        <a:pt x="834" y="456"/>
                      </a:lnTo>
                      <a:lnTo>
                        <a:pt x="822" y="450"/>
                      </a:lnTo>
                      <a:lnTo>
                        <a:pt x="810" y="450"/>
                      </a:lnTo>
                      <a:lnTo>
                        <a:pt x="804" y="444"/>
                      </a:lnTo>
                      <a:lnTo>
                        <a:pt x="786" y="432"/>
                      </a:lnTo>
                      <a:lnTo>
                        <a:pt x="750" y="444"/>
                      </a:lnTo>
                      <a:lnTo>
                        <a:pt x="726" y="420"/>
                      </a:lnTo>
                      <a:lnTo>
                        <a:pt x="720" y="408"/>
                      </a:lnTo>
                      <a:lnTo>
                        <a:pt x="708" y="408"/>
                      </a:lnTo>
                      <a:lnTo>
                        <a:pt x="696" y="402"/>
                      </a:lnTo>
                      <a:lnTo>
                        <a:pt x="684" y="402"/>
                      </a:lnTo>
                      <a:lnTo>
                        <a:pt x="672" y="396"/>
                      </a:lnTo>
                      <a:lnTo>
                        <a:pt x="672" y="378"/>
                      </a:lnTo>
                      <a:lnTo>
                        <a:pt x="648" y="378"/>
                      </a:lnTo>
                      <a:lnTo>
                        <a:pt x="654" y="372"/>
                      </a:lnTo>
                      <a:lnTo>
                        <a:pt x="654" y="360"/>
                      </a:lnTo>
                      <a:lnTo>
                        <a:pt x="648" y="354"/>
                      </a:lnTo>
                      <a:lnTo>
                        <a:pt x="612" y="354"/>
                      </a:lnTo>
                      <a:lnTo>
                        <a:pt x="600" y="348"/>
                      </a:lnTo>
                      <a:lnTo>
                        <a:pt x="582" y="348"/>
                      </a:lnTo>
                      <a:lnTo>
                        <a:pt x="576" y="354"/>
                      </a:lnTo>
                      <a:lnTo>
                        <a:pt x="576" y="360"/>
                      </a:lnTo>
                      <a:lnTo>
                        <a:pt x="594" y="378"/>
                      </a:lnTo>
                      <a:lnTo>
                        <a:pt x="594" y="390"/>
                      </a:lnTo>
                      <a:lnTo>
                        <a:pt x="588" y="396"/>
                      </a:lnTo>
                      <a:lnTo>
                        <a:pt x="546" y="396"/>
                      </a:lnTo>
                      <a:lnTo>
                        <a:pt x="534" y="408"/>
                      </a:lnTo>
                      <a:lnTo>
                        <a:pt x="534" y="426"/>
                      </a:lnTo>
                      <a:lnTo>
                        <a:pt x="546" y="450"/>
                      </a:lnTo>
                      <a:lnTo>
                        <a:pt x="558" y="462"/>
                      </a:lnTo>
                      <a:lnTo>
                        <a:pt x="570" y="486"/>
                      </a:lnTo>
                      <a:lnTo>
                        <a:pt x="570" y="504"/>
                      </a:lnTo>
                      <a:lnTo>
                        <a:pt x="564" y="510"/>
                      </a:lnTo>
                      <a:lnTo>
                        <a:pt x="546" y="510"/>
                      </a:lnTo>
                      <a:lnTo>
                        <a:pt x="528" y="528"/>
                      </a:lnTo>
                      <a:lnTo>
                        <a:pt x="516" y="516"/>
                      </a:lnTo>
                      <a:lnTo>
                        <a:pt x="468" y="516"/>
                      </a:lnTo>
                      <a:lnTo>
                        <a:pt x="444" y="504"/>
                      </a:lnTo>
                      <a:lnTo>
                        <a:pt x="432" y="504"/>
                      </a:lnTo>
                      <a:lnTo>
                        <a:pt x="420" y="498"/>
                      </a:lnTo>
                      <a:lnTo>
                        <a:pt x="408" y="498"/>
                      </a:lnTo>
                      <a:lnTo>
                        <a:pt x="408" y="636"/>
                      </a:lnTo>
                      <a:lnTo>
                        <a:pt x="414" y="636"/>
                      </a:lnTo>
                      <a:lnTo>
                        <a:pt x="420" y="642"/>
                      </a:lnTo>
                      <a:lnTo>
                        <a:pt x="426" y="642"/>
                      </a:lnTo>
                      <a:lnTo>
                        <a:pt x="432" y="648"/>
                      </a:lnTo>
                      <a:lnTo>
                        <a:pt x="432" y="660"/>
                      </a:lnTo>
                      <a:lnTo>
                        <a:pt x="426" y="666"/>
                      </a:lnTo>
                      <a:lnTo>
                        <a:pt x="420" y="666"/>
                      </a:lnTo>
                      <a:lnTo>
                        <a:pt x="408" y="654"/>
                      </a:lnTo>
                      <a:lnTo>
                        <a:pt x="390" y="666"/>
                      </a:lnTo>
                      <a:lnTo>
                        <a:pt x="384" y="660"/>
                      </a:lnTo>
                      <a:lnTo>
                        <a:pt x="378" y="648"/>
                      </a:lnTo>
                      <a:lnTo>
                        <a:pt x="372" y="642"/>
                      </a:lnTo>
                      <a:lnTo>
                        <a:pt x="360" y="642"/>
                      </a:lnTo>
                      <a:lnTo>
                        <a:pt x="324" y="660"/>
                      </a:lnTo>
                      <a:lnTo>
                        <a:pt x="312" y="660"/>
                      </a:lnTo>
                      <a:lnTo>
                        <a:pt x="300" y="666"/>
                      </a:lnTo>
                      <a:lnTo>
                        <a:pt x="288" y="666"/>
                      </a:lnTo>
                      <a:lnTo>
                        <a:pt x="276" y="672"/>
                      </a:lnTo>
                      <a:lnTo>
                        <a:pt x="270" y="678"/>
                      </a:lnTo>
                      <a:lnTo>
                        <a:pt x="270" y="684"/>
                      </a:lnTo>
                      <a:lnTo>
                        <a:pt x="276" y="690"/>
                      </a:lnTo>
                      <a:lnTo>
                        <a:pt x="288" y="696"/>
                      </a:lnTo>
                      <a:lnTo>
                        <a:pt x="306" y="696"/>
                      </a:lnTo>
                      <a:lnTo>
                        <a:pt x="306" y="726"/>
                      </a:lnTo>
                      <a:lnTo>
                        <a:pt x="318" y="750"/>
                      </a:lnTo>
                      <a:lnTo>
                        <a:pt x="360" y="792"/>
                      </a:lnTo>
                      <a:lnTo>
                        <a:pt x="366" y="804"/>
                      </a:lnTo>
                      <a:lnTo>
                        <a:pt x="378" y="810"/>
                      </a:lnTo>
                      <a:lnTo>
                        <a:pt x="378" y="822"/>
                      </a:lnTo>
                      <a:lnTo>
                        <a:pt x="360" y="822"/>
                      </a:lnTo>
                      <a:lnTo>
                        <a:pt x="354" y="828"/>
                      </a:lnTo>
                      <a:lnTo>
                        <a:pt x="354" y="834"/>
                      </a:lnTo>
                      <a:lnTo>
                        <a:pt x="372" y="852"/>
                      </a:lnTo>
                      <a:lnTo>
                        <a:pt x="348" y="852"/>
                      </a:lnTo>
                      <a:lnTo>
                        <a:pt x="348" y="864"/>
                      </a:lnTo>
                      <a:lnTo>
                        <a:pt x="354" y="870"/>
                      </a:lnTo>
                      <a:lnTo>
                        <a:pt x="354" y="882"/>
                      </a:lnTo>
                      <a:lnTo>
                        <a:pt x="372" y="900"/>
                      </a:lnTo>
                      <a:lnTo>
                        <a:pt x="372" y="912"/>
                      </a:lnTo>
                      <a:lnTo>
                        <a:pt x="366" y="918"/>
                      </a:lnTo>
                      <a:lnTo>
                        <a:pt x="342" y="918"/>
                      </a:lnTo>
                      <a:lnTo>
                        <a:pt x="294" y="936"/>
                      </a:lnTo>
                      <a:lnTo>
                        <a:pt x="282" y="948"/>
                      </a:lnTo>
                      <a:lnTo>
                        <a:pt x="270" y="954"/>
                      </a:lnTo>
                      <a:lnTo>
                        <a:pt x="264" y="960"/>
                      </a:lnTo>
                      <a:lnTo>
                        <a:pt x="264" y="978"/>
                      </a:lnTo>
                      <a:lnTo>
                        <a:pt x="258" y="990"/>
                      </a:lnTo>
                      <a:lnTo>
                        <a:pt x="252" y="996"/>
                      </a:lnTo>
                      <a:lnTo>
                        <a:pt x="234" y="996"/>
                      </a:lnTo>
                      <a:lnTo>
                        <a:pt x="216" y="990"/>
                      </a:lnTo>
                      <a:lnTo>
                        <a:pt x="186" y="990"/>
                      </a:lnTo>
                      <a:lnTo>
                        <a:pt x="168" y="1008"/>
                      </a:lnTo>
                      <a:lnTo>
                        <a:pt x="162" y="1020"/>
                      </a:lnTo>
                      <a:lnTo>
                        <a:pt x="162" y="1044"/>
                      </a:lnTo>
                      <a:lnTo>
                        <a:pt x="156" y="1050"/>
                      </a:lnTo>
                      <a:lnTo>
                        <a:pt x="126" y="1044"/>
                      </a:lnTo>
                      <a:lnTo>
                        <a:pt x="114" y="1050"/>
                      </a:lnTo>
                      <a:lnTo>
                        <a:pt x="108" y="1044"/>
                      </a:lnTo>
                      <a:lnTo>
                        <a:pt x="102" y="1032"/>
                      </a:lnTo>
                      <a:lnTo>
                        <a:pt x="96" y="1026"/>
                      </a:lnTo>
                      <a:lnTo>
                        <a:pt x="84" y="1026"/>
                      </a:lnTo>
                      <a:lnTo>
                        <a:pt x="72" y="1038"/>
                      </a:lnTo>
                      <a:lnTo>
                        <a:pt x="48" y="1038"/>
                      </a:lnTo>
                      <a:lnTo>
                        <a:pt x="48" y="1056"/>
                      </a:lnTo>
                      <a:lnTo>
                        <a:pt x="36" y="1062"/>
                      </a:lnTo>
                      <a:lnTo>
                        <a:pt x="30" y="1068"/>
                      </a:lnTo>
                      <a:lnTo>
                        <a:pt x="18" y="1068"/>
                      </a:lnTo>
                      <a:lnTo>
                        <a:pt x="6" y="1074"/>
                      </a:lnTo>
                      <a:lnTo>
                        <a:pt x="0" y="1080"/>
                      </a:lnTo>
                      <a:lnTo>
                        <a:pt x="0" y="1086"/>
                      </a:lnTo>
                      <a:lnTo>
                        <a:pt x="12" y="1092"/>
                      </a:lnTo>
                      <a:lnTo>
                        <a:pt x="18" y="1104"/>
                      </a:lnTo>
                      <a:lnTo>
                        <a:pt x="18" y="1116"/>
                      </a:lnTo>
                      <a:lnTo>
                        <a:pt x="0" y="1116"/>
                      </a:lnTo>
                      <a:lnTo>
                        <a:pt x="0" y="1140"/>
                      </a:lnTo>
                      <a:lnTo>
                        <a:pt x="18" y="1140"/>
                      </a:lnTo>
                      <a:lnTo>
                        <a:pt x="18" y="1152"/>
                      </a:lnTo>
                      <a:lnTo>
                        <a:pt x="12" y="1164"/>
                      </a:lnTo>
                      <a:lnTo>
                        <a:pt x="12" y="1176"/>
                      </a:lnTo>
                      <a:lnTo>
                        <a:pt x="24" y="1188"/>
                      </a:lnTo>
                      <a:lnTo>
                        <a:pt x="36" y="1188"/>
                      </a:lnTo>
                      <a:lnTo>
                        <a:pt x="42" y="1182"/>
                      </a:lnTo>
                      <a:lnTo>
                        <a:pt x="66" y="1182"/>
                      </a:lnTo>
                      <a:lnTo>
                        <a:pt x="78" y="1188"/>
                      </a:lnTo>
                      <a:lnTo>
                        <a:pt x="84" y="1188"/>
                      </a:lnTo>
                      <a:lnTo>
                        <a:pt x="96" y="1194"/>
                      </a:lnTo>
                      <a:lnTo>
                        <a:pt x="102" y="1200"/>
                      </a:lnTo>
                      <a:lnTo>
                        <a:pt x="102" y="1242"/>
                      </a:lnTo>
                      <a:lnTo>
                        <a:pt x="114" y="1266"/>
                      </a:lnTo>
                      <a:lnTo>
                        <a:pt x="120" y="1272"/>
                      </a:lnTo>
                      <a:lnTo>
                        <a:pt x="126" y="1272"/>
                      </a:lnTo>
                      <a:lnTo>
                        <a:pt x="138" y="1284"/>
                      </a:lnTo>
                      <a:lnTo>
                        <a:pt x="132" y="1290"/>
                      </a:lnTo>
                      <a:lnTo>
                        <a:pt x="102" y="1290"/>
                      </a:lnTo>
                      <a:lnTo>
                        <a:pt x="96" y="1296"/>
                      </a:lnTo>
                      <a:lnTo>
                        <a:pt x="96" y="1308"/>
                      </a:lnTo>
                      <a:lnTo>
                        <a:pt x="108" y="1314"/>
                      </a:lnTo>
                      <a:lnTo>
                        <a:pt x="114" y="1320"/>
                      </a:lnTo>
                      <a:lnTo>
                        <a:pt x="162" y="1320"/>
                      </a:lnTo>
                      <a:lnTo>
                        <a:pt x="168" y="1332"/>
                      </a:lnTo>
                      <a:lnTo>
                        <a:pt x="180" y="1332"/>
                      </a:lnTo>
                      <a:lnTo>
                        <a:pt x="192" y="1338"/>
                      </a:lnTo>
                      <a:lnTo>
                        <a:pt x="204" y="1350"/>
                      </a:lnTo>
                      <a:lnTo>
                        <a:pt x="216" y="1374"/>
                      </a:lnTo>
                      <a:lnTo>
                        <a:pt x="216" y="1398"/>
                      </a:lnTo>
                      <a:lnTo>
                        <a:pt x="252" y="1410"/>
                      </a:lnTo>
                      <a:lnTo>
                        <a:pt x="264" y="1404"/>
                      </a:lnTo>
                      <a:lnTo>
                        <a:pt x="264" y="1410"/>
                      </a:lnTo>
                      <a:lnTo>
                        <a:pt x="270" y="1416"/>
                      </a:lnTo>
                      <a:lnTo>
                        <a:pt x="276" y="1428"/>
                      </a:lnTo>
                      <a:lnTo>
                        <a:pt x="288" y="1434"/>
                      </a:lnTo>
                      <a:lnTo>
                        <a:pt x="366" y="1434"/>
                      </a:lnTo>
                      <a:lnTo>
                        <a:pt x="378" y="1428"/>
                      </a:lnTo>
                      <a:lnTo>
                        <a:pt x="384" y="1416"/>
                      </a:lnTo>
                      <a:lnTo>
                        <a:pt x="402" y="1410"/>
                      </a:lnTo>
                      <a:lnTo>
                        <a:pt x="426" y="1398"/>
                      </a:lnTo>
                      <a:lnTo>
                        <a:pt x="438" y="1398"/>
                      </a:lnTo>
                      <a:lnTo>
                        <a:pt x="456" y="1410"/>
                      </a:lnTo>
                      <a:lnTo>
                        <a:pt x="480" y="1434"/>
                      </a:lnTo>
                      <a:lnTo>
                        <a:pt x="522" y="1434"/>
                      </a:lnTo>
                      <a:lnTo>
                        <a:pt x="522" y="1494"/>
                      </a:lnTo>
                      <a:lnTo>
                        <a:pt x="516" y="1500"/>
                      </a:lnTo>
                      <a:lnTo>
                        <a:pt x="498" y="1500"/>
                      </a:lnTo>
                      <a:lnTo>
                        <a:pt x="498" y="1506"/>
                      </a:lnTo>
                      <a:lnTo>
                        <a:pt x="504" y="1512"/>
                      </a:lnTo>
                      <a:lnTo>
                        <a:pt x="504" y="1536"/>
                      </a:lnTo>
                      <a:lnTo>
                        <a:pt x="498" y="1548"/>
                      </a:lnTo>
                      <a:lnTo>
                        <a:pt x="486" y="1554"/>
                      </a:lnTo>
                      <a:lnTo>
                        <a:pt x="456" y="1554"/>
                      </a:lnTo>
                      <a:lnTo>
                        <a:pt x="474" y="1578"/>
                      </a:lnTo>
                      <a:lnTo>
                        <a:pt x="456" y="1584"/>
                      </a:lnTo>
                      <a:lnTo>
                        <a:pt x="456" y="1608"/>
                      </a:lnTo>
                      <a:lnTo>
                        <a:pt x="480" y="1620"/>
                      </a:lnTo>
                      <a:lnTo>
                        <a:pt x="492" y="1620"/>
                      </a:lnTo>
                      <a:lnTo>
                        <a:pt x="498" y="1626"/>
                      </a:lnTo>
                      <a:lnTo>
                        <a:pt x="504" y="1638"/>
                      </a:lnTo>
                      <a:lnTo>
                        <a:pt x="522" y="1656"/>
                      </a:lnTo>
                      <a:lnTo>
                        <a:pt x="522" y="1668"/>
                      </a:lnTo>
                      <a:lnTo>
                        <a:pt x="510" y="1674"/>
                      </a:lnTo>
                      <a:lnTo>
                        <a:pt x="504" y="1680"/>
                      </a:lnTo>
                      <a:lnTo>
                        <a:pt x="498" y="1680"/>
                      </a:lnTo>
                      <a:lnTo>
                        <a:pt x="486" y="1698"/>
                      </a:lnTo>
                      <a:lnTo>
                        <a:pt x="474" y="1686"/>
                      </a:lnTo>
                      <a:lnTo>
                        <a:pt x="474" y="1668"/>
                      </a:lnTo>
                      <a:lnTo>
                        <a:pt x="462" y="1668"/>
                      </a:lnTo>
                      <a:lnTo>
                        <a:pt x="456" y="1674"/>
                      </a:lnTo>
                      <a:lnTo>
                        <a:pt x="450" y="1674"/>
                      </a:lnTo>
                      <a:lnTo>
                        <a:pt x="450" y="1692"/>
                      </a:lnTo>
                      <a:lnTo>
                        <a:pt x="456" y="1698"/>
                      </a:lnTo>
                      <a:lnTo>
                        <a:pt x="462" y="1710"/>
                      </a:lnTo>
                      <a:lnTo>
                        <a:pt x="474" y="1722"/>
                      </a:lnTo>
                      <a:lnTo>
                        <a:pt x="480" y="1722"/>
                      </a:lnTo>
                      <a:lnTo>
                        <a:pt x="480" y="1734"/>
                      </a:lnTo>
                      <a:lnTo>
                        <a:pt x="474" y="1740"/>
                      </a:lnTo>
                      <a:lnTo>
                        <a:pt x="474" y="1758"/>
                      </a:lnTo>
                      <a:lnTo>
                        <a:pt x="480" y="1764"/>
                      </a:lnTo>
                      <a:lnTo>
                        <a:pt x="510" y="1764"/>
                      </a:lnTo>
                      <a:lnTo>
                        <a:pt x="516" y="1776"/>
                      </a:lnTo>
                      <a:lnTo>
                        <a:pt x="528" y="1788"/>
                      </a:lnTo>
                      <a:lnTo>
                        <a:pt x="540" y="1794"/>
                      </a:lnTo>
                      <a:lnTo>
                        <a:pt x="552" y="1794"/>
                      </a:lnTo>
                      <a:lnTo>
                        <a:pt x="558" y="1800"/>
                      </a:lnTo>
                      <a:lnTo>
                        <a:pt x="564" y="1800"/>
                      </a:lnTo>
                      <a:lnTo>
                        <a:pt x="582" y="1818"/>
                      </a:lnTo>
                      <a:lnTo>
                        <a:pt x="600" y="1812"/>
                      </a:lnTo>
                      <a:lnTo>
                        <a:pt x="600" y="1830"/>
                      </a:lnTo>
                      <a:lnTo>
                        <a:pt x="612" y="1836"/>
                      </a:lnTo>
                      <a:lnTo>
                        <a:pt x="624" y="1836"/>
                      </a:lnTo>
                      <a:lnTo>
                        <a:pt x="666" y="1872"/>
                      </a:lnTo>
                      <a:lnTo>
                        <a:pt x="690" y="1854"/>
                      </a:lnTo>
                      <a:lnTo>
                        <a:pt x="696" y="1848"/>
                      </a:lnTo>
                      <a:lnTo>
                        <a:pt x="708" y="1842"/>
                      </a:lnTo>
                      <a:lnTo>
                        <a:pt x="720" y="1842"/>
                      </a:lnTo>
                      <a:lnTo>
                        <a:pt x="732" y="1848"/>
                      </a:lnTo>
                      <a:lnTo>
                        <a:pt x="744" y="1860"/>
                      </a:lnTo>
                      <a:lnTo>
                        <a:pt x="750" y="1872"/>
                      </a:lnTo>
                      <a:lnTo>
                        <a:pt x="762" y="1878"/>
                      </a:lnTo>
                      <a:lnTo>
                        <a:pt x="780" y="1896"/>
                      </a:lnTo>
                      <a:lnTo>
                        <a:pt x="822" y="1902"/>
                      </a:lnTo>
                      <a:lnTo>
                        <a:pt x="828" y="1914"/>
                      </a:lnTo>
                      <a:lnTo>
                        <a:pt x="834" y="1920"/>
                      </a:lnTo>
                      <a:lnTo>
                        <a:pt x="840" y="1932"/>
                      </a:lnTo>
                      <a:lnTo>
                        <a:pt x="846" y="1938"/>
                      </a:lnTo>
                      <a:lnTo>
                        <a:pt x="846" y="1950"/>
                      </a:lnTo>
                      <a:lnTo>
                        <a:pt x="858" y="1950"/>
                      </a:lnTo>
                      <a:lnTo>
                        <a:pt x="858" y="1944"/>
                      </a:lnTo>
                      <a:lnTo>
                        <a:pt x="864" y="1938"/>
                      </a:lnTo>
                      <a:lnTo>
                        <a:pt x="870" y="1926"/>
                      </a:lnTo>
                      <a:lnTo>
                        <a:pt x="882" y="1926"/>
                      </a:lnTo>
                      <a:lnTo>
                        <a:pt x="888" y="1932"/>
                      </a:lnTo>
                      <a:lnTo>
                        <a:pt x="894" y="1944"/>
                      </a:lnTo>
                      <a:lnTo>
                        <a:pt x="894" y="1962"/>
                      </a:lnTo>
                      <a:lnTo>
                        <a:pt x="924" y="1992"/>
                      </a:lnTo>
                      <a:lnTo>
                        <a:pt x="936" y="1998"/>
                      </a:lnTo>
                      <a:lnTo>
                        <a:pt x="942" y="1992"/>
                      </a:lnTo>
                      <a:lnTo>
                        <a:pt x="954" y="1986"/>
                      </a:lnTo>
                      <a:lnTo>
                        <a:pt x="960" y="1986"/>
                      </a:lnTo>
                      <a:lnTo>
                        <a:pt x="966" y="1992"/>
                      </a:lnTo>
                      <a:lnTo>
                        <a:pt x="966" y="1998"/>
                      </a:lnTo>
                      <a:lnTo>
                        <a:pt x="960" y="2004"/>
                      </a:lnTo>
                      <a:lnTo>
                        <a:pt x="960" y="2010"/>
                      </a:lnTo>
                      <a:lnTo>
                        <a:pt x="966" y="2010"/>
                      </a:lnTo>
                      <a:lnTo>
                        <a:pt x="972" y="2016"/>
                      </a:lnTo>
                      <a:lnTo>
                        <a:pt x="990" y="2022"/>
                      </a:lnTo>
                      <a:lnTo>
                        <a:pt x="1002" y="2022"/>
                      </a:lnTo>
                      <a:lnTo>
                        <a:pt x="1008" y="2016"/>
                      </a:lnTo>
                      <a:lnTo>
                        <a:pt x="1014" y="2016"/>
                      </a:lnTo>
                      <a:lnTo>
                        <a:pt x="1014" y="2034"/>
                      </a:lnTo>
                      <a:lnTo>
                        <a:pt x="1020" y="2040"/>
                      </a:lnTo>
                      <a:lnTo>
                        <a:pt x="1032" y="2040"/>
                      </a:lnTo>
                      <a:lnTo>
                        <a:pt x="1044" y="2028"/>
                      </a:lnTo>
                      <a:lnTo>
                        <a:pt x="1044" y="2022"/>
                      </a:lnTo>
                      <a:lnTo>
                        <a:pt x="1044" y="2034"/>
                      </a:lnTo>
                      <a:lnTo>
                        <a:pt x="1050" y="2040"/>
                      </a:lnTo>
                      <a:lnTo>
                        <a:pt x="1068" y="2040"/>
                      </a:lnTo>
                      <a:lnTo>
                        <a:pt x="1074" y="2034"/>
                      </a:lnTo>
                      <a:lnTo>
                        <a:pt x="1074" y="2028"/>
                      </a:lnTo>
                      <a:lnTo>
                        <a:pt x="1086" y="2034"/>
                      </a:lnTo>
                      <a:lnTo>
                        <a:pt x="1092" y="2040"/>
                      </a:lnTo>
                      <a:lnTo>
                        <a:pt x="1110" y="2046"/>
                      </a:lnTo>
                      <a:lnTo>
                        <a:pt x="1134" y="2058"/>
                      </a:lnTo>
                      <a:lnTo>
                        <a:pt x="1158" y="2058"/>
                      </a:lnTo>
                      <a:lnTo>
                        <a:pt x="1176" y="2040"/>
                      </a:lnTo>
                      <a:lnTo>
                        <a:pt x="1194" y="2034"/>
                      </a:lnTo>
                      <a:lnTo>
                        <a:pt x="1206" y="2028"/>
                      </a:lnTo>
                      <a:lnTo>
                        <a:pt x="1212" y="2028"/>
                      </a:lnTo>
                      <a:lnTo>
                        <a:pt x="1224" y="2034"/>
                      </a:lnTo>
                      <a:lnTo>
                        <a:pt x="1230" y="2040"/>
                      </a:lnTo>
                      <a:lnTo>
                        <a:pt x="1230" y="2088"/>
                      </a:lnTo>
                      <a:lnTo>
                        <a:pt x="1236" y="2094"/>
                      </a:lnTo>
                      <a:lnTo>
                        <a:pt x="1242" y="2094"/>
                      </a:lnTo>
                      <a:lnTo>
                        <a:pt x="1242" y="2088"/>
                      </a:lnTo>
                      <a:lnTo>
                        <a:pt x="1248" y="2082"/>
                      </a:lnTo>
                      <a:lnTo>
                        <a:pt x="1254" y="2070"/>
                      </a:lnTo>
                      <a:lnTo>
                        <a:pt x="1266" y="2052"/>
                      </a:lnTo>
                      <a:lnTo>
                        <a:pt x="1272" y="2040"/>
                      </a:lnTo>
                      <a:lnTo>
                        <a:pt x="1284" y="2028"/>
                      </a:lnTo>
                      <a:lnTo>
                        <a:pt x="1290" y="2016"/>
                      </a:lnTo>
                      <a:lnTo>
                        <a:pt x="1302" y="2016"/>
                      </a:lnTo>
                      <a:lnTo>
                        <a:pt x="1314" y="2022"/>
                      </a:lnTo>
                      <a:lnTo>
                        <a:pt x="1338" y="2022"/>
                      </a:lnTo>
                      <a:lnTo>
                        <a:pt x="1338" y="2046"/>
                      </a:lnTo>
                      <a:lnTo>
                        <a:pt x="1344" y="2046"/>
                      </a:lnTo>
                      <a:lnTo>
                        <a:pt x="1350" y="2040"/>
                      </a:lnTo>
                      <a:lnTo>
                        <a:pt x="1362" y="2034"/>
                      </a:lnTo>
                      <a:lnTo>
                        <a:pt x="1374" y="2034"/>
                      </a:lnTo>
                      <a:lnTo>
                        <a:pt x="1386" y="2028"/>
                      </a:lnTo>
                      <a:lnTo>
                        <a:pt x="1398" y="2028"/>
                      </a:lnTo>
                      <a:lnTo>
                        <a:pt x="1410" y="2034"/>
                      </a:lnTo>
                      <a:lnTo>
                        <a:pt x="1422" y="2046"/>
                      </a:lnTo>
                      <a:lnTo>
                        <a:pt x="1428" y="2058"/>
                      </a:lnTo>
                      <a:lnTo>
                        <a:pt x="1428" y="2064"/>
                      </a:lnTo>
                      <a:lnTo>
                        <a:pt x="1482" y="2064"/>
                      </a:lnTo>
                      <a:lnTo>
                        <a:pt x="1494" y="2052"/>
                      </a:lnTo>
                      <a:lnTo>
                        <a:pt x="1494" y="2034"/>
                      </a:lnTo>
                      <a:lnTo>
                        <a:pt x="1488" y="2022"/>
                      </a:lnTo>
                      <a:lnTo>
                        <a:pt x="1518" y="2022"/>
                      </a:lnTo>
                      <a:lnTo>
                        <a:pt x="1524" y="2016"/>
                      </a:lnTo>
                      <a:lnTo>
                        <a:pt x="1524" y="1992"/>
                      </a:lnTo>
                      <a:lnTo>
                        <a:pt x="1518" y="1986"/>
                      </a:lnTo>
                      <a:lnTo>
                        <a:pt x="1518" y="1980"/>
                      </a:lnTo>
                      <a:lnTo>
                        <a:pt x="1554" y="1980"/>
                      </a:lnTo>
                      <a:lnTo>
                        <a:pt x="1578" y="1956"/>
                      </a:lnTo>
                      <a:lnTo>
                        <a:pt x="1590" y="1950"/>
                      </a:lnTo>
                      <a:lnTo>
                        <a:pt x="1602" y="1938"/>
                      </a:lnTo>
                      <a:lnTo>
                        <a:pt x="1620" y="1938"/>
                      </a:lnTo>
                      <a:lnTo>
                        <a:pt x="1632" y="1944"/>
                      </a:lnTo>
                      <a:lnTo>
                        <a:pt x="1650" y="1956"/>
                      </a:lnTo>
                      <a:lnTo>
                        <a:pt x="1668" y="1956"/>
                      </a:lnTo>
                      <a:lnTo>
                        <a:pt x="1668" y="1932"/>
                      </a:lnTo>
                      <a:lnTo>
                        <a:pt x="1680" y="1920"/>
                      </a:lnTo>
                      <a:lnTo>
                        <a:pt x="1716" y="1938"/>
                      </a:lnTo>
                      <a:lnTo>
                        <a:pt x="1722" y="1944"/>
                      </a:lnTo>
                      <a:lnTo>
                        <a:pt x="1710" y="1956"/>
                      </a:lnTo>
                      <a:lnTo>
                        <a:pt x="1704" y="1956"/>
                      </a:lnTo>
                      <a:lnTo>
                        <a:pt x="1710" y="1962"/>
                      </a:lnTo>
                      <a:lnTo>
                        <a:pt x="1740" y="1962"/>
                      </a:lnTo>
                      <a:lnTo>
                        <a:pt x="1758" y="1992"/>
                      </a:lnTo>
                      <a:lnTo>
                        <a:pt x="1752" y="1992"/>
                      </a:lnTo>
                      <a:lnTo>
                        <a:pt x="1740" y="2004"/>
                      </a:lnTo>
                      <a:lnTo>
                        <a:pt x="1740" y="2010"/>
                      </a:lnTo>
                      <a:lnTo>
                        <a:pt x="1806" y="2010"/>
                      </a:lnTo>
                      <a:lnTo>
                        <a:pt x="1812" y="2016"/>
                      </a:lnTo>
                      <a:lnTo>
                        <a:pt x="1818" y="2016"/>
                      </a:lnTo>
                      <a:lnTo>
                        <a:pt x="1824" y="1998"/>
                      </a:lnTo>
                      <a:lnTo>
                        <a:pt x="1830" y="1998"/>
                      </a:lnTo>
                      <a:lnTo>
                        <a:pt x="1836" y="2004"/>
                      </a:lnTo>
                      <a:lnTo>
                        <a:pt x="1842" y="2016"/>
                      </a:lnTo>
                      <a:lnTo>
                        <a:pt x="1854" y="2022"/>
                      </a:lnTo>
                      <a:lnTo>
                        <a:pt x="1872" y="2058"/>
                      </a:lnTo>
                      <a:lnTo>
                        <a:pt x="1878" y="2064"/>
                      </a:lnTo>
                      <a:lnTo>
                        <a:pt x="1878" y="2070"/>
                      </a:lnTo>
                      <a:lnTo>
                        <a:pt x="1914" y="2070"/>
                      </a:lnTo>
                      <a:lnTo>
                        <a:pt x="1920" y="2076"/>
                      </a:lnTo>
                      <a:lnTo>
                        <a:pt x="1920" y="2106"/>
                      </a:lnTo>
                      <a:lnTo>
                        <a:pt x="1932" y="2130"/>
                      </a:lnTo>
                      <a:lnTo>
                        <a:pt x="1944" y="2190"/>
                      </a:lnTo>
                      <a:lnTo>
                        <a:pt x="1932" y="2190"/>
                      </a:lnTo>
                      <a:lnTo>
                        <a:pt x="1926" y="2196"/>
                      </a:lnTo>
                      <a:lnTo>
                        <a:pt x="1914" y="2196"/>
                      </a:lnTo>
                      <a:lnTo>
                        <a:pt x="1932" y="2214"/>
                      </a:lnTo>
                      <a:lnTo>
                        <a:pt x="1932" y="2220"/>
                      </a:lnTo>
                      <a:lnTo>
                        <a:pt x="1926" y="2232"/>
                      </a:lnTo>
                      <a:lnTo>
                        <a:pt x="1920" y="2238"/>
                      </a:lnTo>
                      <a:lnTo>
                        <a:pt x="1908" y="2238"/>
                      </a:lnTo>
                      <a:lnTo>
                        <a:pt x="1902" y="2232"/>
                      </a:lnTo>
                      <a:lnTo>
                        <a:pt x="1902" y="2268"/>
                      </a:lnTo>
                      <a:lnTo>
                        <a:pt x="1896" y="2274"/>
                      </a:lnTo>
                      <a:lnTo>
                        <a:pt x="1884" y="2274"/>
                      </a:lnTo>
                      <a:lnTo>
                        <a:pt x="1890" y="2304"/>
                      </a:lnTo>
                      <a:lnTo>
                        <a:pt x="1878" y="2304"/>
                      </a:lnTo>
                      <a:lnTo>
                        <a:pt x="1878" y="2322"/>
                      </a:lnTo>
                      <a:lnTo>
                        <a:pt x="1896" y="2340"/>
                      </a:lnTo>
                      <a:lnTo>
                        <a:pt x="1902" y="2352"/>
                      </a:lnTo>
                      <a:lnTo>
                        <a:pt x="1890" y="2370"/>
                      </a:lnTo>
                      <a:lnTo>
                        <a:pt x="1902" y="2364"/>
                      </a:lnTo>
                      <a:lnTo>
                        <a:pt x="1908" y="2358"/>
                      </a:lnTo>
                      <a:lnTo>
                        <a:pt x="1920" y="2358"/>
                      </a:lnTo>
                      <a:lnTo>
                        <a:pt x="1926" y="2352"/>
                      </a:lnTo>
                      <a:lnTo>
                        <a:pt x="1986" y="2352"/>
                      </a:lnTo>
                      <a:lnTo>
                        <a:pt x="1956" y="2376"/>
                      </a:lnTo>
                      <a:lnTo>
                        <a:pt x="1980" y="2394"/>
                      </a:lnTo>
                      <a:lnTo>
                        <a:pt x="1992" y="2436"/>
                      </a:lnTo>
                      <a:lnTo>
                        <a:pt x="2022" y="2436"/>
                      </a:lnTo>
                      <a:lnTo>
                        <a:pt x="2034" y="2442"/>
                      </a:lnTo>
                      <a:lnTo>
                        <a:pt x="2040" y="2448"/>
                      </a:lnTo>
                      <a:lnTo>
                        <a:pt x="2040" y="2454"/>
                      </a:lnTo>
                      <a:lnTo>
                        <a:pt x="2034" y="2460"/>
                      </a:lnTo>
                      <a:lnTo>
                        <a:pt x="2022" y="2460"/>
                      </a:lnTo>
                      <a:lnTo>
                        <a:pt x="2016" y="2466"/>
                      </a:lnTo>
                      <a:lnTo>
                        <a:pt x="2028" y="2478"/>
                      </a:lnTo>
                      <a:lnTo>
                        <a:pt x="2028" y="2490"/>
                      </a:lnTo>
                      <a:lnTo>
                        <a:pt x="2022" y="2496"/>
                      </a:lnTo>
                      <a:lnTo>
                        <a:pt x="2022" y="2502"/>
                      </a:lnTo>
                      <a:lnTo>
                        <a:pt x="2016" y="2514"/>
                      </a:lnTo>
                      <a:lnTo>
                        <a:pt x="2070" y="2520"/>
                      </a:lnTo>
                      <a:lnTo>
                        <a:pt x="2082" y="2550"/>
                      </a:lnTo>
                      <a:lnTo>
                        <a:pt x="2094" y="2550"/>
                      </a:lnTo>
                      <a:lnTo>
                        <a:pt x="2094" y="2568"/>
                      </a:lnTo>
                      <a:lnTo>
                        <a:pt x="2136" y="2568"/>
                      </a:lnTo>
                      <a:lnTo>
                        <a:pt x="2136" y="2562"/>
                      </a:lnTo>
                      <a:lnTo>
                        <a:pt x="2154" y="2544"/>
                      </a:lnTo>
                      <a:lnTo>
                        <a:pt x="2166" y="2544"/>
                      </a:lnTo>
                      <a:lnTo>
                        <a:pt x="2172" y="2550"/>
                      </a:lnTo>
                      <a:lnTo>
                        <a:pt x="2172" y="2592"/>
                      </a:lnTo>
                      <a:lnTo>
                        <a:pt x="2214" y="2592"/>
                      </a:lnTo>
                      <a:lnTo>
                        <a:pt x="2214" y="2556"/>
                      </a:lnTo>
                      <a:lnTo>
                        <a:pt x="2190" y="2532"/>
                      </a:lnTo>
                      <a:lnTo>
                        <a:pt x="2190" y="2490"/>
                      </a:lnTo>
                      <a:lnTo>
                        <a:pt x="2196" y="2484"/>
                      </a:lnTo>
                      <a:lnTo>
                        <a:pt x="2232" y="2490"/>
                      </a:lnTo>
                      <a:lnTo>
                        <a:pt x="2232" y="2472"/>
                      </a:lnTo>
                      <a:lnTo>
                        <a:pt x="2238" y="2460"/>
                      </a:lnTo>
                      <a:lnTo>
                        <a:pt x="2250" y="2460"/>
                      </a:lnTo>
                      <a:lnTo>
                        <a:pt x="2274" y="2484"/>
                      </a:lnTo>
                      <a:lnTo>
                        <a:pt x="2286" y="2484"/>
                      </a:lnTo>
                      <a:lnTo>
                        <a:pt x="2292" y="2478"/>
                      </a:lnTo>
                      <a:lnTo>
                        <a:pt x="2298" y="2466"/>
                      </a:lnTo>
                      <a:lnTo>
                        <a:pt x="2304" y="2460"/>
                      </a:lnTo>
                      <a:lnTo>
                        <a:pt x="2322" y="2478"/>
                      </a:lnTo>
                      <a:lnTo>
                        <a:pt x="2322" y="2460"/>
                      </a:lnTo>
                      <a:lnTo>
                        <a:pt x="2328" y="2460"/>
                      </a:lnTo>
                      <a:lnTo>
                        <a:pt x="2340" y="2478"/>
                      </a:lnTo>
                      <a:lnTo>
                        <a:pt x="2346" y="2484"/>
                      </a:lnTo>
                      <a:lnTo>
                        <a:pt x="2364" y="2484"/>
                      </a:lnTo>
                      <a:lnTo>
                        <a:pt x="2364" y="2472"/>
                      </a:lnTo>
                      <a:lnTo>
                        <a:pt x="2352" y="2460"/>
                      </a:lnTo>
                      <a:lnTo>
                        <a:pt x="2370" y="2460"/>
                      </a:lnTo>
                      <a:lnTo>
                        <a:pt x="2376" y="2466"/>
                      </a:lnTo>
                      <a:lnTo>
                        <a:pt x="2382" y="2460"/>
                      </a:lnTo>
                      <a:lnTo>
                        <a:pt x="2400" y="2460"/>
                      </a:lnTo>
                      <a:lnTo>
                        <a:pt x="2400" y="2454"/>
                      </a:lnTo>
                      <a:lnTo>
                        <a:pt x="2406" y="2442"/>
                      </a:lnTo>
                      <a:lnTo>
                        <a:pt x="2406" y="2430"/>
                      </a:lnTo>
                      <a:lnTo>
                        <a:pt x="2412" y="2424"/>
                      </a:lnTo>
                      <a:lnTo>
                        <a:pt x="2424" y="2418"/>
                      </a:lnTo>
                      <a:lnTo>
                        <a:pt x="2430" y="2412"/>
                      </a:lnTo>
                      <a:lnTo>
                        <a:pt x="2436" y="2412"/>
                      </a:lnTo>
                      <a:lnTo>
                        <a:pt x="2466" y="2448"/>
                      </a:lnTo>
                      <a:lnTo>
                        <a:pt x="2496" y="2442"/>
                      </a:lnTo>
                      <a:lnTo>
                        <a:pt x="2508" y="2454"/>
                      </a:lnTo>
                      <a:lnTo>
                        <a:pt x="2538" y="2454"/>
                      </a:lnTo>
                      <a:lnTo>
                        <a:pt x="2544" y="2460"/>
                      </a:lnTo>
                      <a:lnTo>
                        <a:pt x="2544" y="2466"/>
                      </a:lnTo>
                      <a:lnTo>
                        <a:pt x="2526" y="2484"/>
                      </a:lnTo>
                      <a:lnTo>
                        <a:pt x="2532" y="2502"/>
                      </a:lnTo>
                      <a:lnTo>
                        <a:pt x="2544" y="2508"/>
                      </a:lnTo>
                      <a:lnTo>
                        <a:pt x="2544" y="2526"/>
                      </a:lnTo>
                      <a:lnTo>
                        <a:pt x="2562" y="2526"/>
                      </a:lnTo>
                      <a:lnTo>
                        <a:pt x="2568" y="2532"/>
                      </a:lnTo>
                      <a:lnTo>
                        <a:pt x="2574" y="2544"/>
                      </a:lnTo>
                      <a:lnTo>
                        <a:pt x="2586" y="2550"/>
                      </a:lnTo>
                      <a:lnTo>
                        <a:pt x="2616" y="2550"/>
                      </a:lnTo>
                      <a:lnTo>
                        <a:pt x="2622" y="2556"/>
                      </a:lnTo>
                      <a:lnTo>
                        <a:pt x="2628" y="2556"/>
                      </a:lnTo>
                      <a:lnTo>
                        <a:pt x="2676" y="2526"/>
                      </a:lnTo>
                      <a:lnTo>
                        <a:pt x="2694" y="2538"/>
                      </a:lnTo>
                      <a:lnTo>
                        <a:pt x="2718" y="2538"/>
                      </a:lnTo>
                      <a:lnTo>
                        <a:pt x="2736" y="2544"/>
                      </a:lnTo>
                      <a:lnTo>
                        <a:pt x="2748" y="2544"/>
                      </a:lnTo>
                      <a:lnTo>
                        <a:pt x="2760" y="2550"/>
                      </a:lnTo>
                      <a:lnTo>
                        <a:pt x="2766" y="2556"/>
                      </a:lnTo>
                      <a:lnTo>
                        <a:pt x="2772" y="2568"/>
                      </a:lnTo>
                      <a:lnTo>
                        <a:pt x="2766" y="2580"/>
                      </a:lnTo>
                      <a:lnTo>
                        <a:pt x="2766" y="2604"/>
                      </a:lnTo>
                      <a:lnTo>
                        <a:pt x="2760" y="2616"/>
                      </a:lnTo>
                      <a:lnTo>
                        <a:pt x="2766" y="2628"/>
                      </a:lnTo>
                      <a:lnTo>
                        <a:pt x="2772" y="2634"/>
                      </a:lnTo>
                      <a:lnTo>
                        <a:pt x="2784" y="2640"/>
                      </a:lnTo>
                      <a:lnTo>
                        <a:pt x="2790" y="2652"/>
                      </a:lnTo>
                      <a:lnTo>
                        <a:pt x="2802" y="2658"/>
                      </a:lnTo>
                      <a:lnTo>
                        <a:pt x="2808" y="2664"/>
                      </a:lnTo>
                      <a:lnTo>
                        <a:pt x="2826" y="2664"/>
                      </a:lnTo>
                      <a:lnTo>
                        <a:pt x="2832" y="2640"/>
                      </a:lnTo>
                      <a:lnTo>
                        <a:pt x="2832" y="2634"/>
                      </a:lnTo>
                      <a:lnTo>
                        <a:pt x="2826" y="2628"/>
                      </a:lnTo>
                      <a:lnTo>
                        <a:pt x="2826" y="2586"/>
                      </a:lnTo>
                      <a:lnTo>
                        <a:pt x="2832" y="2568"/>
                      </a:lnTo>
                      <a:lnTo>
                        <a:pt x="2844" y="2556"/>
                      </a:lnTo>
                      <a:lnTo>
                        <a:pt x="2856" y="2550"/>
                      </a:lnTo>
                      <a:lnTo>
                        <a:pt x="2886" y="2550"/>
                      </a:lnTo>
                      <a:lnTo>
                        <a:pt x="2898" y="2544"/>
                      </a:lnTo>
                      <a:lnTo>
                        <a:pt x="2910" y="2544"/>
                      </a:lnTo>
                      <a:lnTo>
                        <a:pt x="2922" y="2538"/>
                      </a:lnTo>
                      <a:lnTo>
                        <a:pt x="2940" y="2538"/>
                      </a:lnTo>
                      <a:lnTo>
                        <a:pt x="2964" y="2532"/>
                      </a:lnTo>
                      <a:lnTo>
                        <a:pt x="2982" y="2526"/>
                      </a:lnTo>
                      <a:lnTo>
                        <a:pt x="3000" y="2508"/>
                      </a:lnTo>
                      <a:lnTo>
                        <a:pt x="3000" y="2466"/>
                      </a:lnTo>
                      <a:lnTo>
                        <a:pt x="3006" y="2454"/>
                      </a:lnTo>
                      <a:lnTo>
                        <a:pt x="3012" y="2448"/>
                      </a:lnTo>
                      <a:lnTo>
                        <a:pt x="3024" y="2460"/>
                      </a:lnTo>
                      <a:lnTo>
                        <a:pt x="3036" y="2484"/>
                      </a:lnTo>
                      <a:lnTo>
                        <a:pt x="3042" y="2490"/>
                      </a:lnTo>
                      <a:lnTo>
                        <a:pt x="3048" y="2490"/>
                      </a:lnTo>
                      <a:lnTo>
                        <a:pt x="3054" y="2484"/>
                      </a:lnTo>
                      <a:lnTo>
                        <a:pt x="3066" y="2478"/>
                      </a:lnTo>
                      <a:lnTo>
                        <a:pt x="3072" y="2466"/>
                      </a:lnTo>
                      <a:lnTo>
                        <a:pt x="3090" y="2448"/>
                      </a:lnTo>
                      <a:lnTo>
                        <a:pt x="3096" y="2436"/>
                      </a:lnTo>
                      <a:lnTo>
                        <a:pt x="3114" y="2454"/>
                      </a:lnTo>
                      <a:lnTo>
                        <a:pt x="3144" y="2442"/>
                      </a:lnTo>
                      <a:lnTo>
                        <a:pt x="3150" y="2442"/>
                      </a:lnTo>
                      <a:lnTo>
                        <a:pt x="3156" y="2448"/>
                      </a:lnTo>
                      <a:lnTo>
                        <a:pt x="3186" y="2448"/>
                      </a:lnTo>
                      <a:lnTo>
                        <a:pt x="3234" y="2424"/>
                      </a:lnTo>
                      <a:lnTo>
                        <a:pt x="3288" y="2370"/>
                      </a:lnTo>
                      <a:lnTo>
                        <a:pt x="3294" y="2358"/>
                      </a:lnTo>
                      <a:lnTo>
                        <a:pt x="3300" y="2352"/>
                      </a:lnTo>
                      <a:lnTo>
                        <a:pt x="3294" y="2340"/>
                      </a:lnTo>
                      <a:lnTo>
                        <a:pt x="3294" y="2334"/>
                      </a:lnTo>
                      <a:lnTo>
                        <a:pt x="3288" y="2322"/>
                      </a:lnTo>
                      <a:lnTo>
                        <a:pt x="3282" y="2316"/>
                      </a:lnTo>
                      <a:lnTo>
                        <a:pt x="3300" y="2316"/>
                      </a:lnTo>
                      <a:lnTo>
                        <a:pt x="3312" y="2286"/>
                      </a:lnTo>
                      <a:lnTo>
                        <a:pt x="3336" y="2286"/>
                      </a:lnTo>
                      <a:lnTo>
                        <a:pt x="3348" y="2250"/>
                      </a:lnTo>
                      <a:lnTo>
                        <a:pt x="3360" y="2250"/>
                      </a:lnTo>
                      <a:lnTo>
                        <a:pt x="3360" y="2208"/>
                      </a:lnTo>
                      <a:lnTo>
                        <a:pt x="3372" y="2208"/>
                      </a:lnTo>
                      <a:lnTo>
                        <a:pt x="3384" y="2196"/>
                      </a:lnTo>
                      <a:lnTo>
                        <a:pt x="3384" y="2172"/>
                      </a:lnTo>
                      <a:lnTo>
                        <a:pt x="3378" y="2160"/>
                      </a:lnTo>
                      <a:lnTo>
                        <a:pt x="3372" y="2154"/>
                      </a:lnTo>
                      <a:lnTo>
                        <a:pt x="3372" y="2142"/>
                      </a:lnTo>
                      <a:lnTo>
                        <a:pt x="3378" y="2136"/>
                      </a:lnTo>
                      <a:lnTo>
                        <a:pt x="3384" y="2136"/>
                      </a:lnTo>
                      <a:lnTo>
                        <a:pt x="3390" y="2130"/>
                      </a:lnTo>
                      <a:lnTo>
                        <a:pt x="3402" y="2124"/>
                      </a:lnTo>
                      <a:lnTo>
                        <a:pt x="3408" y="2118"/>
                      </a:lnTo>
                      <a:lnTo>
                        <a:pt x="3408" y="2094"/>
                      </a:lnTo>
                      <a:lnTo>
                        <a:pt x="3390" y="2076"/>
                      </a:lnTo>
                      <a:lnTo>
                        <a:pt x="3390" y="2064"/>
                      </a:lnTo>
                      <a:lnTo>
                        <a:pt x="3402" y="2058"/>
                      </a:lnTo>
                      <a:lnTo>
                        <a:pt x="3408" y="2052"/>
                      </a:lnTo>
                      <a:lnTo>
                        <a:pt x="3408" y="2016"/>
                      </a:lnTo>
                      <a:lnTo>
                        <a:pt x="3414" y="2016"/>
                      </a:lnTo>
                      <a:lnTo>
                        <a:pt x="3420" y="2010"/>
                      </a:lnTo>
                      <a:lnTo>
                        <a:pt x="3456" y="1992"/>
                      </a:lnTo>
                      <a:lnTo>
                        <a:pt x="3462" y="1980"/>
                      </a:lnTo>
                      <a:lnTo>
                        <a:pt x="3462" y="1962"/>
                      </a:lnTo>
                      <a:lnTo>
                        <a:pt x="3456" y="1956"/>
                      </a:lnTo>
                      <a:lnTo>
                        <a:pt x="3444" y="1956"/>
                      </a:lnTo>
                      <a:lnTo>
                        <a:pt x="3450" y="1956"/>
                      </a:lnTo>
                      <a:lnTo>
                        <a:pt x="3456" y="1950"/>
                      </a:lnTo>
                      <a:lnTo>
                        <a:pt x="3468" y="1950"/>
                      </a:lnTo>
                      <a:lnTo>
                        <a:pt x="3480" y="1944"/>
                      </a:lnTo>
                      <a:lnTo>
                        <a:pt x="3492" y="1932"/>
                      </a:lnTo>
                      <a:lnTo>
                        <a:pt x="3474" y="1914"/>
                      </a:lnTo>
                      <a:lnTo>
                        <a:pt x="3468" y="1914"/>
                      </a:lnTo>
                      <a:lnTo>
                        <a:pt x="3486" y="1896"/>
                      </a:lnTo>
                      <a:lnTo>
                        <a:pt x="3498" y="1872"/>
                      </a:lnTo>
                      <a:lnTo>
                        <a:pt x="3504" y="1866"/>
                      </a:lnTo>
                      <a:lnTo>
                        <a:pt x="3504" y="1854"/>
                      </a:lnTo>
                      <a:lnTo>
                        <a:pt x="3498" y="1848"/>
                      </a:lnTo>
                      <a:lnTo>
                        <a:pt x="3474" y="1842"/>
                      </a:lnTo>
                      <a:lnTo>
                        <a:pt x="3438" y="1848"/>
                      </a:lnTo>
                      <a:lnTo>
                        <a:pt x="3396" y="1854"/>
                      </a:lnTo>
                      <a:lnTo>
                        <a:pt x="3366" y="1860"/>
                      </a:lnTo>
                      <a:lnTo>
                        <a:pt x="3354" y="1866"/>
                      </a:lnTo>
                      <a:lnTo>
                        <a:pt x="3336" y="1848"/>
                      </a:lnTo>
                      <a:lnTo>
                        <a:pt x="3378" y="1848"/>
                      </a:lnTo>
                      <a:lnTo>
                        <a:pt x="3378" y="1836"/>
                      </a:lnTo>
                      <a:lnTo>
                        <a:pt x="3384" y="1824"/>
                      </a:lnTo>
                      <a:lnTo>
                        <a:pt x="3390" y="1818"/>
                      </a:lnTo>
                      <a:lnTo>
                        <a:pt x="3402" y="1812"/>
                      </a:lnTo>
                      <a:lnTo>
                        <a:pt x="3432" y="1812"/>
                      </a:lnTo>
                      <a:lnTo>
                        <a:pt x="3426" y="1800"/>
                      </a:lnTo>
                      <a:lnTo>
                        <a:pt x="3420" y="1794"/>
                      </a:lnTo>
                      <a:lnTo>
                        <a:pt x="3414" y="1782"/>
                      </a:lnTo>
                      <a:lnTo>
                        <a:pt x="3414" y="1776"/>
                      </a:lnTo>
                      <a:lnTo>
                        <a:pt x="3408" y="1770"/>
                      </a:lnTo>
                      <a:lnTo>
                        <a:pt x="3390" y="1770"/>
                      </a:lnTo>
                      <a:lnTo>
                        <a:pt x="3378" y="1764"/>
                      </a:lnTo>
                      <a:lnTo>
                        <a:pt x="3366" y="1764"/>
                      </a:lnTo>
                      <a:lnTo>
                        <a:pt x="3354" y="1746"/>
                      </a:lnTo>
                      <a:lnTo>
                        <a:pt x="3342" y="1746"/>
                      </a:lnTo>
                      <a:lnTo>
                        <a:pt x="3336" y="1734"/>
                      </a:lnTo>
                      <a:lnTo>
                        <a:pt x="3324" y="1728"/>
                      </a:lnTo>
                      <a:lnTo>
                        <a:pt x="3294" y="1728"/>
                      </a:lnTo>
                      <a:lnTo>
                        <a:pt x="3288" y="1734"/>
                      </a:lnTo>
                      <a:lnTo>
                        <a:pt x="3282" y="1734"/>
                      </a:lnTo>
                      <a:lnTo>
                        <a:pt x="3246" y="1686"/>
                      </a:lnTo>
                      <a:lnTo>
                        <a:pt x="3252" y="1698"/>
                      </a:lnTo>
                      <a:lnTo>
                        <a:pt x="3264" y="1704"/>
                      </a:lnTo>
                      <a:lnTo>
                        <a:pt x="3270" y="1710"/>
                      </a:lnTo>
                      <a:lnTo>
                        <a:pt x="3282" y="1716"/>
                      </a:lnTo>
                      <a:lnTo>
                        <a:pt x="3294" y="1716"/>
                      </a:lnTo>
                      <a:lnTo>
                        <a:pt x="3300" y="1710"/>
                      </a:lnTo>
                      <a:lnTo>
                        <a:pt x="3306" y="1710"/>
                      </a:lnTo>
                      <a:lnTo>
                        <a:pt x="3336" y="1716"/>
                      </a:lnTo>
                      <a:lnTo>
                        <a:pt x="3348" y="1734"/>
                      </a:lnTo>
                      <a:lnTo>
                        <a:pt x="3366" y="1728"/>
                      </a:lnTo>
                      <a:lnTo>
                        <a:pt x="3408" y="1740"/>
                      </a:lnTo>
                      <a:lnTo>
                        <a:pt x="3390" y="1716"/>
                      </a:lnTo>
                      <a:lnTo>
                        <a:pt x="3372" y="1710"/>
                      </a:lnTo>
                      <a:lnTo>
                        <a:pt x="3372" y="1692"/>
                      </a:lnTo>
                      <a:lnTo>
                        <a:pt x="3360" y="1680"/>
                      </a:lnTo>
                      <a:lnTo>
                        <a:pt x="3348" y="1674"/>
                      </a:lnTo>
                      <a:lnTo>
                        <a:pt x="3330" y="1674"/>
                      </a:lnTo>
                      <a:lnTo>
                        <a:pt x="3318" y="1662"/>
                      </a:lnTo>
                      <a:lnTo>
                        <a:pt x="3318" y="1650"/>
                      </a:lnTo>
                      <a:lnTo>
                        <a:pt x="3312" y="1644"/>
                      </a:lnTo>
                      <a:lnTo>
                        <a:pt x="3312" y="1632"/>
                      </a:lnTo>
                      <a:lnTo>
                        <a:pt x="3234" y="1530"/>
                      </a:lnTo>
                      <a:lnTo>
                        <a:pt x="3198" y="1524"/>
                      </a:lnTo>
                      <a:lnTo>
                        <a:pt x="3162" y="1494"/>
                      </a:lnTo>
                      <a:lnTo>
                        <a:pt x="3144" y="1500"/>
                      </a:lnTo>
                      <a:lnTo>
                        <a:pt x="3138" y="1488"/>
                      </a:lnTo>
                      <a:lnTo>
                        <a:pt x="3132" y="1482"/>
                      </a:lnTo>
                      <a:lnTo>
                        <a:pt x="3132" y="1470"/>
                      </a:lnTo>
                      <a:lnTo>
                        <a:pt x="3126" y="1464"/>
                      </a:lnTo>
                      <a:lnTo>
                        <a:pt x="3138" y="1452"/>
                      </a:lnTo>
                      <a:lnTo>
                        <a:pt x="3150" y="1446"/>
                      </a:lnTo>
                      <a:lnTo>
                        <a:pt x="3156" y="1434"/>
                      </a:lnTo>
                      <a:lnTo>
                        <a:pt x="3162" y="1428"/>
                      </a:lnTo>
                      <a:lnTo>
                        <a:pt x="3168" y="1416"/>
                      </a:lnTo>
                      <a:lnTo>
                        <a:pt x="3168" y="1410"/>
                      </a:lnTo>
                      <a:lnTo>
                        <a:pt x="3162" y="1398"/>
                      </a:lnTo>
                      <a:lnTo>
                        <a:pt x="3162" y="1392"/>
                      </a:lnTo>
                      <a:lnTo>
                        <a:pt x="3156" y="1380"/>
                      </a:lnTo>
                      <a:lnTo>
                        <a:pt x="3168" y="1386"/>
                      </a:lnTo>
                      <a:lnTo>
                        <a:pt x="3174" y="1392"/>
                      </a:lnTo>
                      <a:lnTo>
                        <a:pt x="3186" y="1398"/>
                      </a:lnTo>
                      <a:lnTo>
                        <a:pt x="3198" y="1386"/>
                      </a:lnTo>
                      <a:lnTo>
                        <a:pt x="3198" y="1368"/>
                      </a:lnTo>
                      <a:lnTo>
                        <a:pt x="3192" y="1356"/>
                      </a:lnTo>
                      <a:lnTo>
                        <a:pt x="3192" y="1344"/>
                      </a:lnTo>
                      <a:lnTo>
                        <a:pt x="3216" y="1344"/>
                      </a:lnTo>
                      <a:lnTo>
                        <a:pt x="3252" y="1320"/>
                      </a:lnTo>
                      <a:lnTo>
                        <a:pt x="3264" y="1320"/>
                      </a:lnTo>
                      <a:lnTo>
                        <a:pt x="3270" y="1326"/>
                      </a:lnTo>
                      <a:lnTo>
                        <a:pt x="3294" y="1326"/>
                      </a:lnTo>
                      <a:lnTo>
                        <a:pt x="3294" y="1320"/>
                      </a:lnTo>
                      <a:lnTo>
                        <a:pt x="3288" y="1314"/>
                      </a:lnTo>
                      <a:lnTo>
                        <a:pt x="3288" y="1308"/>
                      </a:lnTo>
                      <a:lnTo>
                        <a:pt x="3282" y="1302"/>
                      </a:lnTo>
                      <a:lnTo>
                        <a:pt x="3288" y="1278"/>
                      </a:lnTo>
                      <a:lnTo>
                        <a:pt x="3258" y="1278"/>
                      </a:lnTo>
                      <a:lnTo>
                        <a:pt x="3246" y="1266"/>
                      </a:lnTo>
                      <a:lnTo>
                        <a:pt x="3240" y="1278"/>
                      </a:lnTo>
                      <a:lnTo>
                        <a:pt x="3204" y="1278"/>
                      </a:lnTo>
                      <a:lnTo>
                        <a:pt x="3198" y="1272"/>
                      </a:lnTo>
                      <a:lnTo>
                        <a:pt x="3192" y="1260"/>
                      </a:lnTo>
                      <a:lnTo>
                        <a:pt x="3180" y="1254"/>
                      </a:lnTo>
                      <a:lnTo>
                        <a:pt x="3174" y="1248"/>
                      </a:lnTo>
                      <a:lnTo>
                        <a:pt x="3150" y="1248"/>
                      </a:lnTo>
                      <a:lnTo>
                        <a:pt x="3144" y="1260"/>
                      </a:lnTo>
                      <a:lnTo>
                        <a:pt x="3132" y="1266"/>
                      </a:lnTo>
                      <a:lnTo>
                        <a:pt x="3114" y="1284"/>
                      </a:lnTo>
                      <a:lnTo>
                        <a:pt x="3114" y="1296"/>
                      </a:lnTo>
                      <a:lnTo>
                        <a:pt x="3108" y="1302"/>
                      </a:lnTo>
                      <a:lnTo>
                        <a:pt x="3108" y="1308"/>
                      </a:lnTo>
                      <a:lnTo>
                        <a:pt x="3078" y="1308"/>
                      </a:lnTo>
                      <a:lnTo>
                        <a:pt x="3054" y="1296"/>
                      </a:lnTo>
                      <a:lnTo>
                        <a:pt x="3048" y="1290"/>
                      </a:lnTo>
                      <a:lnTo>
                        <a:pt x="3042" y="1278"/>
                      </a:lnTo>
                      <a:lnTo>
                        <a:pt x="3030" y="1242"/>
                      </a:lnTo>
                      <a:lnTo>
                        <a:pt x="3024" y="1230"/>
                      </a:lnTo>
                      <a:lnTo>
                        <a:pt x="3018" y="1224"/>
                      </a:lnTo>
                      <a:lnTo>
                        <a:pt x="3006" y="1224"/>
                      </a:lnTo>
                      <a:lnTo>
                        <a:pt x="3000" y="1230"/>
                      </a:lnTo>
                      <a:lnTo>
                        <a:pt x="3000" y="1242"/>
                      </a:lnTo>
                      <a:lnTo>
                        <a:pt x="2988" y="1224"/>
                      </a:lnTo>
                      <a:lnTo>
                        <a:pt x="2952" y="1224"/>
                      </a:lnTo>
                      <a:lnTo>
                        <a:pt x="2940" y="1218"/>
                      </a:lnTo>
                      <a:lnTo>
                        <a:pt x="2934" y="1212"/>
                      </a:lnTo>
                      <a:lnTo>
                        <a:pt x="2928" y="1200"/>
                      </a:lnTo>
                      <a:lnTo>
                        <a:pt x="2916" y="1194"/>
                      </a:lnTo>
                      <a:lnTo>
                        <a:pt x="2910" y="1182"/>
                      </a:lnTo>
                      <a:lnTo>
                        <a:pt x="2910" y="1140"/>
                      </a:lnTo>
                      <a:lnTo>
                        <a:pt x="2928" y="1140"/>
                      </a:lnTo>
                      <a:lnTo>
                        <a:pt x="2940" y="1152"/>
                      </a:lnTo>
                      <a:lnTo>
                        <a:pt x="2946" y="1152"/>
                      </a:lnTo>
                      <a:lnTo>
                        <a:pt x="2952" y="1146"/>
                      </a:lnTo>
                      <a:lnTo>
                        <a:pt x="2952" y="1140"/>
                      </a:lnTo>
                      <a:lnTo>
                        <a:pt x="2958" y="1134"/>
                      </a:lnTo>
                      <a:lnTo>
                        <a:pt x="2964" y="1134"/>
                      </a:lnTo>
                      <a:lnTo>
                        <a:pt x="2970" y="1140"/>
                      </a:lnTo>
                      <a:lnTo>
                        <a:pt x="2982" y="1140"/>
                      </a:lnTo>
                      <a:lnTo>
                        <a:pt x="2994" y="1134"/>
                      </a:lnTo>
                      <a:lnTo>
                        <a:pt x="3000" y="1128"/>
                      </a:lnTo>
                      <a:lnTo>
                        <a:pt x="3000" y="1116"/>
                      </a:lnTo>
                      <a:lnTo>
                        <a:pt x="2994" y="1110"/>
                      </a:lnTo>
                      <a:lnTo>
                        <a:pt x="2994" y="1086"/>
                      </a:lnTo>
                      <a:lnTo>
                        <a:pt x="3000" y="1074"/>
                      </a:lnTo>
                      <a:lnTo>
                        <a:pt x="3000" y="1068"/>
                      </a:lnTo>
                      <a:lnTo>
                        <a:pt x="3036" y="1068"/>
                      </a:lnTo>
                      <a:lnTo>
                        <a:pt x="3042" y="1062"/>
                      </a:lnTo>
                      <a:lnTo>
                        <a:pt x="3048" y="1050"/>
                      </a:lnTo>
                      <a:lnTo>
                        <a:pt x="3048" y="1038"/>
                      </a:lnTo>
                      <a:lnTo>
                        <a:pt x="3054" y="1032"/>
                      </a:lnTo>
                      <a:lnTo>
                        <a:pt x="3054" y="1026"/>
                      </a:lnTo>
                      <a:lnTo>
                        <a:pt x="3072" y="1014"/>
                      </a:lnTo>
                      <a:lnTo>
                        <a:pt x="3060" y="1002"/>
                      </a:lnTo>
                      <a:lnTo>
                        <a:pt x="3096" y="1014"/>
                      </a:lnTo>
                      <a:lnTo>
                        <a:pt x="3114" y="996"/>
                      </a:lnTo>
                      <a:lnTo>
                        <a:pt x="3126" y="1002"/>
                      </a:lnTo>
                      <a:lnTo>
                        <a:pt x="3132" y="1014"/>
                      </a:lnTo>
                      <a:lnTo>
                        <a:pt x="3144" y="1020"/>
                      </a:lnTo>
                      <a:lnTo>
                        <a:pt x="3156" y="1044"/>
                      </a:lnTo>
                      <a:lnTo>
                        <a:pt x="3156" y="1050"/>
                      </a:lnTo>
                      <a:lnTo>
                        <a:pt x="3144" y="1074"/>
                      </a:lnTo>
                      <a:lnTo>
                        <a:pt x="3126" y="1092"/>
                      </a:lnTo>
                      <a:lnTo>
                        <a:pt x="3126" y="1104"/>
                      </a:lnTo>
                      <a:lnTo>
                        <a:pt x="3132" y="1116"/>
                      </a:lnTo>
                      <a:lnTo>
                        <a:pt x="3144" y="1128"/>
                      </a:lnTo>
                      <a:lnTo>
                        <a:pt x="3150" y="1128"/>
                      </a:lnTo>
                      <a:lnTo>
                        <a:pt x="3162" y="1122"/>
                      </a:lnTo>
                      <a:lnTo>
                        <a:pt x="3168" y="1122"/>
                      </a:lnTo>
                      <a:lnTo>
                        <a:pt x="3162" y="1152"/>
                      </a:lnTo>
                      <a:lnTo>
                        <a:pt x="3144" y="1170"/>
                      </a:lnTo>
                      <a:lnTo>
                        <a:pt x="3144" y="1176"/>
                      </a:lnTo>
                      <a:lnTo>
                        <a:pt x="3150" y="1176"/>
                      </a:lnTo>
                      <a:lnTo>
                        <a:pt x="3162" y="1170"/>
                      </a:lnTo>
                      <a:lnTo>
                        <a:pt x="3168" y="1164"/>
                      </a:lnTo>
                      <a:lnTo>
                        <a:pt x="3180" y="1158"/>
                      </a:lnTo>
                      <a:lnTo>
                        <a:pt x="3186" y="1158"/>
                      </a:lnTo>
                      <a:lnTo>
                        <a:pt x="3198" y="1146"/>
                      </a:lnTo>
                      <a:lnTo>
                        <a:pt x="3198" y="1122"/>
                      </a:lnTo>
                      <a:lnTo>
                        <a:pt x="3204" y="1122"/>
                      </a:lnTo>
                      <a:lnTo>
                        <a:pt x="3210" y="1116"/>
                      </a:lnTo>
                      <a:lnTo>
                        <a:pt x="3258" y="1092"/>
                      </a:lnTo>
                      <a:lnTo>
                        <a:pt x="3264" y="1086"/>
                      </a:lnTo>
                      <a:lnTo>
                        <a:pt x="3306" y="1086"/>
                      </a:lnTo>
                      <a:lnTo>
                        <a:pt x="3312" y="1074"/>
                      </a:lnTo>
                      <a:lnTo>
                        <a:pt x="3312" y="1062"/>
                      </a:lnTo>
                      <a:lnTo>
                        <a:pt x="3318" y="1056"/>
                      </a:lnTo>
                      <a:lnTo>
                        <a:pt x="3324" y="1044"/>
                      </a:lnTo>
                      <a:lnTo>
                        <a:pt x="3360" y="1026"/>
                      </a:lnTo>
                      <a:lnTo>
                        <a:pt x="3372" y="1014"/>
                      </a:lnTo>
                      <a:lnTo>
                        <a:pt x="3390" y="978"/>
                      </a:lnTo>
                      <a:lnTo>
                        <a:pt x="3390" y="948"/>
                      </a:lnTo>
                      <a:lnTo>
                        <a:pt x="3396" y="942"/>
                      </a:lnTo>
                      <a:lnTo>
                        <a:pt x="3396" y="936"/>
                      </a:lnTo>
                      <a:lnTo>
                        <a:pt x="3408" y="936"/>
                      </a:lnTo>
                      <a:lnTo>
                        <a:pt x="3420" y="942"/>
                      </a:lnTo>
                      <a:lnTo>
                        <a:pt x="3432" y="954"/>
                      </a:lnTo>
                      <a:lnTo>
                        <a:pt x="3444" y="954"/>
                      </a:lnTo>
                      <a:lnTo>
                        <a:pt x="3456" y="960"/>
                      </a:lnTo>
                      <a:lnTo>
                        <a:pt x="3504" y="960"/>
                      </a:lnTo>
                      <a:lnTo>
                        <a:pt x="3504" y="948"/>
                      </a:lnTo>
                      <a:lnTo>
                        <a:pt x="3498" y="948"/>
                      </a:lnTo>
                      <a:lnTo>
                        <a:pt x="3474" y="924"/>
                      </a:lnTo>
                      <a:lnTo>
                        <a:pt x="3474" y="912"/>
                      </a:lnTo>
                      <a:lnTo>
                        <a:pt x="3480" y="906"/>
                      </a:lnTo>
                      <a:lnTo>
                        <a:pt x="3486" y="912"/>
                      </a:lnTo>
                      <a:lnTo>
                        <a:pt x="3510" y="912"/>
                      </a:lnTo>
                      <a:lnTo>
                        <a:pt x="3522" y="918"/>
                      </a:lnTo>
                      <a:lnTo>
                        <a:pt x="3534" y="912"/>
                      </a:lnTo>
                      <a:lnTo>
                        <a:pt x="3540" y="900"/>
                      </a:lnTo>
                      <a:lnTo>
                        <a:pt x="3540" y="894"/>
                      </a:lnTo>
                      <a:lnTo>
                        <a:pt x="3534" y="882"/>
                      </a:lnTo>
                      <a:lnTo>
                        <a:pt x="3558" y="882"/>
                      </a:lnTo>
                      <a:lnTo>
                        <a:pt x="3558" y="864"/>
                      </a:lnTo>
                      <a:lnTo>
                        <a:pt x="3552" y="852"/>
                      </a:lnTo>
                      <a:lnTo>
                        <a:pt x="3546" y="846"/>
                      </a:lnTo>
                      <a:lnTo>
                        <a:pt x="3546" y="840"/>
                      </a:lnTo>
                      <a:lnTo>
                        <a:pt x="3576" y="840"/>
                      </a:lnTo>
                      <a:lnTo>
                        <a:pt x="3594" y="864"/>
                      </a:lnTo>
                      <a:lnTo>
                        <a:pt x="3600" y="840"/>
                      </a:lnTo>
                      <a:lnTo>
                        <a:pt x="3630" y="846"/>
                      </a:lnTo>
                      <a:lnTo>
                        <a:pt x="3624" y="810"/>
                      </a:lnTo>
                      <a:lnTo>
                        <a:pt x="3618" y="798"/>
                      </a:lnTo>
                      <a:lnTo>
                        <a:pt x="3606" y="786"/>
                      </a:lnTo>
                      <a:lnTo>
                        <a:pt x="3606" y="774"/>
                      </a:lnTo>
                      <a:lnTo>
                        <a:pt x="3600" y="756"/>
                      </a:lnTo>
                      <a:lnTo>
                        <a:pt x="3588" y="744"/>
                      </a:lnTo>
                      <a:lnTo>
                        <a:pt x="3576" y="726"/>
                      </a:lnTo>
                      <a:lnTo>
                        <a:pt x="3564" y="720"/>
                      </a:lnTo>
                      <a:lnTo>
                        <a:pt x="3552" y="708"/>
                      </a:lnTo>
                      <a:lnTo>
                        <a:pt x="3546" y="708"/>
                      </a:lnTo>
                      <a:lnTo>
                        <a:pt x="3540" y="696"/>
                      </a:lnTo>
                      <a:lnTo>
                        <a:pt x="3540" y="684"/>
                      </a:lnTo>
                      <a:lnTo>
                        <a:pt x="3564" y="684"/>
                      </a:lnTo>
                      <a:lnTo>
                        <a:pt x="3564" y="672"/>
                      </a:lnTo>
                      <a:lnTo>
                        <a:pt x="3558" y="666"/>
                      </a:lnTo>
                      <a:lnTo>
                        <a:pt x="3564" y="660"/>
                      </a:lnTo>
                      <a:lnTo>
                        <a:pt x="3588" y="660"/>
                      </a:lnTo>
                      <a:lnTo>
                        <a:pt x="3600" y="666"/>
                      </a:lnTo>
                      <a:lnTo>
                        <a:pt x="3618" y="672"/>
                      </a:lnTo>
                      <a:lnTo>
                        <a:pt x="3630" y="672"/>
                      </a:lnTo>
                      <a:lnTo>
                        <a:pt x="3642" y="678"/>
                      </a:lnTo>
                      <a:lnTo>
                        <a:pt x="3648" y="678"/>
                      </a:lnTo>
                      <a:lnTo>
                        <a:pt x="3654" y="672"/>
                      </a:lnTo>
                      <a:lnTo>
                        <a:pt x="3654" y="660"/>
                      </a:lnTo>
                      <a:lnTo>
                        <a:pt x="3648" y="648"/>
                      </a:lnTo>
                      <a:lnTo>
                        <a:pt x="3648" y="630"/>
                      </a:lnTo>
                      <a:lnTo>
                        <a:pt x="3654" y="630"/>
                      </a:lnTo>
                      <a:lnTo>
                        <a:pt x="3660" y="624"/>
                      </a:lnTo>
                      <a:close/>
                    </a:path>
                  </a:pathLst>
                </a:custGeom>
                <a:solidFill>
                  <a:schemeClr val="accent1"/>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663" name="Chad"/>
                <p:cNvSpPr>
                  <a:spLocks/>
                </p:cNvSpPr>
                <p:nvPr/>
              </p:nvSpPr>
              <p:spPr bwMode="gray">
                <a:xfrm>
                  <a:off x="2896" y="1826"/>
                  <a:ext cx="190" cy="330"/>
                </a:xfrm>
                <a:custGeom>
                  <a:avLst/>
                  <a:gdLst>
                    <a:gd name="T0" fmla="*/ 2147483647 w 744"/>
                    <a:gd name="T1" fmla="*/ 2147483647 h 1290"/>
                    <a:gd name="T2" fmla="*/ 2147483647 w 744"/>
                    <a:gd name="T3" fmla="*/ 0 h 1290"/>
                    <a:gd name="T4" fmla="*/ 2147483647 w 744"/>
                    <a:gd name="T5" fmla="*/ 2147483647 h 1290"/>
                    <a:gd name="T6" fmla="*/ 2147483647 w 744"/>
                    <a:gd name="T7" fmla="*/ 2147483647 h 1290"/>
                    <a:gd name="T8" fmla="*/ 2147483647 w 744"/>
                    <a:gd name="T9" fmla="*/ 2147483647 h 1290"/>
                    <a:gd name="T10" fmla="*/ 2147483647 w 744"/>
                    <a:gd name="T11" fmla="*/ 2147483647 h 1290"/>
                    <a:gd name="T12" fmla="*/ 2147483647 w 744"/>
                    <a:gd name="T13" fmla="*/ 2147483647 h 1290"/>
                    <a:gd name="T14" fmla="*/ 2147483647 w 744"/>
                    <a:gd name="T15" fmla="*/ 2147483647 h 1290"/>
                    <a:gd name="T16" fmla="*/ 2147483647 w 744"/>
                    <a:gd name="T17" fmla="*/ 2147483647 h 1290"/>
                    <a:gd name="T18" fmla="*/ 0 w 744"/>
                    <a:gd name="T19" fmla="*/ 2147483647 h 1290"/>
                    <a:gd name="T20" fmla="*/ 2147483647 w 744"/>
                    <a:gd name="T21" fmla="*/ 2147483647 h 1290"/>
                    <a:gd name="T22" fmla="*/ 2147483647 w 744"/>
                    <a:gd name="T23" fmla="*/ 2147483647 h 1290"/>
                    <a:gd name="T24" fmla="*/ 2147483647 w 744"/>
                    <a:gd name="T25" fmla="*/ 2147483647 h 1290"/>
                    <a:gd name="T26" fmla="*/ 2147483647 w 744"/>
                    <a:gd name="T27" fmla="*/ 2147483647 h 1290"/>
                    <a:gd name="T28" fmla="*/ 2147483647 w 744"/>
                    <a:gd name="T29" fmla="*/ 2147483647 h 1290"/>
                    <a:gd name="T30" fmla="*/ 2147483647 w 744"/>
                    <a:gd name="T31" fmla="*/ 2147483647 h 1290"/>
                    <a:gd name="T32" fmla="*/ 2147483647 w 744"/>
                    <a:gd name="T33" fmla="*/ 2147483647 h 1290"/>
                    <a:gd name="T34" fmla="*/ 2147483647 w 744"/>
                    <a:gd name="T35" fmla="*/ 2147483647 h 1290"/>
                    <a:gd name="T36" fmla="*/ 2147483647 w 744"/>
                    <a:gd name="T37" fmla="*/ 2147483647 h 1290"/>
                    <a:gd name="T38" fmla="*/ 2147483647 w 744"/>
                    <a:gd name="T39" fmla="*/ 2147483647 h 1290"/>
                    <a:gd name="T40" fmla="*/ 2147483647 w 744"/>
                    <a:gd name="T41" fmla="*/ 2147483647 h 1290"/>
                    <a:gd name="T42" fmla="*/ 2147483647 w 744"/>
                    <a:gd name="T43" fmla="*/ 2147483647 h 1290"/>
                    <a:gd name="T44" fmla="*/ 2147483647 w 744"/>
                    <a:gd name="T45" fmla="*/ 2147483647 h 1290"/>
                    <a:gd name="T46" fmla="*/ 2147483647 w 744"/>
                    <a:gd name="T47" fmla="*/ 2147483647 h 1290"/>
                    <a:gd name="T48" fmla="*/ 2147483647 w 744"/>
                    <a:gd name="T49" fmla="*/ 2147483647 h 1290"/>
                    <a:gd name="T50" fmla="*/ 2147483647 w 744"/>
                    <a:gd name="T51" fmla="*/ 2147483647 h 1290"/>
                    <a:gd name="T52" fmla="*/ 2147483647 w 744"/>
                    <a:gd name="T53" fmla="*/ 2147483647 h 1290"/>
                    <a:gd name="T54" fmla="*/ 2147483647 w 744"/>
                    <a:gd name="T55" fmla="*/ 2147483647 h 1290"/>
                    <a:gd name="T56" fmla="*/ 2147483647 w 744"/>
                    <a:gd name="T57" fmla="*/ 2147483647 h 1290"/>
                    <a:gd name="T58" fmla="*/ 2147483647 w 744"/>
                    <a:gd name="T59" fmla="*/ 2147483647 h 1290"/>
                    <a:gd name="T60" fmla="*/ 2147483647 w 744"/>
                    <a:gd name="T61" fmla="*/ 2147483647 h 1290"/>
                    <a:gd name="T62" fmla="*/ 2147483647 w 744"/>
                    <a:gd name="T63" fmla="*/ 2147483647 h 1290"/>
                    <a:gd name="T64" fmla="*/ 2147483647 w 744"/>
                    <a:gd name="T65" fmla="*/ 2147483647 h 1290"/>
                    <a:gd name="T66" fmla="*/ 2147483647 w 744"/>
                    <a:gd name="T67" fmla="*/ 2147483647 h 1290"/>
                    <a:gd name="T68" fmla="*/ 2147483647 w 744"/>
                    <a:gd name="T69" fmla="*/ 2147483647 h 1290"/>
                    <a:gd name="T70" fmla="*/ 2147483647 w 744"/>
                    <a:gd name="T71" fmla="*/ 2147483647 h 1290"/>
                    <a:gd name="T72" fmla="*/ 2147483647 w 744"/>
                    <a:gd name="T73" fmla="*/ 2147483647 h 1290"/>
                    <a:gd name="T74" fmla="*/ 2147483647 w 744"/>
                    <a:gd name="T75" fmla="*/ 2147483647 h 1290"/>
                    <a:gd name="T76" fmla="*/ 2147483647 w 744"/>
                    <a:gd name="T77" fmla="*/ 2147483647 h 1290"/>
                    <a:gd name="T78" fmla="*/ 2147483647 w 744"/>
                    <a:gd name="T79" fmla="*/ 2147483647 h 1290"/>
                    <a:gd name="T80" fmla="*/ 2147483647 w 744"/>
                    <a:gd name="T81" fmla="*/ 2147483647 h 1290"/>
                    <a:gd name="T82" fmla="*/ 2147483647 w 744"/>
                    <a:gd name="T83" fmla="*/ 2147483647 h 1290"/>
                    <a:gd name="T84" fmla="*/ 2147483647 w 744"/>
                    <a:gd name="T85" fmla="*/ 2147483647 h 1290"/>
                    <a:gd name="T86" fmla="*/ 2147483647 w 744"/>
                    <a:gd name="T87" fmla="*/ 2147483647 h 1290"/>
                    <a:gd name="T88" fmla="*/ 2147483647 w 744"/>
                    <a:gd name="T89" fmla="*/ 2147483647 h 1290"/>
                    <a:gd name="T90" fmla="*/ 2147483647 w 744"/>
                    <a:gd name="T91" fmla="*/ 2147483647 h 1290"/>
                    <a:gd name="T92" fmla="*/ 2147483647 w 744"/>
                    <a:gd name="T93" fmla="*/ 2147483647 h 129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44"/>
                    <a:gd name="T142" fmla="*/ 0 h 1290"/>
                    <a:gd name="T143" fmla="*/ 744 w 744"/>
                    <a:gd name="T144" fmla="*/ 1290 h 1290"/>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44" h="1290">
                      <a:moveTo>
                        <a:pt x="678" y="624"/>
                      </a:moveTo>
                      <a:lnTo>
                        <a:pt x="720" y="624"/>
                      </a:lnTo>
                      <a:lnTo>
                        <a:pt x="732" y="630"/>
                      </a:lnTo>
                      <a:lnTo>
                        <a:pt x="744" y="630"/>
                      </a:lnTo>
                      <a:lnTo>
                        <a:pt x="738" y="324"/>
                      </a:lnTo>
                      <a:lnTo>
                        <a:pt x="180" y="0"/>
                      </a:lnTo>
                      <a:lnTo>
                        <a:pt x="156" y="12"/>
                      </a:lnTo>
                      <a:lnTo>
                        <a:pt x="144" y="24"/>
                      </a:lnTo>
                      <a:lnTo>
                        <a:pt x="126" y="30"/>
                      </a:lnTo>
                      <a:lnTo>
                        <a:pt x="108" y="42"/>
                      </a:lnTo>
                      <a:lnTo>
                        <a:pt x="126" y="108"/>
                      </a:lnTo>
                      <a:lnTo>
                        <a:pt x="114" y="156"/>
                      </a:lnTo>
                      <a:lnTo>
                        <a:pt x="144" y="192"/>
                      </a:lnTo>
                      <a:lnTo>
                        <a:pt x="150" y="216"/>
                      </a:lnTo>
                      <a:lnTo>
                        <a:pt x="180" y="252"/>
                      </a:lnTo>
                      <a:lnTo>
                        <a:pt x="162" y="288"/>
                      </a:lnTo>
                      <a:lnTo>
                        <a:pt x="144" y="534"/>
                      </a:lnTo>
                      <a:lnTo>
                        <a:pt x="138" y="540"/>
                      </a:lnTo>
                      <a:lnTo>
                        <a:pt x="120" y="564"/>
                      </a:lnTo>
                      <a:lnTo>
                        <a:pt x="96" y="588"/>
                      </a:lnTo>
                      <a:lnTo>
                        <a:pt x="72" y="618"/>
                      </a:lnTo>
                      <a:lnTo>
                        <a:pt x="54" y="636"/>
                      </a:lnTo>
                      <a:lnTo>
                        <a:pt x="48" y="648"/>
                      </a:lnTo>
                      <a:lnTo>
                        <a:pt x="36" y="666"/>
                      </a:lnTo>
                      <a:lnTo>
                        <a:pt x="30" y="678"/>
                      </a:lnTo>
                      <a:lnTo>
                        <a:pt x="24" y="696"/>
                      </a:lnTo>
                      <a:lnTo>
                        <a:pt x="24" y="708"/>
                      </a:lnTo>
                      <a:lnTo>
                        <a:pt x="18" y="714"/>
                      </a:lnTo>
                      <a:lnTo>
                        <a:pt x="18" y="720"/>
                      </a:lnTo>
                      <a:lnTo>
                        <a:pt x="0" y="726"/>
                      </a:lnTo>
                      <a:lnTo>
                        <a:pt x="6" y="786"/>
                      </a:lnTo>
                      <a:lnTo>
                        <a:pt x="18" y="786"/>
                      </a:lnTo>
                      <a:lnTo>
                        <a:pt x="48" y="834"/>
                      </a:lnTo>
                      <a:lnTo>
                        <a:pt x="48" y="846"/>
                      </a:lnTo>
                      <a:lnTo>
                        <a:pt x="48" y="840"/>
                      </a:lnTo>
                      <a:lnTo>
                        <a:pt x="72" y="834"/>
                      </a:lnTo>
                      <a:lnTo>
                        <a:pt x="72" y="852"/>
                      </a:lnTo>
                      <a:lnTo>
                        <a:pt x="78" y="864"/>
                      </a:lnTo>
                      <a:lnTo>
                        <a:pt x="84" y="870"/>
                      </a:lnTo>
                      <a:lnTo>
                        <a:pt x="96" y="870"/>
                      </a:lnTo>
                      <a:lnTo>
                        <a:pt x="102" y="876"/>
                      </a:lnTo>
                      <a:lnTo>
                        <a:pt x="108" y="876"/>
                      </a:lnTo>
                      <a:lnTo>
                        <a:pt x="102" y="912"/>
                      </a:lnTo>
                      <a:lnTo>
                        <a:pt x="114" y="918"/>
                      </a:lnTo>
                      <a:lnTo>
                        <a:pt x="120" y="930"/>
                      </a:lnTo>
                      <a:lnTo>
                        <a:pt x="120" y="966"/>
                      </a:lnTo>
                      <a:lnTo>
                        <a:pt x="114" y="966"/>
                      </a:lnTo>
                      <a:lnTo>
                        <a:pt x="114" y="1002"/>
                      </a:lnTo>
                      <a:lnTo>
                        <a:pt x="120" y="1020"/>
                      </a:lnTo>
                      <a:lnTo>
                        <a:pt x="120" y="1038"/>
                      </a:lnTo>
                      <a:lnTo>
                        <a:pt x="126" y="1050"/>
                      </a:lnTo>
                      <a:lnTo>
                        <a:pt x="138" y="1056"/>
                      </a:lnTo>
                      <a:lnTo>
                        <a:pt x="144" y="1068"/>
                      </a:lnTo>
                      <a:lnTo>
                        <a:pt x="162" y="1086"/>
                      </a:lnTo>
                      <a:lnTo>
                        <a:pt x="66" y="1086"/>
                      </a:lnTo>
                      <a:lnTo>
                        <a:pt x="54" y="1092"/>
                      </a:lnTo>
                      <a:lnTo>
                        <a:pt x="48" y="1098"/>
                      </a:lnTo>
                      <a:lnTo>
                        <a:pt x="48" y="1110"/>
                      </a:lnTo>
                      <a:lnTo>
                        <a:pt x="60" y="1134"/>
                      </a:lnTo>
                      <a:lnTo>
                        <a:pt x="72" y="1146"/>
                      </a:lnTo>
                      <a:lnTo>
                        <a:pt x="78" y="1158"/>
                      </a:lnTo>
                      <a:lnTo>
                        <a:pt x="90" y="1170"/>
                      </a:lnTo>
                      <a:lnTo>
                        <a:pt x="108" y="1182"/>
                      </a:lnTo>
                      <a:lnTo>
                        <a:pt x="120" y="1188"/>
                      </a:lnTo>
                      <a:lnTo>
                        <a:pt x="132" y="1200"/>
                      </a:lnTo>
                      <a:lnTo>
                        <a:pt x="144" y="1224"/>
                      </a:lnTo>
                      <a:lnTo>
                        <a:pt x="144" y="1242"/>
                      </a:lnTo>
                      <a:lnTo>
                        <a:pt x="150" y="1254"/>
                      </a:lnTo>
                      <a:lnTo>
                        <a:pt x="156" y="1272"/>
                      </a:lnTo>
                      <a:lnTo>
                        <a:pt x="156" y="1284"/>
                      </a:lnTo>
                      <a:lnTo>
                        <a:pt x="162" y="1284"/>
                      </a:lnTo>
                      <a:lnTo>
                        <a:pt x="168" y="1290"/>
                      </a:lnTo>
                      <a:lnTo>
                        <a:pt x="186" y="1290"/>
                      </a:lnTo>
                      <a:lnTo>
                        <a:pt x="198" y="1284"/>
                      </a:lnTo>
                      <a:lnTo>
                        <a:pt x="216" y="1266"/>
                      </a:lnTo>
                      <a:lnTo>
                        <a:pt x="228" y="1260"/>
                      </a:lnTo>
                      <a:lnTo>
                        <a:pt x="234" y="1254"/>
                      </a:lnTo>
                      <a:lnTo>
                        <a:pt x="234" y="1278"/>
                      </a:lnTo>
                      <a:lnTo>
                        <a:pt x="240" y="1284"/>
                      </a:lnTo>
                      <a:lnTo>
                        <a:pt x="246" y="1284"/>
                      </a:lnTo>
                      <a:lnTo>
                        <a:pt x="258" y="1278"/>
                      </a:lnTo>
                      <a:lnTo>
                        <a:pt x="270" y="1266"/>
                      </a:lnTo>
                      <a:lnTo>
                        <a:pt x="276" y="1254"/>
                      </a:lnTo>
                      <a:lnTo>
                        <a:pt x="282" y="1248"/>
                      </a:lnTo>
                      <a:lnTo>
                        <a:pt x="372" y="1248"/>
                      </a:lnTo>
                      <a:lnTo>
                        <a:pt x="378" y="1242"/>
                      </a:lnTo>
                      <a:lnTo>
                        <a:pt x="384" y="1230"/>
                      </a:lnTo>
                      <a:lnTo>
                        <a:pt x="390" y="1224"/>
                      </a:lnTo>
                      <a:lnTo>
                        <a:pt x="396" y="1212"/>
                      </a:lnTo>
                      <a:lnTo>
                        <a:pt x="402" y="1206"/>
                      </a:lnTo>
                      <a:lnTo>
                        <a:pt x="402" y="1194"/>
                      </a:lnTo>
                      <a:lnTo>
                        <a:pt x="390" y="1182"/>
                      </a:lnTo>
                      <a:lnTo>
                        <a:pt x="384" y="1182"/>
                      </a:lnTo>
                      <a:lnTo>
                        <a:pt x="402" y="1170"/>
                      </a:lnTo>
                      <a:lnTo>
                        <a:pt x="420" y="1170"/>
                      </a:lnTo>
                      <a:lnTo>
                        <a:pt x="462" y="1164"/>
                      </a:lnTo>
                      <a:lnTo>
                        <a:pt x="510" y="1146"/>
                      </a:lnTo>
                      <a:lnTo>
                        <a:pt x="528" y="1134"/>
                      </a:lnTo>
                      <a:lnTo>
                        <a:pt x="552" y="1110"/>
                      </a:lnTo>
                      <a:lnTo>
                        <a:pt x="552" y="1092"/>
                      </a:lnTo>
                      <a:lnTo>
                        <a:pt x="588" y="1068"/>
                      </a:lnTo>
                      <a:lnTo>
                        <a:pt x="594" y="1038"/>
                      </a:lnTo>
                      <a:lnTo>
                        <a:pt x="648" y="1008"/>
                      </a:lnTo>
                      <a:lnTo>
                        <a:pt x="672" y="1008"/>
                      </a:lnTo>
                      <a:lnTo>
                        <a:pt x="672" y="996"/>
                      </a:lnTo>
                      <a:lnTo>
                        <a:pt x="684" y="996"/>
                      </a:lnTo>
                      <a:lnTo>
                        <a:pt x="684" y="990"/>
                      </a:lnTo>
                      <a:lnTo>
                        <a:pt x="678" y="984"/>
                      </a:lnTo>
                      <a:lnTo>
                        <a:pt x="666" y="966"/>
                      </a:lnTo>
                      <a:lnTo>
                        <a:pt x="654" y="960"/>
                      </a:lnTo>
                      <a:lnTo>
                        <a:pt x="648" y="960"/>
                      </a:lnTo>
                      <a:lnTo>
                        <a:pt x="642" y="936"/>
                      </a:lnTo>
                      <a:lnTo>
                        <a:pt x="660" y="930"/>
                      </a:lnTo>
                      <a:lnTo>
                        <a:pt x="642" y="918"/>
                      </a:lnTo>
                      <a:lnTo>
                        <a:pt x="642" y="876"/>
                      </a:lnTo>
                      <a:lnTo>
                        <a:pt x="636" y="870"/>
                      </a:lnTo>
                      <a:lnTo>
                        <a:pt x="624" y="870"/>
                      </a:lnTo>
                      <a:lnTo>
                        <a:pt x="618" y="876"/>
                      </a:lnTo>
                      <a:lnTo>
                        <a:pt x="606" y="876"/>
                      </a:lnTo>
                      <a:lnTo>
                        <a:pt x="600" y="870"/>
                      </a:lnTo>
                      <a:lnTo>
                        <a:pt x="600" y="852"/>
                      </a:lnTo>
                      <a:lnTo>
                        <a:pt x="606" y="840"/>
                      </a:lnTo>
                      <a:lnTo>
                        <a:pt x="618" y="834"/>
                      </a:lnTo>
                      <a:lnTo>
                        <a:pt x="630" y="822"/>
                      </a:lnTo>
                      <a:lnTo>
                        <a:pt x="630" y="810"/>
                      </a:lnTo>
                      <a:lnTo>
                        <a:pt x="618" y="786"/>
                      </a:lnTo>
                      <a:lnTo>
                        <a:pt x="612" y="780"/>
                      </a:lnTo>
                      <a:lnTo>
                        <a:pt x="630" y="762"/>
                      </a:lnTo>
                      <a:lnTo>
                        <a:pt x="648" y="750"/>
                      </a:lnTo>
                      <a:lnTo>
                        <a:pt x="642" y="732"/>
                      </a:lnTo>
                      <a:lnTo>
                        <a:pt x="636" y="708"/>
                      </a:lnTo>
                      <a:lnTo>
                        <a:pt x="648" y="708"/>
                      </a:lnTo>
                      <a:lnTo>
                        <a:pt x="648" y="690"/>
                      </a:lnTo>
                      <a:lnTo>
                        <a:pt x="660" y="678"/>
                      </a:lnTo>
                      <a:lnTo>
                        <a:pt x="672" y="672"/>
                      </a:lnTo>
                      <a:lnTo>
                        <a:pt x="678" y="666"/>
                      </a:lnTo>
                      <a:lnTo>
                        <a:pt x="678" y="660"/>
                      </a:lnTo>
                      <a:lnTo>
                        <a:pt x="672" y="654"/>
                      </a:lnTo>
                      <a:lnTo>
                        <a:pt x="672" y="642"/>
                      </a:lnTo>
                      <a:lnTo>
                        <a:pt x="666" y="636"/>
                      </a:lnTo>
                      <a:lnTo>
                        <a:pt x="678" y="624"/>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664" name="Central African Republic"/>
                <p:cNvSpPr>
                  <a:spLocks/>
                </p:cNvSpPr>
                <p:nvPr/>
              </p:nvSpPr>
              <p:spPr bwMode="gray">
                <a:xfrm>
                  <a:off x="2914" y="2084"/>
                  <a:ext cx="234" cy="179"/>
                </a:xfrm>
                <a:custGeom>
                  <a:avLst/>
                  <a:gdLst>
                    <a:gd name="T0" fmla="*/ 2147483647 w 912"/>
                    <a:gd name="T1" fmla="*/ 2147483647 h 702"/>
                    <a:gd name="T2" fmla="*/ 2147483647 w 912"/>
                    <a:gd name="T3" fmla="*/ 2147483647 h 702"/>
                    <a:gd name="T4" fmla="*/ 2147483647 w 912"/>
                    <a:gd name="T5" fmla="*/ 2147483647 h 702"/>
                    <a:gd name="T6" fmla="*/ 2147483647 w 912"/>
                    <a:gd name="T7" fmla="*/ 2147483647 h 702"/>
                    <a:gd name="T8" fmla="*/ 2147483647 w 912"/>
                    <a:gd name="T9" fmla="*/ 2147483647 h 702"/>
                    <a:gd name="T10" fmla="*/ 2147483647 w 912"/>
                    <a:gd name="T11" fmla="*/ 2147483647 h 702"/>
                    <a:gd name="T12" fmla="*/ 2147483647 w 912"/>
                    <a:gd name="T13" fmla="*/ 2147483647 h 702"/>
                    <a:gd name="T14" fmla="*/ 2147483647 w 912"/>
                    <a:gd name="T15" fmla="*/ 2147483647 h 702"/>
                    <a:gd name="T16" fmla="*/ 2147483647 w 912"/>
                    <a:gd name="T17" fmla="*/ 2147483647 h 702"/>
                    <a:gd name="T18" fmla="*/ 2147483647 w 912"/>
                    <a:gd name="T19" fmla="*/ 2147483647 h 702"/>
                    <a:gd name="T20" fmla="*/ 2147483647 w 912"/>
                    <a:gd name="T21" fmla="*/ 2147483647 h 702"/>
                    <a:gd name="T22" fmla="*/ 2147483647 w 912"/>
                    <a:gd name="T23" fmla="*/ 2147483647 h 702"/>
                    <a:gd name="T24" fmla="*/ 2147483647 w 912"/>
                    <a:gd name="T25" fmla="*/ 2147483647 h 702"/>
                    <a:gd name="T26" fmla="*/ 2147483647 w 912"/>
                    <a:gd name="T27" fmla="*/ 2147483647 h 702"/>
                    <a:gd name="T28" fmla="*/ 2147483647 w 912"/>
                    <a:gd name="T29" fmla="*/ 2147483647 h 702"/>
                    <a:gd name="T30" fmla="*/ 2147483647 w 912"/>
                    <a:gd name="T31" fmla="*/ 0 h 702"/>
                    <a:gd name="T32" fmla="*/ 2147483647 w 912"/>
                    <a:gd name="T33" fmla="*/ 2147483647 h 702"/>
                    <a:gd name="T34" fmla="*/ 2147483647 w 912"/>
                    <a:gd name="T35" fmla="*/ 2147483647 h 702"/>
                    <a:gd name="T36" fmla="*/ 2147483647 w 912"/>
                    <a:gd name="T37" fmla="*/ 2147483647 h 702"/>
                    <a:gd name="T38" fmla="*/ 2147483647 w 912"/>
                    <a:gd name="T39" fmla="*/ 2147483647 h 702"/>
                    <a:gd name="T40" fmla="*/ 2147483647 w 912"/>
                    <a:gd name="T41" fmla="*/ 2147483647 h 702"/>
                    <a:gd name="T42" fmla="*/ 2147483647 w 912"/>
                    <a:gd name="T43" fmla="*/ 2147483647 h 702"/>
                    <a:gd name="T44" fmla="*/ 2147483647 w 912"/>
                    <a:gd name="T45" fmla="*/ 2147483647 h 702"/>
                    <a:gd name="T46" fmla="*/ 2147483647 w 912"/>
                    <a:gd name="T47" fmla="*/ 2147483647 h 702"/>
                    <a:gd name="T48" fmla="*/ 2147483647 w 912"/>
                    <a:gd name="T49" fmla="*/ 2147483647 h 702"/>
                    <a:gd name="T50" fmla="*/ 2147483647 w 912"/>
                    <a:gd name="T51" fmla="*/ 2147483647 h 702"/>
                    <a:gd name="T52" fmla="*/ 2147483647 w 912"/>
                    <a:gd name="T53" fmla="*/ 2147483647 h 702"/>
                    <a:gd name="T54" fmla="*/ 2147483647 w 912"/>
                    <a:gd name="T55" fmla="*/ 2147483647 h 702"/>
                    <a:gd name="T56" fmla="*/ 2147483647 w 912"/>
                    <a:gd name="T57" fmla="*/ 2147483647 h 702"/>
                    <a:gd name="T58" fmla="*/ 2147483647 w 912"/>
                    <a:gd name="T59" fmla="*/ 2147483647 h 702"/>
                    <a:gd name="T60" fmla="*/ 0 w 912"/>
                    <a:gd name="T61" fmla="*/ 2147483647 h 702"/>
                    <a:gd name="T62" fmla="*/ 2147483647 w 912"/>
                    <a:gd name="T63" fmla="*/ 2147483647 h 702"/>
                    <a:gd name="T64" fmla="*/ 2147483647 w 912"/>
                    <a:gd name="T65" fmla="*/ 2147483647 h 702"/>
                    <a:gd name="T66" fmla="*/ 2147483647 w 912"/>
                    <a:gd name="T67" fmla="*/ 2147483647 h 702"/>
                    <a:gd name="T68" fmla="*/ 2147483647 w 912"/>
                    <a:gd name="T69" fmla="*/ 2147483647 h 702"/>
                    <a:gd name="T70" fmla="*/ 2147483647 w 912"/>
                    <a:gd name="T71" fmla="*/ 2147483647 h 702"/>
                    <a:gd name="T72" fmla="*/ 2147483647 w 912"/>
                    <a:gd name="T73" fmla="*/ 2147483647 h 702"/>
                    <a:gd name="T74" fmla="*/ 2147483647 w 912"/>
                    <a:gd name="T75" fmla="*/ 2147483647 h 702"/>
                    <a:gd name="T76" fmla="*/ 2147483647 w 912"/>
                    <a:gd name="T77" fmla="*/ 2147483647 h 702"/>
                    <a:gd name="T78" fmla="*/ 2147483647 w 912"/>
                    <a:gd name="T79" fmla="*/ 2147483647 h 702"/>
                    <a:gd name="T80" fmla="*/ 2147483647 w 912"/>
                    <a:gd name="T81" fmla="*/ 2147483647 h 702"/>
                    <a:gd name="T82" fmla="*/ 2147483647 w 912"/>
                    <a:gd name="T83" fmla="*/ 2147483647 h 702"/>
                    <a:gd name="T84" fmla="*/ 2147483647 w 912"/>
                    <a:gd name="T85" fmla="*/ 2147483647 h 702"/>
                    <a:gd name="T86" fmla="*/ 2147483647 w 912"/>
                    <a:gd name="T87" fmla="*/ 2147483647 h 702"/>
                    <a:gd name="T88" fmla="*/ 2147483647 w 912"/>
                    <a:gd name="T89" fmla="*/ 2147483647 h 702"/>
                    <a:gd name="T90" fmla="*/ 2147483647 w 912"/>
                    <a:gd name="T91" fmla="*/ 2147483647 h 702"/>
                    <a:gd name="T92" fmla="*/ 2147483647 w 912"/>
                    <a:gd name="T93" fmla="*/ 2147483647 h 702"/>
                    <a:gd name="T94" fmla="*/ 2147483647 w 912"/>
                    <a:gd name="T95" fmla="*/ 2147483647 h 702"/>
                    <a:gd name="T96" fmla="*/ 2147483647 w 912"/>
                    <a:gd name="T97" fmla="*/ 2147483647 h 702"/>
                    <a:gd name="T98" fmla="*/ 2147483647 w 912"/>
                    <a:gd name="T99" fmla="*/ 2147483647 h 702"/>
                    <a:gd name="T100" fmla="*/ 2147483647 w 912"/>
                    <a:gd name="T101" fmla="*/ 2147483647 h 702"/>
                    <a:gd name="T102" fmla="*/ 2147483647 w 912"/>
                    <a:gd name="T103" fmla="*/ 2147483647 h 702"/>
                    <a:gd name="T104" fmla="*/ 2147483647 w 912"/>
                    <a:gd name="T105" fmla="*/ 2147483647 h 702"/>
                    <a:gd name="T106" fmla="*/ 2147483647 w 912"/>
                    <a:gd name="T107" fmla="*/ 2147483647 h 702"/>
                    <a:gd name="T108" fmla="*/ 2147483647 w 912"/>
                    <a:gd name="T109" fmla="*/ 2147483647 h 702"/>
                    <a:gd name="T110" fmla="*/ 2147483647 w 912"/>
                    <a:gd name="T111" fmla="*/ 2147483647 h 702"/>
                    <a:gd name="T112" fmla="*/ 2147483647 w 912"/>
                    <a:gd name="T113" fmla="*/ 2147483647 h 702"/>
                    <a:gd name="T114" fmla="*/ 2147483647 w 912"/>
                    <a:gd name="T115" fmla="*/ 2147483647 h 702"/>
                    <a:gd name="T116" fmla="*/ 2147483647 w 912"/>
                    <a:gd name="T117" fmla="*/ 2147483647 h 702"/>
                    <a:gd name="T118" fmla="*/ 2147483647 w 912"/>
                    <a:gd name="T119" fmla="*/ 2147483647 h 702"/>
                    <a:gd name="T120" fmla="*/ 2147483647 w 912"/>
                    <a:gd name="T121" fmla="*/ 2147483647 h 70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912"/>
                    <a:gd name="T184" fmla="*/ 0 h 702"/>
                    <a:gd name="T185" fmla="*/ 912 w 912"/>
                    <a:gd name="T186" fmla="*/ 702 h 702"/>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912" h="702">
                      <a:moveTo>
                        <a:pt x="906" y="420"/>
                      </a:moveTo>
                      <a:lnTo>
                        <a:pt x="900" y="414"/>
                      </a:lnTo>
                      <a:lnTo>
                        <a:pt x="888" y="408"/>
                      </a:lnTo>
                      <a:lnTo>
                        <a:pt x="882" y="402"/>
                      </a:lnTo>
                      <a:lnTo>
                        <a:pt x="858" y="396"/>
                      </a:lnTo>
                      <a:lnTo>
                        <a:pt x="858" y="378"/>
                      </a:lnTo>
                      <a:lnTo>
                        <a:pt x="846" y="366"/>
                      </a:lnTo>
                      <a:lnTo>
                        <a:pt x="846" y="360"/>
                      </a:lnTo>
                      <a:lnTo>
                        <a:pt x="858" y="360"/>
                      </a:lnTo>
                      <a:lnTo>
                        <a:pt x="858" y="348"/>
                      </a:lnTo>
                      <a:lnTo>
                        <a:pt x="852" y="342"/>
                      </a:lnTo>
                      <a:lnTo>
                        <a:pt x="834" y="342"/>
                      </a:lnTo>
                      <a:lnTo>
                        <a:pt x="834" y="336"/>
                      </a:lnTo>
                      <a:lnTo>
                        <a:pt x="828" y="330"/>
                      </a:lnTo>
                      <a:lnTo>
                        <a:pt x="822" y="318"/>
                      </a:lnTo>
                      <a:lnTo>
                        <a:pt x="810" y="306"/>
                      </a:lnTo>
                      <a:lnTo>
                        <a:pt x="798" y="300"/>
                      </a:lnTo>
                      <a:lnTo>
                        <a:pt x="792" y="300"/>
                      </a:lnTo>
                      <a:lnTo>
                        <a:pt x="780" y="294"/>
                      </a:lnTo>
                      <a:lnTo>
                        <a:pt x="768" y="282"/>
                      </a:lnTo>
                      <a:lnTo>
                        <a:pt x="768" y="276"/>
                      </a:lnTo>
                      <a:lnTo>
                        <a:pt x="774" y="276"/>
                      </a:lnTo>
                      <a:lnTo>
                        <a:pt x="774" y="270"/>
                      </a:lnTo>
                      <a:lnTo>
                        <a:pt x="780" y="270"/>
                      </a:lnTo>
                      <a:lnTo>
                        <a:pt x="780" y="264"/>
                      </a:lnTo>
                      <a:lnTo>
                        <a:pt x="768" y="252"/>
                      </a:lnTo>
                      <a:lnTo>
                        <a:pt x="756" y="246"/>
                      </a:lnTo>
                      <a:lnTo>
                        <a:pt x="750" y="246"/>
                      </a:lnTo>
                      <a:lnTo>
                        <a:pt x="750" y="228"/>
                      </a:lnTo>
                      <a:lnTo>
                        <a:pt x="720" y="228"/>
                      </a:lnTo>
                      <a:lnTo>
                        <a:pt x="696" y="216"/>
                      </a:lnTo>
                      <a:lnTo>
                        <a:pt x="696" y="186"/>
                      </a:lnTo>
                      <a:lnTo>
                        <a:pt x="648" y="180"/>
                      </a:lnTo>
                      <a:lnTo>
                        <a:pt x="654" y="162"/>
                      </a:lnTo>
                      <a:lnTo>
                        <a:pt x="648" y="162"/>
                      </a:lnTo>
                      <a:lnTo>
                        <a:pt x="642" y="156"/>
                      </a:lnTo>
                      <a:lnTo>
                        <a:pt x="642" y="150"/>
                      </a:lnTo>
                      <a:lnTo>
                        <a:pt x="648" y="144"/>
                      </a:lnTo>
                      <a:lnTo>
                        <a:pt x="654" y="132"/>
                      </a:lnTo>
                      <a:lnTo>
                        <a:pt x="660" y="126"/>
                      </a:lnTo>
                      <a:lnTo>
                        <a:pt x="660" y="96"/>
                      </a:lnTo>
                      <a:lnTo>
                        <a:pt x="654" y="84"/>
                      </a:lnTo>
                      <a:lnTo>
                        <a:pt x="648" y="66"/>
                      </a:lnTo>
                      <a:lnTo>
                        <a:pt x="636" y="54"/>
                      </a:lnTo>
                      <a:lnTo>
                        <a:pt x="630" y="42"/>
                      </a:lnTo>
                      <a:lnTo>
                        <a:pt x="600" y="12"/>
                      </a:lnTo>
                      <a:lnTo>
                        <a:pt x="600" y="0"/>
                      </a:lnTo>
                      <a:lnTo>
                        <a:pt x="576" y="0"/>
                      </a:lnTo>
                      <a:lnTo>
                        <a:pt x="522" y="30"/>
                      </a:lnTo>
                      <a:lnTo>
                        <a:pt x="516" y="60"/>
                      </a:lnTo>
                      <a:lnTo>
                        <a:pt x="480" y="84"/>
                      </a:lnTo>
                      <a:lnTo>
                        <a:pt x="480" y="102"/>
                      </a:lnTo>
                      <a:lnTo>
                        <a:pt x="456" y="126"/>
                      </a:lnTo>
                      <a:lnTo>
                        <a:pt x="438" y="138"/>
                      </a:lnTo>
                      <a:lnTo>
                        <a:pt x="390" y="156"/>
                      </a:lnTo>
                      <a:lnTo>
                        <a:pt x="348" y="162"/>
                      </a:lnTo>
                      <a:lnTo>
                        <a:pt x="330" y="162"/>
                      </a:lnTo>
                      <a:lnTo>
                        <a:pt x="312" y="174"/>
                      </a:lnTo>
                      <a:lnTo>
                        <a:pt x="318" y="174"/>
                      </a:lnTo>
                      <a:lnTo>
                        <a:pt x="330" y="186"/>
                      </a:lnTo>
                      <a:lnTo>
                        <a:pt x="330" y="198"/>
                      </a:lnTo>
                      <a:lnTo>
                        <a:pt x="324" y="204"/>
                      </a:lnTo>
                      <a:lnTo>
                        <a:pt x="318" y="216"/>
                      </a:lnTo>
                      <a:lnTo>
                        <a:pt x="312" y="222"/>
                      </a:lnTo>
                      <a:lnTo>
                        <a:pt x="306" y="234"/>
                      </a:lnTo>
                      <a:lnTo>
                        <a:pt x="300" y="240"/>
                      </a:lnTo>
                      <a:lnTo>
                        <a:pt x="210" y="240"/>
                      </a:lnTo>
                      <a:lnTo>
                        <a:pt x="204" y="246"/>
                      </a:lnTo>
                      <a:lnTo>
                        <a:pt x="198" y="258"/>
                      </a:lnTo>
                      <a:lnTo>
                        <a:pt x="186" y="270"/>
                      </a:lnTo>
                      <a:lnTo>
                        <a:pt x="174" y="276"/>
                      </a:lnTo>
                      <a:lnTo>
                        <a:pt x="168" y="276"/>
                      </a:lnTo>
                      <a:lnTo>
                        <a:pt x="162" y="270"/>
                      </a:lnTo>
                      <a:lnTo>
                        <a:pt x="162" y="246"/>
                      </a:lnTo>
                      <a:lnTo>
                        <a:pt x="156" y="252"/>
                      </a:lnTo>
                      <a:lnTo>
                        <a:pt x="144" y="258"/>
                      </a:lnTo>
                      <a:lnTo>
                        <a:pt x="126" y="276"/>
                      </a:lnTo>
                      <a:lnTo>
                        <a:pt x="114" y="282"/>
                      </a:lnTo>
                      <a:lnTo>
                        <a:pt x="96" y="282"/>
                      </a:lnTo>
                      <a:lnTo>
                        <a:pt x="90" y="276"/>
                      </a:lnTo>
                      <a:lnTo>
                        <a:pt x="78" y="276"/>
                      </a:lnTo>
                      <a:lnTo>
                        <a:pt x="66" y="288"/>
                      </a:lnTo>
                      <a:lnTo>
                        <a:pt x="60" y="300"/>
                      </a:lnTo>
                      <a:lnTo>
                        <a:pt x="54" y="306"/>
                      </a:lnTo>
                      <a:lnTo>
                        <a:pt x="54" y="324"/>
                      </a:lnTo>
                      <a:lnTo>
                        <a:pt x="48" y="336"/>
                      </a:lnTo>
                      <a:lnTo>
                        <a:pt x="42" y="336"/>
                      </a:lnTo>
                      <a:lnTo>
                        <a:pt x="36" y="372"/>
                      </a:lnTo>
                      <a:lnTo>
                        <a:pt x="30" y="372"/>
                      </a:lnTo>
                      <a:lnTo>
                        <a:pt x="24" y="378"/>
                      </a:lnTo>
                      <a:lnTo>
                        <a:pt x="12" y="384"/>
                      </a:lnTo>
                      <a:lnTo>
                        <a:pt x="0" y="396"/>
                      </a:lnTo>
                      <a:lnTo>
                        <a:pt x="0" y="402"/>
                      </a:lnTo>
                      <a:lnTo>
                        <a:pt x="12" y="408"/>
                      </a:lnTo>
                      <a:lnTo>
                        <a:pt x="18" y="408"/>
                      </a:lnTo>
                      <a:lnTo>
                        <a:pt x="18" y="444"/>
                      </a:lnTo>
                      <a:lnTo>
                        <a:pt x="6" y="456"/>
                      </a:lnTo>
                      <a:lnTo>
                        <a:pt x="24" y="468"/>
                      </a:lnTo>
                      <a:lnTo>
                        <a:pt x="24" y="516"/>
                      </a:lnTo>
                      <a:lnTo>
                        <a:pt x="30" y="516"/>
                      </a:lnTo>
                      <a:lnTo>
                        <a:pt x="48" y="534"/>
                      </a:lnTo>
                      <a:lnTo>
                        <a:pt x="54" y="534"/>
                      </a:lnTo>
                      <a:lnTo>
                        <a:pt x="54" y="576"/>
                      </a:lnTo>
                      <a:lnTo>
                        <a:pt x="60" y="582"/>
                      </a:lnTo>
                      <a:lnTo>
                        <a:pt x="72" y="606"/>
                      </a:lnTo>
                      <a:lnTo>
                        <a:pt x="84" y="618"/>
                      </a:lnTo>
                      <a:lnTo>
                        <a:pt x="96" y="624"/>
                      </a:lnTo>
                      <a:lnTo>
                        <a:pt x="102" y="636"/>
                      </a:lnTo>
                      <a:lnTo>
                        <a:pt x="114" y="642"/>
                      </a:lnTo>
                      <a:lnTo>
                        <a:pt x="120" y="660"/>
                      </a:lnTo>
                      <a:lnTo>
                        <a:pt x="120" y="690"/>
                      </a:lnTo>
                      <a:lnTo>
                        <a:pt x="132" y="702"/>
                      </a:lnTo>
                      <a:lnTo>
                        <a:pt x="138" y="696"/>
                      </a:lnTo>
                      <a:lnTo>
                        <a:pt x="144" y="684"/>
                      </a:lnTo>
                      <a:lnTo>
                        <a:pt x="150" y="678"/>
                      </a:lnTo>
                      <a:lnTo>
                        <a:pt x="156" y="666"/>
                      </a:lnTo>
                      <a:lnTo>
                        <a:pt x="156" y="642"/>
                      </a:lnTo>
                      <a:lnTo>
                        <a:pt x="144" y="630"/>
                      </a:lnTo>
                      <a:lnTo>
                        <a:pt x="162" y="600"/>
                      </a:lnTo>
                      <a:lnTo>
                        <a:pt x="192" y="600"/>
                      </a:lnTo>
                      <a:lnTo>
                        <a:pt x="210" y="582"/>
                      </a:lnTo>
                      <a:lnTo>
                        <a:pt x="228" y="582"/>
                      </a:lnTo>
                      <a:lnTo>
                        <a:pt x="264" y="600"/>
                      </a:lnTo>
                      <a:lnTo>
                        <a:pt x="276" y="600"/>
                      </a:lnTo>
                      <a:lnTo>
                        <a:pt x="288" y="588"/>
                      </a:lnTo>
                      <a:lnTo>
                        <a:pt x="300" y="570"/>
                      </a:lnTo>
                      <a:lnTo>
                        <a:pt x="300" y="552"/>
                      </a:lnTo>
                      <a:lnTo>
                        <a:pt x="294" y="552"/>
                      </a:lnTo>
                      <a:lnTo>
                        <a:pt x="294" y="540"/>
                      </a:lnTo>
                      <a:lnTo>
                        <a:pt x="306" y="528"/>
                      </a:lnTo>
                      <a:lnTo>
                        <a:pt x="312" y="528"/>
                      </a:lnTo>
                      <a:lnTo>
                        <a:pt x="324" y="516"/>
                      </a:lnTo>
                      <a:lnTo>
                        <a:pt x="330" y="504"/>
                      </a:lnTo>
                      <a:lnTo>
                        <a:pt x="330" y="498"/>
                      </a:lnTo>
                      <a:lnTo>
                        <a:pt x="336" y="486"/>
                      </a:lnTo>
                      <a:lnTo>
                        <a:pt x="336" y="480"/>
                      </a:lnTo>
                      <a:lnTo>
                        <a:pt x="342" y="474"/>
                      </a:lnTo>
                      <a:lnTo>
                        <a:pt x="354" y="468"/>
                      </a:lnTo>
                      <a:lnTo>
                        <a:pt x="366" y="468"/>
                      </a:lnTo>
                      <a:lnTo>
                        <a:pt x="384" y="474"/>
                      </a:lnTo>
                      <a:lnTo>
                        <a:pt x="396" y="474"/>
                      </a:lnTo>
                      <a:lnTo>
                        <a:pt x="408" y="480"/>
                      </a:lnTo>
                      <a:lnTo>
                        <a:pt x="408" y="492"/>
                      </a:lnTo>
                      <a:lnTo>
                        <a:pt x="426" y="492"/>
                      </a:lnTo>
                      <a:lnTo>
                        <a:pt x="432" y="498"/>
                      </a:lnTo>
                      <a:lnTo>
                        <a:pt x="432" y="528"/>
                      </a:lnTo>
                      <a:lnTo>
                        <a:pt x="474" y="528"/>
                      </a:lnTo>
                      <a:lnTo>
                        <a:pt x="480" y="534"/>
                      </a:lnTo>
                      <a:lnTo>
                        <a:pt x="492" y="540"/>
                      </a:lnTo>
                      <a:lnTo>
                        <a:pt x="540" y="540"/>
                      </a:lnTo>
                      <a:lnTo>
                        <a:pt x="552" y="546"/>
                      </a:lnTo>
                      <a:lnTo>
                        <a:pt x="558" y="552"/>
                      </a:lnTo>
                      <a:lnTo>
                        <a:pt x="570" y="558"/>
                      </a:lnTo>
                      <a:lnTo>
                        <a:pt x="576" y="552"/>
                      </a:lnTo>
                      <a:lnTo>
                        <a:pt x="582" y="540"/>
                      </a:lnTo>
                      <a:lnTo>
                        <a:pt x="588" y="534"/>
                      </a:lnTo>
                      <a:lnTo>
                        <a:pt x="588" y="522"/>
                      </a:lnTo>
                      <a:lnTo>
                        <a:pt x="606" y="504"/>
                      </a:lnTo>
                      <a:lnTo>
                        <a:pt x="612" y="492"/>
                      </a:lnTo>
                      <a:lnTo>
                        <a:pt x="636" y="516"/>
                      </a:lnTo>
                      <a:lnTo>
                        <a:pt x="642" y="516"/>
                      </a:lnTo>
                      <a:lnTo>
                        <a:pt x="648" y="510"/>
                      </a:lnTo>
                      <a:lnTo>
                        <a:pt x="660" y="504"/>
                      </a:lnTo>
                      <a:lnTo>
                        <a:pt x="672" y="492"/>
                      </a:lnTo>
                      <a:lnTo>
                        <a:pt x="690" y="492"/>
                      </a:lnTo>
                      <a:lnTo>
                        <a:pt x="714" y="474"/>
                      </a:lnTo>
                      <a:lnTo>
                        <a:pt x="726" y="486"/>
                      </a:lnTo>
                      <a:lnTo>
                        <a:pt x="750" y="486"/>
                      </a:lnTo>
                      <a:lnTo>
                        <a:pt x="756" y="480"/>
                      </a:lnTo>
                      <a:lnTo>
                        <a:pt x="768" y="480"/>
                      </a:lnTo>
                      <a:lnTo>
                        <a:pt x="768" y="468"/>
                      </a:lnTo>
                      <a:lnTo>
                        <a:pt x="786" y="450"/>
                      </a:lnTo>
                      <a:lnTo>
                        <a:pt x="792" y="450"/>
                      </a:lnTo>
                      <a:lnTo>
                        <a:pt x="792" y="456"/>
                      </a:lnTo>
                      <a:lnTo>
                        <a:pt x="804" y="468"/>
                      </a:lnTo>
                      <a:lnTo>
                        <a:pt x="840" y="462"/>
                      </a:lnTo>
                      <a:lnTo>
                        <a:pt x="840" y="468"/>
                      </a:lnTo>
                      <a:lnTo>
                        <a:pt x="852" y="480"/>
                      </a:lnTo>
                      <a:lnTo>
                        <a:pt x="876" y="480"/>
                      </a:lnTo>
                      <a:lnTo>
                        <a:pt x="894" y="474"/>
                      </a:lnTo>
                      <a:lnTo>
                        <a:pt x="912" y="456"/>
                      </a:lnTo>
                      <a:lnTo>
                        <a:pt x="912" y="432"/>
                      </a:lnTo>
                      <a:lnTo>
                        <a:pt x="906" y="42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665" name="Canada"/>
                <p:cNvSpPr>
                  <a:spLocks noEditPoints="1"/>
                </p:cNvSpPr>
                <p:nvPr/>
              </p:nvSpPr>
              <p:spPr bwMode="gray">
                <a:xfrm>
                  <a:off x="633" y="708"/>
                  <a:ext cx="1425" cy="738"/>
                </a:xfrm>
                <a:custGeom>
                  <a:avLst/>
                  <a:gdLst>
                    <a:gd name="T0" fmla="*/ 2147483647 w 5574"/>
                    <a:gd name="T1" fmla="*/ 2147483647 h 2886"/>
                    <a:gd name="T2" fmla="*/ 2147483647 w 5574"/>
                    <a:gd name="T3" fmla="*/ 2147483647 h 2886"/>
                    <a:gd name="T4" fmla="*/ 2147483647 w 5574"/>
                    <a:gd name="T5" fmla="*/ 2147483647 h 2886"/>
                    <a:gd name="T6" fmla="*/ 2147483647 w 5574"/>
                    <a:gd name="T7" fmla="*/ 2147483647 h 2886"/>
                    <a:gd name="T8" fmla="*/ 2147483647 w 5574"/>
                    <a:gd name="T9" fmla="*/ 2147483647 h 2886"/>
                    <a:gd name="T10" fmla="*/ 2147483647 w 5574"/>
                    <a:gd name="T11" fmla="*/ 2147483647 h 2886"/>
                    <a:gd name="T12" fmla="*/ 2147483647 w 5574"/>
                    <a:gd name="T13" fmla="*/ 2147483647 h 2886"/>
                    <a:gd name="T14" fmla="*/ 2147483647 w 5574"/>
                    <a:gd name="T15" fmla="*/ 2147483647 h 2886"/>
                    <a:gd name="T16" fmla="*/ 2147483647 w 5574"/>
                    <a:gd name="T17" fmla="*/ 2147483647 h 2886"/>
                    <a:gd name="T18" fmla="*/ 2147483647 w 5574"/>
                    <a:gd name="T19" fmla="*/ 2147483647 h 2886"/>
                    <a:gd name="T20" fmla="*/ 2147483647 w 5574"/>
                    <a:gd name="T21" fmla="*/ 2147483647 h 2886"/>
                    <a:gd name="T22" fmla="*/ 2147483647 w 5574"/>
                    <a:gd name="T23" fmla="*/ 2147483647 h 2886"/>
                    <a:gd name="T24" fmla="*/ 2147483647 w 5574"/>
                    <a:gd name="T25" fmla="*/ 2147483647 h 2886"/>
                    <a:gd name="T26" fmla="*/ 2147483647 w 5574"/>
                    <a:gd name="T27" fmla="*/ 2147483647 h 2886"/>
                    <a:gd name="T28" fmla="*/ 2147483647 w 5574"/>
                    <a:gd name="T29" fmla="*/ 2147483647 h 2886"/>
                    <a:gd name="T30" fmla="*/ 2147483647 w 5574"/>
                    <a:gd name="T31" fmla="*/ 2147483647 h 2886"/>
                    <a:gd name="T32" fmla="*/ 2147483647 w 5574"/>
                    <a:gd name="T33" fmla="*/ 2147483647 h 2886"/>
                    <a:gd name="T34" fmla="*/ 2147483647 w 5574"/>
                    <a:gd name="T35" fmla="*/ 2147483647 h 2886"/>
                    <a:gd name="T36" fmla="*/ 2147483647 w 5574"/>
                    <a:gd name="T37" fmla="*/ 2147483647 h 2886"/>
                    <a:gd name="T38" fmla="*/ 2147483647 w 5574"/>
                    <a:gd name="T39" fmla="*/ 2147483647 h 2886"/>
                    <a:gd name="T40" fmla="*/ 2147483647 w 5574"/>
                    <a:gd name="T41" fmla="*/ 2147483647 h 2886"/>
                    <a:gd name="T42" fmla="*/ 2147483647 w 5574"/>
                    <a:gd name="T43" fmla="*/ 2147483647 h 2886"/>
                    <a:gd name="T44" fmla="*/ 2147483647 w 5574"/>
                    <a:gd name="T45" fmla="*/ 2147483647 h 2886"/>
                    <a:gd name="T46" fmla="*/ 2147483647 w 5574"/>
                    <a:gd name="T47" fmla="*/ 2147483647 h 2886"/>
                    <a:gd name="T48" fmla="*/ 2147483647 w 5574"/>
                    <a:gd name="T49" fmla="*/ 2147483647 h 2886"/>
                    <a:gd name="T50" fmla="*/ 2147483647 w 5574"/>
                    <a:gd name="T51" fmla="*/ 2147483647 h 2886"/>
                    <a:gd name="T52" fmla="*/ 2147483647 w 5574"/>
                    <a:gd name="T53" fmla="*/ 2147483647 h 2886"/>
                    <a:gd name="T54" fmla="*/ 2147483647 w 5574"/>
                    <a:gd name="T55" fmla="*/ 2147483647 h 2886"/>
                    <a:gd name="T56" fmla="*/ 2147483647 w 5574"/>
                    <a:gd name="T57" fmla="*/ 2147483647 h 2886"/>
                    <a:gd name="T58" fmla="*/ 2147483647 w 5574"/>
                    <a:gd name="T59" fmla="*/ 2147483647 h 2886"/>
                    <a:gd name="T60" fmla="*/ 2147483647 w 5574"/>
                    <a:gd name="T61" fmla="*/ 2147483647 h 2886"/>
                    <a:gd name="T62" fmla="*/ 2147483647 w 5574"/>
                    <a:gd name="T63" fmla="*/ 2147483647 h 2886"/>
                    <a:gd name="T64" fmla="*/ 2147483647 w 5574"/>
                    <a:gd name="T65" fmla="*/ 2147483647 h 2886"/>
                    <a:gd name="T66" fmla="*/ 2147483647 w 5574"/>
                    <a:gd name="T67" fmla="*/ 2147483647 h 2886"/>
                    <a:gd name="T68" fmla="*/ 2147483647 w 5574"/>
                    <a:gd name="T69" fmla="*/ 2147483647 h 2886"/>
                    <a:gd name="T70" fmla="*/ 2147483647 w 5574"/>
                    <a:gd name="T71" fmla="*/ 2147483647 h 2886"/>
                    <a:gd name="T72" fmla="*/ 2147483647 w 5574"/>
                    <a:gd name="T73" fmla="*/ 2147483647 h 2886"/>
                    <a:gd name="T74" fmla="*/ 2147483647 w 5574"/>
                    <a:gd name="T75" fmla="*/ 2147483647 h 2886"/>
                    <a:gd name="T76" fmla="*/ 2147483647 w 5574"/>
                    <a:gd name="T77" fmla="*/ 2147483647 h 2886"/>
                    <a:gd name="T78" fmla="*/ 2147483647 w 5574"/>
                    <a:gd name="T79" fmla="*/ 2147483647 h 2886"/>
                    <a:gd name="T80" fmla="*/ 2147483647 w 5574"/>
                    <a:gd name="T81" fmla="*/ 2147483647 h 2886"/>
                    <a:gd name="T82" fmla="*/ 2147483647 w 5574"/>
                    <a:gd name="T83" fmla="*/ 2147483647 h 2886"/>
                    <a:gd name="T84" fmla="*/ 2147483647 w 5574"/>
                    <a:gd name="T85" fmla="*/ 2147483647 h 2886"/>
                    <a:gd name="T86" fmla="*/ 2147483647 w 5574"/>
                    <a:gd name="T87" fmla="*/ 2147483647 h 2886"/>
                    <a:gd name="T88" fmla="*/ 2147483647 w 5574"/>
                    <a:gd name="T89" fmla="*/ 2147483647 h 2886"/>
                    <a:gd name="T90" fmla="*/ 2147483647 w 5574"/>
                    <a:gd name="T91" fmla="*/ 2147483647 h 2886"/>
                    <a:gd name="T92" fmla="*/ 2147483647 w 5574"/>
                    <a:gd name="T93" fmla="*/ 2147483647 h 2886"/>
                    <a:gd name="T94" fmla="*/ 2147483647 w 5574"/>
                    <a:gd name="T95" fmla="*/ 2147483647 h 2886"/>
                    <a:gd name="T96" fmla="*/ 2147483647 w 5574"/>
                    <a:gd name="T97" fmla="*/ 2147483647 h 2886"/>
                    <a:gd name="T98" fmla="*/ 2147483647 w 5574"/>
                    <a:gd name="T99" fmla="*/ 2147483647 h 2886"/>
                    <a:gd name="T100" fmla="*/ 2147483647 w 5574"/>
                    <a:gd name="T101" fmla="*/ 2147483647 h 2886"/>
                    <a:gd name="T102" fmla="*/ 2147483647 w 5574"/>
                    <a:gd name="T103" fmla="*/ 2147483647 h 2886"/>
                    <a:gd name="T104" fmla="*/ 2147483647 w 5574"/>
                    <a:gd name="T105" fmla="*/ 2147483647 h 2886"/>
                    <a:gd name="T106" fmla="*/ 2147483647 w 5574"/>
                    <a:gd name="T107" fmla="*/ 2147483647 h 2886"/>
                    <a:gd name="T108" fmla="*/ 2147483647 w 5574"/>
                    <a:gd name="T109" fmla="*/ 2147483647 h 2886"/>
                    <a:gd name="T110" fmla="*/ 2147483647 w 5574"/>
                    <a:gd name="T111" fmla="*/ 2147483647 h 2886"/>
                    <a:gd name="T112" fmla="*/ 2147483647 w 5574"/>
                    <a:gd name="T113" fmla="*/ 2147483647 h 2886"/>
                    <a:gd name="T114" fmla="*/ 2147483647 w 5574"/>
                    <a:gd name="T115" fmla="*/ 2147483647 h 2886"/>
                    <a:gd name="T116" fmla="*/ 2147483647 w 5574"/>
                    <a:gd name="T117" fmla="*/ 2147483647 h 2886"/>
                    <a:gd name="T118" fmla="*/ 2147483647 w 5574"/>
                    <a:gd name="T119" fmla="*/ 2147483647 h 2886"/>
                    <a:gd name="T120" fmla="*/ 2147483647 w 5574"/>
                    <a:gd name="T121" fmla="*/ 2147483647 h 2886"/>
                    <a:gd name="T122" fmla="*/ 2147483647 w 5574"/>
                    <a:gd name="T123" fmla="*/ 2147483647 h 2886"/>
                    <a:gd name="T124" fmla="*/ 2147483647 w 5574"/>
                    <a:gd name="T125" fmla="*/ 2147483647 h 288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5574"/>
                    <a:gd name="T190" fmla="*/ 0 h 2886"/>
                    <a:gd name="T191" fmla="*/ 5574 w 5574"/>
                    <a:gd name="T192" fmla="*/ 2886 h 288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5574" h="2886">
                      <a:moveTo>
                        <a:pt x="3114" y="252"/>
                      </a:moveTo>
                      <a:lnTo>
                        <a:pt x="3138" y="252"/>
                      </a:lnTo>
                      <a:lnTo>
                        <a:pt x="3150" y="258"/>
                      </a:lnTo>
                      <a:lnTo>
                        <a:pt x="3168" y="258"/>
                      </a:lnTo>
                      <a:lnTo>
                        <a:pt x="3174" y="252"/>
                      </a:lnTo>
                      <a:lnTo>
                        <a:pt x="3174" y="246"/>
                      </a:lnTo>
                      <a:lnTo>
                        <a:pt x="3168" y="234"/>
                      </a:lnTo>
                      <a:lnTo>
                        <a:pt x="3156" y="228"/>
                      </a:lnTo>
                      <a:lnTo>
                        <a:pt x="3108" y="228"/>
                      </a:lnTo>
                      <a:lnTo>
                        <a:pt x="3066" y="234"/>
                      </a:lnTo>
                      <a:lnTo>
                        <a:pt x="3036" y="246"/>
                      </a:lnTo>
                      <a:lnTo>
                        <a:pt x="3018" y="246"/>
                      </a:lnTo>
                      <a:lnTo>
                        <a:pt x="3060" y="246"/>
                      </a:lnTo>
                      <a:lnTo>
                        <a:pt x="3096" y="252"/>
                      </a:lnTo>
                      <a:lnTo>
                        <a:pt x="3114" y="252"/>
                      </a:lnTo>
                      <a:close/>
                      <a:moveTo>
                        <a:pt x="2988" y="318"/>
                      </a:moveTo>
                      <a:lnTo>
                        <a:pt x="3036" y="318"/>
                      </a:lnTo>
                      <a:lnTo>
                        <a:pt x="3048" y="312"/>
                      </a:lnTo>
                      <a:lnTo>
                        <a:pt x="3060" y="312"/>
                      </a:lnTo>
                      <a:lnTo>
                        <a:pt x="3072" y="300"/>
                      </a:lnTo>
                      <a:lnTo>
                        <a:pt x="3072" y="294"/>
                      </a:lnTo>
                      <a:lnTo>
                        <a:pt x="3066" y="282"/>
                      </a:lnTo>
                      <a:lnTo>
                        <a:pt x="3138" y="270"/>
                      </a:lnTo>
                      <a:lnTo>
                        <a:pt x="3120" y="264"/>
                      </a:lnTo>
                      <a:lnTo>
                        <a:pt x="3054" y="264"/>
                      </a:lnTo>
                      <a:lnTo>
                        <a:pt x="3042" y="276"/>
                      </a:lnTo>
                      <a:lnTo>
                        <a:pt x="3030" y="276"/>
                      </a:lnTo>
                      <a:lnTo>
                        <a:pt x="2994" y="270"/>
                      </a:lnTo>
                      <a:lnTo>
                        <a:pt x="2958" y="270"/>
                      </a:lnTo>
                      <a:lnTo>
                        <a:pt x="2940" y="282"/>
                      </a:lnTo>
                      <a:lnTo>
                        <a:pt x="2940" y="294"/>
                      </a:lnTo>
                      <a:lnTo>
                        <a:pt x="2946" y="300"/>
                      </a:lnTo>
                      <a:lnTo>
                        <a:pt x="2970" y="312"/>
                      </a:lnTo>
                      <a:lnTo>
                        <a:pt x="2976" y="318"/>
                      </a:lnTo>
                      <a:lnTo>
                        <a:pt x="2988" y="318"/>
                      </a:lnTo>
                      <a:close/>
                      <a:moveTo>
                        <a:pt x="2682" y="384"/>
                      </a:moveTo>
                      <a:lnTo>
                        <a:pt x="2628" y="408"/>
                      </a:lnTo>
                      <a:lnTo>
                        <a:pt x="2634" y="408"/>
                      </a:lnTo>
                      <a:lnTo>
                        <a:pt x="2646" y="414"/>
                      </a:lnTo>
                      <a:lnTo>
                        <a:pt x="2652" y="414"/>
                      </a:lnTo>
                      <a:lnTo>
                        <a:pt x="2658" y="420"/>
                      </a:lnTo>
                      <a:lnTo>
                        <a:pt x="2658" y="426"/>
                      </a:lnTo>
                      <a:lnTo>
                        <a:pt x="2622" y="426"/>
                      </a:lnTo>
                      <a:lnTo>
                        <a:pt x="2586" y="432"/>
                      </a:lnTo>
                      <a:lnTo>
                        <a:pt x="2556" y="438"/>
                      </a:lnTo>
                      <a:lnTo>
                        <a:pt x="2544" y="438"/>
                      </a:lnTo>
                      <a:lnTo>
                        <a:pt x="2520" y="456"/>
                      </a:lnTo>
                      <a:lnTo>
                        <a:pt x="2580" y="450"/>
                      </a:lnTo>
                      <a:lnTo>
                        <a:pt x="2586" y="450"/>
                      </a:lnTo>
                      <a:lnTo>
                        <a:pt x="2592" y="456"/>
                      </a:lnTo>
                      <a:lnTo>
                        <a:pt x="2610" y="456"/>
                      </a:lnTo>
                      <a:lnTo>
                        <a:pt x="2628" y="462"/>
                      </a:lnTo>
                      <a:lnTo>
                        <a:pt x="2658" y="462"/>
                      </a:lnTo>
                      <a:lnTo>
                        <a:pt x="2694" y="450"/>
                      </a:lnTo>
                      <a:lnTo>
                        <a:pt x="2730" y="444"/>
                      </a:lnTo>
                      <a:lnTo>
                        <a:pt x="2742" y="438"/>
                      </a:lnTo>
                      <a:lnTo>
                        <a:pt x="2742" y="450"/>
                      </a:lnTo>
                      <a:lnTo>
                        <a:pt x="2760" y="450"/>
                      </a:lnTo>
                      <a:lnTo>
                        <a:pt x="2796" y="444"/>
                      </a:lnTo>
                      <a:lnTo>
                        <a:pt x="2856" y="444"/>
                      </a:lnTo>
                      <a:lnTo>
                        <a:pt x="2850" y="444"/>
                      </a:lnTo>
                      <a:lnTo>
                        <a:pt x="2844" y="450"/>
                      </a:lnTo>
                      <a:lnTo>
                        <a:pt x="2832" y="450"/>
                      </a:lnTo>
                      <a:lnTo>
                        <a:pt x="2790" y="456"/>
                      </a:lnTo>
                      <a:lnTo>
                        <a:pt x="2730" y="468"/>
                      </a:lnTo>
                      <a:lnTo>
                        <a:pt x="2706" y="468"/>
                      </a:lnTo>
                      <a:lnTo>
                        <a:pt x="2688" y="474"/>
                      </a:lnTo>
                      <a:lnTo>
                        <a:pt x="2670" y="474"/>
                      </a:lnTo>
                      <a:lnTo>
                        <a:pt x="2652" y="480"/>
                      </a:lnTo>
                      <a:lnTo>
                        <a:pt x="2646" y="486"/>
                      </a:lnTo>
                      <a:lnTo>
                        <a:pt x="2640" y="486"/>
                      </a:lnTo>
                      <a:lnTo>
                        <a:pt x="2658" y="486"/>
                      </a:lnTo>
                      <a:lnTo>
                        <a:pt x="2694" y="492"/>
                      </a:lnTo>
                      <a:lnTo>
                        <a:pt x="2760" y="498"/>
                      </a:lnTo>
                      <a:lnTo>
                        <a:pt x="2808" y="492"/>
                      </a:lnTo>
                      <a:lnTo>
                        <a:pt x="2850" y="480"/>
                      </a:lnTo>
                      <a:lnTo>
                        <a:pt x="2874" y="474"/>
                      </a:lnTo>
                      <a:lnTo>
                        <a:pt x="2886" y="468"/>
                      </a:lnTo>
                      <a:lnTo>
                        <a:pt x="2958" y="450"/>
                      </a:lnTo>
                      <a:lnTo>
                        <a:pt x="3000" y="450"/>
                      </a:lnTo>
                      <a:lnTo>
                        <a:pt x="3054" y="444"/>
                      </a:lnTo>
                      <a:lnTo>
                        <a:pt x="3096" y="438"/>
                      </a:lnTo>
                      <a:lnTo>
                        <a:pt x="3120" y="432"/>
                      </a:lnTo>
                      <a:lnTo>
                        <a:pt x="3138" y="420"/>
                      </a:lnTo>
                      <a:lnTo>
                        <a:pt x="3156" y="414"/>
                      </a:lnTo>
                      <a:lnTo>
                        <a:pt x="3168" y="408"/>
                      </a:lnTo>
                      <a:lnTo>
                        <a:pt x="3168" y="396"/>
                      </a:lnTo>
                      <a:lnTo>
                        <a:pt x="3156" y="384"/>
                      </a:lnTo>
                      <a:lnTo>
                        <a:pt x="3144" y="378"/>
                      </a:lnTo>
                      <a:lnTo>
                        <a:pt x="3120" y="378"/>
                      </a:lnTo>
                      <a:lnTo>
                        <a:pt x="3114" y="384"/>
                      </a:lnTo>
                      <a:lnTo>
                        <a:pt x="3108" y="384"/>
                      </a:lnTo>
                      <a:lnTo>
                        <a:pt x="3108" y="396"/>
                      </a:lnTo>
                      <a:lnTo>
                        <a:pt x="3072" y="396"/>
                      </a:lnTo>
                      <a:lnTo>
                        <a:pt x="3078" y="390"/>
                      </a:lnTo>
                      <a:lnTo>
                        <a:pt x="3078" y="378"/>
                      </a:lnTo>
                      <a:lnTo>
                        <a:pt x="3102" y="354"/>
                      </a:lnTo>
                      <a:lnTo>
                        <a:pt x="3102" y="342"/>
                      </a:lnTo>
                      <a:lnTo>
                        <a:pt x="3096" y="342"/>
                      </a:lnTo>
                      <a:lnTo>
                        <a:pt x="3054" y="348"/>
                      </a:lnTo>
                      <a:lnTo>
                        <a:pt x="2988" y="372"/>
                      </a:lnTo>
                      <a:lnTo>
                        <a:pt x="2976" y="378"/>
                      </a:lnTo>
                      <a:lnTo>
                        <a:pt x="3024" y="378"/>
                      </a:lnTo>
                      <a:lnTo>
                        <a:pt x="3018" y="408"/>
                      </a:lnTo>
                      <a:lnTo>
                        <a:pt x="2898" y="420"/>
                      </a:lnTo>
                      <a:lnTo>
                        <a:pt x="2898" y="414"/>
                      </a:lnTo>
                      <a:lnTo>
                        <a:pt x="2892" y="408"/>
                      </a:lnTo>
                      <a:lnTo>
                        <a:pt x="2892" y="372"/>
                      </a:lnTo>
                      <a:lnTo>
                        <a:pt x="2886" y="366"/>
                      </a:lnTo>
                      <a:lnTo>
                        <a:pt x="2874" y="366"/>
                      </a:lnTo>
                      <a:lnTo>
                        <a:pt x="2856" y="360"/>
                      </a:lnTo>
                      <a:lnTo>
                        <a:pt x="2814" y="360"/>
                      </a:lnTo>
                      <a:lnTo>
                        <a:pt x="2682" y="384"/>
                      </a:lnTo>
                      <a:close/>
                      <a:moveTo>
                        <a:pt x="2832" y="342"/>
                      </a:moveTo>
                      <a:lnTo>
                        <a:pt x="2844" y="330"/>
                      </a:lnTo>
                      <a:lnTo>
                        <a:pt x="2844" y="318"/>
                      </a:lnTo>
                      <a:lnTo>
                        <a:pt x="2838" y="312"/>
                      </a:lnTo>
                      <a:lnTo>
                        <a:pt x="2814" y="312"/>
                      </a:lnTo>
                      <a:lnTo>
                        <a:pt x="2802" y="318"/>
                      </a:lnTo>
                      <a:lnTo>
                        <a:pt x="2796" y="324"/>
                      </a:lnTo>
                      <a:lnTo>
                        <a:pt x="2796" y="330"/>
                      </a:lnTo>
                      <a:lnTo>
                        <a:pt x="2802" y="336"/>
                      </a:lnTo>
                      <a:lnTo>
                        <a:pt x="2814" y="336"/>
                      </a:lnTo>
                      <a:lnTo>
                        <a:pt x="2820" y="342"/>
                      </a:lnTo>
                      <a:lnTo>
                        <a:pt x="2832" y="342"/>
                      </a:lnTo>
                      <a:close/>
                      <a:moveTo>
                        <a:pt x="3012" y="564"/>
                      </a:moveTo>
                      <a:lnTo>
                        <a:pt x="2988" y="540"/>
                      </a:lnTo>
                      <a:lnTo>
                        <a:pt x="2958" y="540"/>
                      </a:lnTo>
                      <a:lnTo>
                        <a:pt x="2952" y="534"/>
                      </a:lnTo>
                      <a:lnTo>
                        <a:pt x="2946" y="534"/>
                      </a:lnTo>
                      <a:lnTo>
                        <a:pt x="2934" y="528"/>
                      </a:lnTo>
                      <a:lnTo>
                        <a:pt x="2916" y="528"/>
                      </a:lnTo>
                      <a:lnTo>
                        <a:pt x="2898" y="534"/>
                      </a:lnTo>
                      <a:lnTo>
                        <a:pt x="2892" y="540"/>
                      </a:lnTo>
                      <a:lnTo>
                        <a:pt x="2892" y="552"/>
                      </a:lnTo>
                      <a:lnTo>
                        <a:pt x="2928" y="570"/>
                      </a:lnTo>
                      <a:lnTo>
                        <a:pt x="2934" y="576"/>
                      </a:lnTo>
                      <a:lnTo>
                        <a:pt x="2946" y="582"/>
                      </a:lnTo>
                      <a:lnTo>
                        <a:pt x="3012" y="564"/>
                      </a:lnTo>
                      <a:close/>
                      <a:moveTo>
                        <a:pt x="2460" y="414"/>
                      </a:moveTo>
                      <a:lnTo>
                        <a:pt x="2442" y="420"/>
                      </a:lnTo>
                      <a:lnTo>
                        <a:pt x="2430" y="426"/>
                      </a:lnTo>
                      <a:lnTo>
                        <a:pt x="2430" y="438"/>
                      </a:lnTo>
                      <a:lnTo>
                        <a:pt x="2442" y="438"/>
                      </a:lnTo>
                      <a:lnTo>
                        <a:pt x="2472" y="432"/>
                      </a:lnTo>
                      <a:lnTo>
                        <a:pt x="2490" y="426"/>
                      </a:lnTo>
                      <a:lnTo>
                        <a:pt x="2502" y="420"/>
                      </a:lnTo>
                      <a:lnTo>
                        <a:pt x="2502" y="414"/>
                      </a:lnTo>
                      <a:lnTo>
                        <a:pt x="2496" y="408"/>
                      </a:lnTo>
                      <a:lnTo>
                        <a:pt x="2484" y="408"/>
                      </a:lnTo>
                      <a:lnTo>
                        <a:pt x="2460" y="414"/>
                      </a:lnTo>
                      <a:close/>
                      <a:moveTo>
                        <a:pt x="2970" y="858"/>
                      </a:moveTo>
                      <a:lnTo>
                        <a:pt x="2988" y="858"/>
                      </a:lnTo>
                      <a:lnTo>
                        <a:pt x="3006" y="864"/>
                      </a:lnTo>
                      <a:lnTo>
                        <a:pt x="3018" y="870"/>
                      </a:lnTo>
                      <a:lnTo>
                        <a:pt x="3036" y="876"/>
                      </a:lnTo>
                      <a:lnTo>
                        <a:pt x="3060" y="882"/>
                      </a:lnTo>
                      <a:lnTo>
                        <a:pt x="3096" y="882"/>
                      </a:lnTo>
                      <a:lnTo>
                        <a:pt x="3126" y="876"/>
                      </a:lnTo>
                      <a:lnTo>
                        <a:pt x="3138" y="876"/>
                      </a:lnTo>
                      <a:lnTo>
                        <a:pt x="3120" y="810"/>
                      </a:lnTo>
                      <a:lnTo>
                        <a:pt x="3018" y="792"/>
                      </a:lnTo>
                      <a:lnTo>
                        <a:pt x="2988" y="828"/>
                      </a:lnTo>
                      <a:lnTo>
                        <a:pt x="2958" y="828"/>
                      </a:lnTo>
                      <a:lnTo>
                        <a:pt x="2952" y="834"/>
                      </a:lnTo>
                      <a:lnTo>
                        <a:pt x="2952" y="846"/>
                      </a:lnTo>
                      <a:lnTo>
                        <a:pt x="2958" y="852"/>
                      </a:lnTo>
                      <a:lnTo>
                        <a:pt x="2970" y="858"/>
                      </a:lnTo>
                      <a:close/>
                      <a:moveTo>
                        <a:pt x="168" y="2034"/>
                      </a:moveTo>
                      <a:lnTo>
                        <a:pt x="168" y="2040"/>
                      </a:lnTo>
                      <a:lnTo>
                        <a:pt x="174" y="2046"/>
                      </a:lnTo>
                      <a:lnTo>
                        <a:pt x="192" y="2046"/>
                      </a:lnTo>
                      <a:lnTo>
                        <a:pt x="186" y="2070"/>
                      </a:lnTo>
                      <a:lnTo>
                        <a:pt x="216" y="2052"/>
                      </a:lnTo>
                      <a:lnTo>
                        <a:pt x="216" y="2028"/>
                      </a:lnTo>
                      <a:lnTo>
                        <a:pt x="174" y="2028"/>
                      </a:lnTo>
                      <a:lnTo>
                        <a:pt x="168" y="2034"/>
                      </a:lnTo>
                      <a:close/>
                      <a:moveTo>
                        <a:pt x="252" y="2298"/>
                      </a:moveTo>
                      <a:lnTo>
                        <a:pt x="252" y="2292"/>
                      </a:lnTo>
                      <a:lnTo>
                        <a:pt x="246" y="2286"/>
                      </a:lnTo>
                      <a:lnTo>
                        <a:pt x="246" y="2268"/>
                      </a:lnTo>
                      <a:lnTo>
                        <a:pt x="252" y="2256"/>
                      </a:lnTo>
                      <a:lnTo>
                        <a:pt x="252" y="2238"/>
                      </a:lnTo>
                      <a:lnTo>
                        <a:pt x="246" y="2226"/>
                      </a:lnTo>
                      <a:lnTo>
                        <a:pt x="228" y="2226"/>
                      </a:lnTo>
                      <a:lnTo>
                        <a:pt x="216" y="2220"/>
                      </a:lnTo>
                      <a:lnTo>
                        <a:pt x="204" y="2220"/>
                      </a:lnTo>
                      <a:lnTo>
                        <a:pt x="192" y="2214"/>
                      </a:lnTo>
                      <a:lnTo>
                        <a:pt x="186" y="2208"/>
                      </a:lnTo>
                      <a:lnTo>
                        <a:pt x="174" y="2202"/>
                      </a:lnTo>
                      <a:lnTo>
                        <a:pt x="150" y="2178"/>
                      </a:lnTo>
                      <a:lnTo>
                        <a:pt x="138" y="2172"/>
                      </a:lnTo>
                      <a:lnTo>
                        <a:pt x="126" y="2172"/>
                      </a:lnTo>
                      <a:lnTo>
                        <a:pt x="102" y="2184"/>
                      </a:lnTo>
                      <a:lnTo>
                        <a:pt x="96" y="2196"/>
                      </a:lnTo>
                      <a:lnTo>
                        <a:pt x="96" y="2202"/>
                      </a:lnTo>
                      <a:lnTo>
                        <a:pt x="108" y="2208"/>
                      </a:lnTo>
                      <a:lnTo>
                        <a:pt x="114" y="2214"/>
                      </a:lnTo>
                      <a:lnTo>
                        <a:pt x="120" y="2214"/>
                      </a:lnTo>
                      <a:lnTo>
                        <a:pt x="132" y="2202"/>
                      </a:lnTo>
                      <a:lnTo>
                        <a:pt x="144" y="2208"/>
                      </a:lnTo>
                      <a:lnTo>
                        <a:pt x="132" y="2220"/>
                      </a:lnTo>
                      <a:lnTo>
                        <a:pt x="120" y="2220"/>
                      </a:lnTo>
                      <a:lnTo>
                        <a:pt x="114" y="2226"/>
                      </a:lnTo>
                      <a:lnTo>
                        <a:pt x="102" y="2232"/>
                      </a:lnTo>
                      <a:lnTo>
                        <a:pt x="102" y="2244"/>
                      </a:lnTo>
                      <a:lnTo>
                        <a:pt x="108" y="2250"/>
                      </a:lnTo>
                      <a:lnTo>
                        <a:pt x="126" y="2250"/>
                      </a:lnTo>
                      <a:lnTo>
                        <a:pt x="138" y="2244"/>
                      </a:lnTo>
                      <a:lnTo>
                        <a:pt x="132" y="2262"/>
                      </a:lnTo>
                      <a:lnTo>
                        <a:pt x="150" y="2262"/>
                      </a:lnTo>
                      <a:lnTo>
                        <a:pt x="132" y="2280"/>
                      </a:lnTo>
                      <a:lnTo>
                        <a:pt x="168" y="2274"/>
                      </a:lnTo>
                      <a:lnTo>
                        <a:pt x="156" y="2280"/>
                      </a:lnTo>
                      <a:lnTo>
                        <a:pt x="144" y="2292"/>
                      </a:lnTo>
                      <a:lnTo>
                        <a:pt x="138" y="2292"/>
                      </a:lnTo>
                      <a:lnTo>
                        <a:pt x="138" y="2298"/>
                      </a:lnTo>
                      <a:lnTo>
                        <a:pt x="150" y="2298"/>
                      </a:lnTo>
                      <a:lnTo>
                        <a:pt x="162" y="2286"/>
                      </a:lnTo>
                      <a:lnTo>
                        <a:pt x="168" y="2286"/>
                      </a:lnTo>
                      <a:lnTo>
                        <a:pt x="174" y="2292"/>
                      </a:lnTo>
                      <a:lnTo>
                        <a:pt x="174" y="2304"/>
                      </a:lnTo>
                      <a:lnTo>
                        <a:pt x="162" y="2316"/>
                      </a:lnTo>
                      <a:lnTo>
                        <a:pt x="162" y="2328"/>
                      </a:lnTo>
                      <a:lnTo>
                        <a:pt x="210" y="2328"/>
                      </a:lnTo>
                      <a:lnTo>
                        <a:pt x="228" y="2316"/>
                      </a:lnTo>
                      <a:lnTo>
                        <a:pt x="210" y="2340"/>
                      </a:lnTo>
                      <a:lnTo>
                        <a:pt x="192" y="2340"/>
                      </a:lnTo>
                      <a:lnTo>
                        <a:pt x="186" y="2346"/>
                      </a:lnTo>
                      <a:lnTo>
                        <a:pt x="186" y="2352"/>
                      </a:lnTo>
                      <a:lnTo>
                        <a:pt x="210" y="2364"/>
                      </a:lnTo>
                      <a:lnTo>
                        <a:pt x="216" y="2364"/>
                      </a:lnTo>
                      <a:lnTo>
                        <a:pt x="228" y="2370"/>
                      </a:lnTo>
                      <a:lnTo>
                        <a:pt x="234" y="2376"/>
                      </a:lnTo>
                      <a:lnTo>
                        <a:pt x="246" y="2376"/>
                      </a:lnTo>
                      <a:lnTo>
                        <a:pt x="258" y="2382"/>
                      </a:lnTo>
                      <a:lnTo>
                        <a:pt x="270" y="2376"/>
                      </a:lnTo>
                      <a:lnTo>
                        <a:pt x="288" y="2358"/>
                      </a:lnTo>
                      <a:lnTo>
                        <a:pt x="294" y="2346"/>
                      </a:lnTo>
                      <a:lnTo>
                        <a:pt x="294" y="2340"/>
                      </a:lnTo>
                      <a:lnTo>
                        <a:pt x="288" y="2334"/>
                      </a:lnTo>
                      <a:lnTo>
                        <a:pt x="282" y="2322"/>
                      </a:lnTo>
                      <a:lnTo>
                        <a:pt x="270" y="2316"/>
                      </a:lnTo>
                      <a:lnTo>
                        <a:pt x="264" y="2304"/>
                      </a:lnTo>
                      <a:lnTo>
                        <a:pt x="252" y="2298"/>
                      </a:lnTo>
                      <a:close/>
                      <a:moveTo>
                        <a:pt x="2304" y="372"/>
                      </a:moveTo>
                      <a:lnTo>
                        <a:pt x="2316" y="372"/>
                      </a:lnTo>
                      <a:lnTo>
                        <a:pt x="2328" y="366"/>
                      </a:lnTo>
                      <a:lnTo>
                        <a:pt x="2376" y="366"/>
                      </a:lnTo>
                      <a:lnTo>
                        <a:pt x="2388" y="378"/>
                      </a:lnTo>
                      <a:lnTo>
                        <a:pt x="2388" y="390"/>
                      </a:lnTo>
                      <a:lnTo>
                        <a:pt x="2424" y="390"/>
                      </a:lnTo>
                      <a:lnTo>
                        <a:pt x="2442" y="384"/>
                      </a:lnTo>
                      <a:lnTo>
                        <a:pt x="2454" y="384"/>
                      </a:lnTo>
                      <a:lnTo>
                        <a:pt x="2466" y="390"/>
                      </a:lnTo>
                      <a:lnTo>
                        <a:pt x="2472" y="396"/>
                      </a:lnTo>
                      <a:lnTo>
                        <a:pt x="2490" y="396"/>
                      </a:lnTo>
                      <a:lnTo>
                        <a:pt x="2514" y="384"/>
                      </a:lnTo>
                      <a:lnTo>
                        <a:pt x="2520" y="372"/>
                      </a:lnTo>
                      <a:lnTo>
                        <a:pt x="2520" y="354"/>
                      </a:lnTo>
                      <a:lnTo>
                        <a:pt x="2550" y="354"/>
                      </a:lnTo>
                      <a:lnTo>
                        <a:pt x="2616" y="336"/>
                      </a:lnTo>
                      <a:lnTo>
                        <a:pt x="2580" y="366"/>
                      </a:lnTo>
                      <a:lnTo>
                        <a:pt x="2634" y="378"/>
                      </a:lnTo>
                      <a:lnTo>
                        <a:pt x="2688" y="354"/>
                      </a:lnTo>
                      <a:lnTo>
                        <a:pt x="2784" y="312"/>
                      </a:lnTo>
                      <a:lnTo>
                        <a:pt x="2778" y="312"/>
                      </a:lnTo>
                      <a:lnTo>
                        <a:pt x="2772" y="306"/>
                      </a:lnTo>
                      <a:lnTo>
                        <a:pt x="2754" y="300"/>
                      </a:lnTo>
                      <a:lnTo>
                        <a:pt x="2736" y="300"/>
                      </a:lnTo>
                      <a:lnTo>
                        <a:pt x="2724" y="294"/>
                      </a:lnTo>
                      <a:lnTo>
                        <a:pt x="2706" y="288"/>
                      </a:lnTo>
                      <a:lnTo>
                        <a:pt x="2676" y="288"/>
                      </a:lnTo>
                      <a:lnTo>
                        <a:pt x="2646" y="282"/>
                      </a:lnTo>
                      <a:lnTo>
                        <a:pt x="2604" y="282"/>
                      </a:lnTo>
                      <a:lnTo>
                        <a:pt x="2526" y="294"/>
                      </a:lnTo>
                      <a:lnTo>
                        <a:pt x="2526" y="318"/>
                      </a:lnTo>
                      <a:lnTo>
                        <a:pt x="2406" y="324"/>
                      </a:lnTo>
                      <a:lnTo>
                        <a:pt x="2400" y="324"/>
                      </a:lnTo>
                      <a:lnTo>
                        <a:pt x="2394" y="318"/>
                      </a:lnTo>
                      <a:lnTo>
                        <a:pt x="2334" y="318"/>
                      </a:lnTo>
                      <a:lnTo>
                        <a:pt x="2322" y="324"/>
                      </a:lnTo>
                      <a:lnTo>
                        <a:pt x="2310" y="324"/>
                      </a:lnTo>
                      <a:lnTo>
                        <a:pt x="2304" y="330"/>
                      </a:lnTo>
                      <a:lnTo>
                        <a:pt x="2304" y="372"/>
                      </a:lnTo>
                      <a:close/>
                      <a:moveTo>
                        <a:pt x="150" y="1980"/>
                      </a:moveTo>
                      <a:lnTo>
                        <a:pt x="162" y="2004"/>
                      </a:lnTo>
                      <a:lnTo>
                        <a:pt x="174" y="2010"/>
                      </a:lnTo>
                      <a:lnTo>
                        <a:pt x="186" y="1980"/>
                      </a:lnTo>
                      <a:lnTo>
                        <a:pt x="180" y="1974"/>
                      </a:lnTo>
                      <a:lnTo>
                        <a:pt x="174" y="1974"/>
                      </a:lnTo>
                      <a:lnTo>
                        <a:pt x="162" y="1968"/>
                      </a:lnTo>
                      <a:lnTo>
                        <a:pt x="156" y="1968"/>
                      </a:lnTo>
                      <a:lnTo>
                        <a:pt x="150" y="1974"/>
                      </a:lnTo>
                      <a:lnTo>
                        <a:pt x="150" y="1980"/>
                      </a:lnTo>
                      <a:close/>
                      <a:moveTo>
                        <a:pt x="126" y="1932"/>
                      </a:moveTo>
                      <a:lnTo>
                        <a:pt x="120" y="1932"/>
                      </a:lnTo>
                      <a:lnTo>
                        <a:pt x="108" y="1938"/>
                      </a:lnTo>
                      <a:lnTo>
                        <a:pt x="96" y="1938"/>
                      </a:lnTo>
                      <a:lnTo>
                        <a:pt x="84" y="1944"/>
                      </a:lnTo>
                      <a:lnTo>
                        <a:pt x="78" y="1944"/>
                      </a:lnTo>
                      <a:lnTo>
                        <a:pt x="78" y="1950"/>
                      </a:lnTo>
                      <a:lnTo>
                        <a:pt x="72" y="1962"/>
                      </a:lnTo>
                      <a:lnTo>
                        <a:pt x="66" y="1968"/>
                      </a:lnTo>
                      <a:lnTo>
                        <a:pt x="48" y="1968"/>
                      </a:lnTo>
                      <a:lnTo>
                        <a:pt x="42" y="1962"/>
                      </a:lnTo>
                      <a:lnTo>
                        <a:pt x="48" y="1956"/>
                      </a:lnTo>
                      <a:lnTo>
                        <a:pt x="60" y="1956"/>
                      </a:lnTo>
                      <a:lnTo>
                        <a:pt x="66" y="1950"/>
                      </a:lnTo>
                      <a:lnTo>
                        <a:pt x="72" y="1950"/>
                      </a:lnTo>
                      <a:lnTo>
                        <a:pt x="78" y="1944"/>
                      </a:lnTo>
                      <a:lnTo>
                        <a:pt x="84" y="1944"/>
                      </a:lnTo>
                      <a:lnTo>
                        <a:pt x="78" y="1938"/>
                      </a:lnTo>
                      <a:lnTo>
                        <a:pt x="54" y="1938"/>
                      </a:lnTo>
                      <a:lnTo>
                        <a:pt x="48" y="1944"/>
                      </a:lnTo>
                      <a:lnTo>
                        <a:pt x="48" y="1932"/>
                      </a:lnTo>
                      <a:lnTo>
                        <a:pt x="36" y="1932"/>
                      </a:lnTo>
                      <a:lnTo>
                        <a:pt x="24" y="1944"/>
                      </a:lnTo>
                      <a:lnTo>
                        <a:pt x="6" y="1980"/>
                      </a:lnTo>
                      <a:lnTo>
                        <a:pt x="6" y="2004"/>
                      </a:lnTo>
                      <a:lnTo>
                        <a:pt x="12" y="2004"/>
                      </a:lnTo>
                      <a:lnTo>
                        <a:pt x="12" y="2010"/>
                      </a:lnTo>
                      <a:lnTo>
                        <a:pt x="18" y="2016"/>
                      </a:lnTo>
                      <a:lnTo>
                        <a:pt x="0" y="2022"/>
                      </a:lnTo>
                      <a:lnTo>
                        <a:pt x="12" y="2076"/>
                      </a:lnTo>
                      <a:lnTo>
                        <a:pt x="12" y="2082"/>
                      </a:lnTo>
                      <a:lnTo>
                        <a:pt x="6" y="2082"/>
                      </a:lnTo>
                      <a:lnTo>
                        <a:pt x="12" y="2088"/>
                      </a:lnTo>
                      <a:lnTo>
                        <a:pt x="12" y="2094"/>
                      </a:lnTo>
                      <a:lnTo>
                        <a:pt x="30" y="2094"/>
                      </a:lnTo>
                      <a:lnTo>
                        <a:pt x="30" y="2070"/>
                      </a:lnTo>
                      <a:lnTo>
                        <a:pt x="24" y="2058"/>
                      </a:lnTo>
                      <a:lnTo>
                        <a:pt x="24" y="2040"/>
                      </a:lnTo>
                      <a:lnTo>
                        <a:pt x="36" y="2028"/>
                      </a:lnTo>
                      <a:lnTo>
                        <a:pt x="42" y="2028"/>
                      </a:lnTo>
                      <a:lnTo>
                        <a:pt x="48" y="2016"/>
                      </a:lnTo>
                      <a:lnTo>
                        <a:pt x="54" y="2010"/>
                      </a:lnTo>
                      <a:lnTo>
                        <a:pt x="54" y="1986"/>
                      </a:lnTo>
                      <a:lnTo>
                        <a:pt x="84" y="1956"/>
                      </a:lnTo>
                      <a:lnTo>
                        <a:pt x="108" y="1944"/>
                      </a:lnTo>
                      <a:lnTo>
                        <a:pt x="114" y="1944"/>
                      </a:lnTo>
                      <a:lnTo>
                        <a:pt x="126" y="1938"/>
                      </a:lnTo>
                      <a:lnTo>
                        <a:pt x="126" y="1932"/>
                      </a:lnTo>
                      <a:close/>
                      <a:moveTo>
                        <a:pt x="1896" y="678"/>
                      </a:moveTo>
                      <a:lnTo>
                        <a:pt x="1896" y="690"/>
                      </a:lnTo>
                      <a:lnTo>
                        <a:pt x="1884" y="702"/>
                      </a:lnTo>
                      <a:lnTo>
                        <a:pt x="1884" y="714"/>
                      </a:lnTo>
                      <a:lnTo>
                        <a:pt x="1902" y="714"/>
                      </a:lnTo>
                      <a:lnTo>
                        <a:pt x="1926" y="708"/>
                      </a:lnTo>
                      <a:lnTo>
                        <a:pt x="1944" y="708"/>
                      </a:lnTo>
                      <a:lnTo>
                        <a:pt x="1980" y="696"/>
                      </a:lnTo>
                      <a:lnTo>
                        <a:pt x="1986" y="690"/>
                      </a:lnTo>
                      <a:lnTo>
                        <a:pt x="1992" y="690"/>
                      </a:lnTo>
                      <a:lnTo>
                        <a:pt x="2034" y="702"/>
                      </a:lnTo>
                      <a:lnTo>
                        <a:pt x="2112" y="642"/>
                      </a:lnTo>
                      <a:lnTo>
                        <a:pt x="2244" y="600"/>
                      </a:lnTo>
                      <a:lnTo>
                        <a:pt x="2370" y="564"/>
                      </a:lnTo>
                      <a:lnTo>
                        <a:pt x="2466" y="546"/>
                      </a:lnTo>
                      <a:lnTo>
                        <a:pt x="2454" y="540"/>
                      </a:lnTo>
                      <a:lnTo>
                        <a:pt x="2448" y="528"/>
                      </a:lnTo>
                      <a:lnTo>
                        <a:pt x="2436" y="522"/>
                      </a:lnTo>
                      <a:lnTo>
                        <a:pt x="2424" y="510"/>
                      </a:lnTo>
                      <a:lnTo>
                        <a:pt x="2412" y="504"/>
                      </a:lnTo>
                      <a:lnTo>
                        <a:pt x="2400" y="492"/>
                      </a:lnTo>
                      <a:lnTo>
                        <a:pt x="2352" y="492"/>
                      </a:lnTo>
                      <a:lnTo>
                        <a:pt x="2340" y="498"/>
                      </a:lnTo>
                      <a:lnTo>
                        <a:pt x="2328" y="498"/>
                      </a:lnTo>
                      <a:lnTo>
                        <a:pt x="2262" y="504"/>
                      </a:lnTo>
                      <a:lnTo>
                        <a:pt x="2226" y="480"/>
                      </a:lnTo>
                      <a:lnTo>
                        <a:pt x="2142" y="486"/>
                      </a:lnTo>
                      <a:lnTo>
                        <a:pt x="2094" y="504"/>
                      </a:lnTo>
                      <a:lnTo>
                        <a:pt x="2076" y="522"/>
                      </a:lnTo>
                      <a:lnTo>
                        <a:pt x="2064" y="552"/>
                      </a:lnTo>
                      <a:lnTo>
                        <a:pt x="2010" y="564"/>
                      </a:lnTo>
                      <a:lnTo>
                        <a:pt x="1944" y="588"/>
                      </a:lnTo>
                      <a:lnTo>
                        <a:pt x="1962" y="600"/>
                      </a:lnTo>
                      <a:lnTo>
                        <a:pt x="1842" y="654"/>
                      </a:lnTo>
                      <a:lnTo>
                        <a:pt x="1854" y="654"/>
                      </a:lnTo>
                      <a:lnTo>
                        <a:pt x="1890" y="672"/>
                      </a:lnTo>
                      <a:lnTo>
                        <a:pt x="1896" y="678"/>
                      </a:lnTo>
                      <a:close/>
                      <a:moveTo>
                        <a:pt x="198" y="1968"/>
                      </a:moveTo>
                      <a:lnTo>
                        <a:pt x="192" y="1992"/>
                      </a:lnTo>
                      <a:lnTo>
                        <a:pt x="192" y="2010"/>
                      </a:lnTo>
                      <a:lnTo>
                        <a:pt x="216" y="1998"/>
                      </a:lnTo>
                      <a:lnTo>
                        <a:pt x="198" y="1968"/>
                      </a:lnTo>
                      <a:close/>
                      <a:moveTo>
                        <a:pt x="4182" y="600"/>
                      </a:moveTo>
                      <a:lnTo>
                        <a:pt x="4194" y="606"/>
                      </a:lnTo>
                      <a:lnTo>
                        <a:pt x="4206" y="600"/>
                      </a:lnTo>
                      <a:lnTo>
                        <a:pt x="4218" y="600"/>
                      </a:lnTo>
                      <a:lnTo>
                        <a:pt x="4242" y="588"/>
                      </a:lnTo>
                      <a:lnTo>
                        <a:pt x="4308" y="588"/>
                      </a:lnTo>
                      <a:lnTo>
                        <a:pt x="4314" y="594"/>
                      </a:lnTo>
                      <a:lnTo>
                        <a:pt x="4350" y="594"/>
                      </a:lnTo>
                      <a:lnTo>
                        <a:pt x="4356" y="588"/>
                      </a:lnTo>
                      <a:lnTo>
                        <a:pt x="4356" y="582"/>
                      </a:lnTo>
                      <a:lnTo>
                        <a:pt x="4344" y="558"/>
                      </a:lnTo>
                      <a:lnTo>
                        <a:pt x="4338" y="552"/>
                      </a:lnTo>
                      <a:lnTo>
                        <a:pt x="4326" y="546"/>
                      </a:lnTo>
                      <a:lnTo>
                        <a:pt x="4230" y="546"/>
                      </a:lnTo>
                      <a:lnTo>
                        <a:pt x="4224" y="540"/>
                      </a:lnTo>
                      <a:lnTo>
                        <a:pt x="4212" y="540"/>
                      </a:lnTo>
                      <a:lnTo>
                        <a:pt x="4200" y="534"/>
                      </a:lnTo>
                      <a:lnTo>
                        <a:pt x="4188" y="534"/>
                      </a:lnTo>
                      <a:lnTo>
                        <a:pt x="4176" y="540"/>
                      </a:lnTo>
                      <a:lnTo>
                        <a:pt x="4158" y="558"/>
                      </a:lnTo>
                      <a:lnTo>
                        <a:pt x="4158" y="564"/>
                      </a:lnTo>
                      <a:lnTo>
                        <a:pt x="4176" y="576"/>
                      </a:lnTo>
                      <a:lnTo>
                        <a:pt x="4170" y="582"/>
                      </a:lnTo>
                      <a:lnTo>
                        <a:pt x="4170" y="594"/>
                      </a:lnTo>
                      <a:lnTo>
                        <a:pt x="4176" y="594"/>
                      </a:lnTo>
                      <a:lnTo>
                        <a:pt x="4182" y="600"/>
                      </a:lnTo>
                      <a:close/>
                      <a:moveTo>
                        <a:pt x="3708" y="516"/>
                      </a:moveTo>
                      <a:lnTo>
                        <a:pt x="3678" y="516"/>
                      </a:lnTo>
                      <a:lnTo>
                        <a:pt x="3624" y="510"/>
                      </a:lnTo>
                      <a:lnTo>
                        <a:pt x="3564" y="504"/>
                      </a:lnTo>
                      <a:lnTo>
                        <a:pt x="3468" y="504"/>
                      </a:lnTo>
                      <a:lnTo>
                        <a:pt x="3468" y="516"/>
                      </a:lnTo>
                      <a:lnTo>
                        <a:pt x="3462" y="522"/>
                      </a:lnTo>
                      <a:lnTo>
                        <a:pt x="3426" y="540"/>
                      </a:lnTo>
                      <a:lnTo>
                        <a:pt x="3396" y="546"/>
                      </a:lnTo>
                      <a:lnTo>
                        <a:pt x="3378" y="552"/>
                      </a:lnTo>
                      <a:lnTo>
                        <a:pt x="3372" y="552"/>
                      </a:lnTo>
                      <a:lnTo>
                        <a:pt x="3372" y="558"/>
                      </a:lnTo>
                      <a:lnTo>
                        <a:pt x="3384" y="570"/>
                      </a:lnTo>
                      <a:lnTo>
                        <a:pt x="3390" y="582"/>
                      </a:lnTo>
                      <a:lnTo>
                        <a:pt x="3390" y="594"/>
                      </a:lnTo>
                      <a:lnTo>
                        <a:pt x="3372" y="618"/>
                      </a:lnTo>
                      <a:lnTo>
                        <a:pt x="3402" y="636"/>
                      </a:lnTo>
                      <a:lnTo>
                        <a:pt x="3480" y="606"/>
                      </a:lnTo>
                      <a:lnTo>
                        <a:pt x="3474" y="600"/>
                      </a:lnTo>
                      <a:lnTo>
                        <a:pt x="3468" y="600"/>
                      </a:lnTo>
                      <a:lnTo>
                        <a:pt x="3468" y="594"/>
                      </a:lnTo>
                      <a:lnTo>
                        <a:pt x="3474" y="588"/>
                      </a:lnTo>
                      <a:lnTo>
                        <a:pt x="3486" y="582"/>
                      </a:lnTo>
                      <a:lnTo>
                        <a:pt x="3522" y="582"/>
                      </a:lnTo>
                      <a:lnTo>
                        <a:pt x="3546" y="594"/>
                      </a:lnTo>
                      <a:lnTo>
                        <a:pt x="3552" y="600"/>
                      </a:lnTo>
                      <a:lnTo>
                        <a:pt x="3606" y="594"/>
                      </a:lnTo>
                      <a:lnTo>
                        <a:pt x="3600" y="570"/>
                      </a:lnTo>
                      <a:lnTo>
                        <a:pt x="3630" y="570"/>
                      </a:lnTo>
                      <a:lnTo>
                        <a:pt x="3648" y="564"/>
                      </a:lnTo>
                      <a:lnTo>
                        <a:pt x="3666" y="564"/>
                      </a:lnTo>
                      <a:lnTo>
                        <a:pt x="3690" y="552"/>
                      </a:lnTo>
                      <a:lnTo>
                        <a:pt x="3696" y="546"/>
                      </a:lnTo>
                      <a:lnTo>
                        <a:pt x="3702" y="534"/>
                      </a:lnTo>
                      <a:lnTo>
                        <a:pt x="3714" y="522"/>
                      </a:lnTo>
                      <a:lnTo>
                        <a:pt x="3720" y="522"/>
                      </a:lnTo>
                      <a:lnTo>
                        <a:pt x="3714" y="516"/>
                      </a:lnTo>
                      <a:lnTo>
                        <a:pt x="3708" y="516"/>
                      </a:lnTo>
                      <a:close/>
                      <a:moveTo>
                        <a:pt x="3792" y="150"/>
                      </a:moveTo>
                      <a:lnTo>
                        <a:pt x="3738" y="156"/>
                      </a:lnTo>
                      <a:lnTo>
                        <a:pt x="3756" y="180"/>
                      </a:lnTo>
                      <a:lnTo>
                        <a:pt x="3792" y="150"/>
                      </a:lnTo>
                      <a:close/>
                      <a:moveTo>
                        <a:pt x="3612" y="480"/>
                      </a:moveTo>
                      <a:lnTo>
                        <a:pt x="3636" y="468"/>
                      </a:lnTo>
                      <a:lnTo>
                        <a:pt x="3642" y="456"/>
                      </a:lnTo>
                      <a:lnTo>
                        <a:pt x="3654" y="450"/>
                      </a:lnTo>
                      <a:lnTo>
                        <a:pt x="3660" y="438"/>
                      </a:lnTo>
                      <a:lnTo>
                        <a:pt x="3660" y="432"/>
                      </a:lnTo>
                      <a:lnTo>
                        <a:pt x="3654" y="426"/>
                      </a:lnTo>
                      <a:lnTo>
                        <a:pt x="3642" y="426"/>
                      </a:lnTo>
                      <a:lnTo>
                        <a:pt x="3630" y="420"/>
                      </a:lnTo>
                      <a:lnTo>
                        <a:pt x="3588" y="420"/>
                      </a:lnTo>
                      <a:lnTo>
                        <a:pt x="3570" y="426"/>
                      </a:lnTo>
                      <a:lnTo>
                        <a:pt x="3552" y="426"/>
                      </a:lnTo>
                      <a:lnTo>
                        <a:pt x="3534" y="438"/>
                      </a:lnTo>
                      <a:lnTo>
                        <a:pt x="3516" y="444"/>
                      </a:lnTo>
                      <a:lnTo>
                        <a:pt x="3504" y="450"/>
                      </a:lnTo>
                      <a:lnTo>
                        <a:pt x="3504" y="462"/>
                      </a:lnTo>
                      <a:lnTo>
                        <a:pt x="3528" y="468"/>
                      </a:lnTo>
                      <a:lnTo>
                        <a:pt x="3600" y="480"/>
                      </a:lnTo>
                      <a:lnTo>
                        <a:pt x="3612" y="480"/>
                      </a:lnTo>
                      <a:close/>
                      <a:moveTo>
                        <a:pt x="3954" y="180"/>
                      </a:moveTo>
                      <a:lnTo>
                        <a:pt x="3900" y="192"/>
                      </a:lnTo>
                      <a:lnTo>
                        <a:pt x="3936" y="210"/>
                      </a:lnTo>
                      <a:lnTo>
                        <a:pt x="3924" y="216"/>
                      </a:lnTo>
                      <a:lnTo>
                        <a:pt x="3918" y="222"/>
                      </a:lnTo>
                      <a:lnTo>
                        <a:pt x="3918" y="228"/>
                      </a:lnTo>
                      <a:lnTo>
                        <a:pt x="3924" y="234"/>
                      </a:lnTo>
                      <a:lnTo>
                        <a:pt x="3936" y="240"/>
                      </a:lnTo>
                      <a:lnTo>
                        <a:pt x="3966" y="240"/>
                      </a:lnTo>
                      <a:lnTo>
                        <a:pt x="3942" y="252"/>
                      </a:lnTo>
                      <a:lnTo>
                        <a:pt x="3954" y="252"/>
                      </a:lnTo>
                      <a:lnTo>
                        <a:pt x="4002" y="276"/>
                      </a:lnTo>
                      <a:lnTo>
                        <a:pt x="4014" y="276"/>
                      </a:lnTo>
                      <a:lnTo>
                        <a:pt x="4026" y="270"/>
                      </a:lnTo>
                      <a:lnTo>
                        <a:pt x="4032" y="264"/>
                      </a:lnTo>
                      <a:lnTo>
                        <a:pt x="4044" y="258"/>
                      </a:lnTo>
                      <a:lnTo>
                        <a:pt x="4050" y="252"/>
                      </a:lnTo>
                      <a:lnTo>
                        <a:pt x="4074" y="246"/>
                      </a:lnTo>
                      <a:lnTo>
                        <a:pt x="4086" y="258"/>
                      </a:lnTo>
                      <a:lnTo>
                        <a:pt x="4092" y="270"/>
                      </a:lnTo>
                      <a:lnTo>
                        <a:pt x="4098" y="276"/>
                      </a:lnTo>
                      <a:lnTo>
                        <a:pt x="4104" y="270"/>
                      </a:lnTo>
                      <a:lnTo>
                        <a:pt x="4116" y="270"/>
                      </a:lnTo>
                      <a:lnTo>
                        <a:pt x="4128" y="264"/>
                      </a:lnTo>
                      <a:lnTo>
                        <a:pt x="4134" y="258"/>
                      </a:lnTo>
                      <a:lnTo>
                        <a:pt x="4146" y="258"/>
                      </a:lnTo>
                      <a:lnTo>
                        <a:pt x="4152" y="252"/>
                      </a:lnTo>
                      <a:lnTo>
                        <a:pt x="4158" y="252"/>
                      </a:lnTo>
                      <a:lnTo>
                        <a:pt x="4170" y="246"/>
                      </a:lnTo>
                      <a:lnTo>
                        <a:pt x="4176" y="234"/>
                      </a:lnTo>
                      <a:lnTo>
                        <a:pt x="4182" y="228"/>
                      </a:lnTo>
                      <a:lnTo>
                        <a:pt x="4194" y="246"/>
                      </a:lnTo>
                      <a:lnTo>
                        <a:pt x="4218" y="222"/>
                      </a:lnTo>
                      <a:lnTo>
                        <a:pt x="4218" y="216"/>
                      </a:lnTo>
                      <a:lnTo>
                        <a:pt x="4236" y="210"/>
                      </a:lnTo>
                      <a:lnTo>
                        <a:pt x="4326" y="210"/>
                      </a:lnTo>
                      <a:lnTo>
                        <a:pt x="4332" y="204"/>
                      </a:lnTo>
                      <a:lnTo>
                        <a:pt x="4332" y="192"/>
                      </a:lnTo>
                      <a:lnTo>
                        <a:pt x="4266" y="186"/>
                      </a:lnTo>
                      <a:lnTo>
                        <a:pt x="4302" y="174"/>
                      </a:lnTo>
                      <a:lnTo>
                        <a:pt x="4302" y="132"/>
                      </a:lnTo>
                      <a:lnTo>
                        <a:pt x="4278" y="132"/>
                      </a:lnTo>
                      <a:lnTo>
                        <a:pt x="4266" y="138"/>
                      </a:lnTo>
                      <a:lnTo>
                        <a:pt x="4260" y="144"/>
                      </a:lnTo>
                      <a:lnTo>
                        <a:pt x="4248" y="150"/>
                      </a:lnTo>
                      <a:lnTo>
                        <a:pt x="4242" y="126"/>
                      </a:lnTo>
                      <a:lnTo>
                        <a:pt x="4194" y="132"/>
                      </a:lnTo>
                      <a:lnTo>
                        <a:pt x="4194" y="120"/>
                      </a:lnTo>
                      <a:lnTo>
                        <a:pt x="4176" y="84"/>
                      </a:lnTo>
                      <a:lnTo>
                        <a:pt x="4140" y="84"/>
                      </a:lnTo>
                      <a:lnTo>
                        <a:pt x="4122" y="90"/>
                      </a:lnTo>
                      <a:lnTo>
                        <a:pt x="4110" y="96"/>
                      </a:lnTo>
                      <a:lnTo>
                        <a:pt x="4104" y="102"/>
                      </a:lnTo>
                      <a:lnTo>
                        <a:pt x="4098" y="102"/>
                      </a:lnTo>
                      <a:lnTo>
                        <a:pt x="4020" y="108"/>
                      </a:lnTo>
                      <a:lnTo>
                        <a:pt x="4044" y="126"/>
                      </a:lnTo>
                      <a:lnTo>
                        <a:pt x="3996" y="126"/>
                      </a:lnTo>
                      <a:lnTo>
                        <a:pt x="3984" y="132"/>
                      </a:lnTo>
                      <a:lnTo>
                        <a:pt x="3972" y="132"/>
                      </a:lnTo>
                      <a:lnTo>
                        <a:pt x="3966" y="138"/>
                      </a:lnTo>
                      <a:lnTo>
                        <a:pt x="3984" y="156"/>
                      </a:lnTo>
                      <a:lnTo>
                        <a:pt x="3972" y="156"/>
                      </a:lnTo>
                      <a:lnTo>
                        <a:pt x="3936" y="150"/>
                      </a:lnTo>
                      <a:lnTo>
                        <a:pt x="3906" y="156"/>
                      </a:lnTo>
                      <a:lnTo>
                        <a:pt x="3888" y="168"/>
                      </a:lnTo>
                      <a:lnTo>
                        <a:pt x="3888" y="174"/>
                      </a:lnTo>
                      <a:lnTo>
                        <a:pt x="3894" y="180"/>
                      </a:lnTo>
                      <a:lnTo>
                        <a:pt x="3954" y="180"/>
                      </a:lnTo>
                      <a:close/>
                      <a:moveTo>
                        <a:pt x="3972" y="294"/>
                      </a:moveTo>
                      <a:lnTo>
                        <a:pt x="3954" y="300"/>
                      </a:lnTo>
                      <a:lnTo>
                        <a:pt x="3942" y="306"/>
                      </a:lnTo>
                      <a:lnTo>
                        <a:pt x="3936" y="312"/>
                      </a:lnTo>
                      <a:lnTo>
                        <a:pt x="3936" y="318"/>
                      </a:lnTo>
                      <a:lnTo>
                        <a:pt x="3966" y="324"/>
                      </a:lnTo>
                      <a:lnTo>
                        <a:pt x="3972" y="324"/>
                      </a:lnTo>
                      <a:lnTo>
                        <a:pt x="3990" y="306"/>
                      </a:lnTo>
                      <a:lnTo>
                        <a:pt x="3990" y="300"/>
                      </a:lnTo>
                      <a:lnTo>
                        <a:pt x="3984" y="294"/>
                      </a:lnTo>
                      <a:lnTo>
                        <a:pt x="3972" y="294"/>
                      </a:lnTo>
                      <a:close/>
                      <a:moveTo>
                        <a:pt x="3738" y="336"/>
                      </a:moveTo>
                      <a:lnTo>
                        <a:pt x="3726" y="336"/>
                      </a:lnTo>
                      <a:lnTo>
                        <a:pt x="3720" y="330"/>
                      </a:lnTo>
                      <a:lnTo>
                        <a:pt x="3672" y="330"/>
                      </a:lnTo>
                      <a:lnTo>
                        <a:pt x="3636" y="336"/>
                      </a:lnTo>
                      <a:lnTo>
                        <a:pt x="3624" y="342"/>
                      </a:lnTo>
                      <a:lnTo>
                        <a:pt x="3642" y="360"/>
                      </a:lnTo>
                      <a:lnTo>
                        <a:pt x="3654" y="360"/>
                      </a:lnTo>
                      <a:lnTo>
                        <a:pt x="3660" y="378"/>
                      </a:lnTo>
                      <a:lnTo>
                        <a:pt x="3768" y="378"/>
                      </a:lnTo>
                      <a:lnTo>
                        <a:pt x="3768" y="390"/>
                      </a:lnTo>
                      <a:lnTo>
                        <a:pt x="3762" y="396"/>
                      </a:lnTo>
                      <a:lnTo>
                        <a:pt x="3762" y="408"/>
                      </a:lnTo>
                      <a:lnTo>
                        <a:pt x="3708" y="450"/>
                      </a:lnTo>
                      <a:lnTo>
                        <a:pt x="3732" y="456"/>
                      </a:lnTo>
                      <a:lnTo>
                        <a:pt x="3720" y="468"/>
                      </a:lnTo>
                      <a:lnTo>
                        <a:pt x="3714" y="468"/>
                      </a:lnTo>
                      <a:lnTo>
                        <a:pt x="3708" y="474"/>
                      </a:lnTo>
                      <a:lnTo>
                        <a:pt x="3708" y="480"/>
                      </a:lnTo>
                      <a:lnTo>
                        <a:pt x="3726" y="480"/>
                      </a:lnTo>
                      <a:lnTo>
                        <a:pt x="3738" y="474"/>
                      </a:lnTo>
                      <a:lnTo>
                        <a:pt x="3744" y="474"/>
                      </a:lnTo>
                      <a:lnTo>
                        <a:pt x="3756" y="468"/>
                      </a:lnTo>
                      <a:lnTo>
                        <a:pt x="3756" y="480"/>
                      </a:lnTo>
                      <a:lnTo>
                        <a:pt x="3792" y="480"/>
                      </a:lnTo>
                      <a:lnTo>
                        <a:pt x="3810" y="474"/>
                      </a:lnTo>
                      <a:lnTo>
                        <a:pt x="3822" y="468"/>
                      </a:lnTo>
                      <a:lnTo>
                        <a:pt x="3840" y="468"/>
                      </a:lnTo>
                      <a:lnTo>
                        <a:pt x="3846" y="462"/>
                      </a:lnTo>
                      <a:lnTo>
                        <a:pt x="3852" y="462"/>
                      </a:lnTo>
                      <a:lnTo>
                        <a:pt x="3858" y="486"/>
                      </a:lnTo>
                      <a:lnTo>
                        <a:pt x="3924" y="480"/>
                      </a:lnTo>
                      <a:lnTo>
                        <a:pt x="4002" y="498"/>
                      </a:lnTo>
                      <a:lnTo>
                        <a:pt x="4098" y="486"/>
                      </a:lnTo>
                      <a:lnTo>
                        <a:pt x="4128" y="468"/>
                      </a:lnTo>
                      <a:lnTo>
                        <a:pt x="4122" y="474"/>
                      </a:lnTo>
                      <a:lnTo>
                        <a:pt x="4122" y="486"/>
                      </a:lnTo>
                      <a:lnTo>
                        <a:pt x="4260" y="486"/>
                      </a:lnTo>
                      <a:lnTo>
                        <a:pt x="4272" y="468"/>
                      </a:lnTo>
                      <a:lnTo>
                        <a:pt x="4338" y="438"/>
                      </a:lnTo>
                      <a:lnTo>
                        <a:pt x="4320" y="432"/>
                      </a:lnTo>
                      <a:lnTo>
                        <a:pt x="4320" y="420"/>
                      </a:lnTo>
                      <a:lnTo>
                        <a:pt x="4314" y="420"/>
                      </a:lnTo>
                      <a:lnTo>
                        <a:pt x="4308" y="414"/>
                      </a:lnTo>
                      <a:lnTo>
                        <a:pt x="4290" y="414"/>
                      </a:lnTo>
                      <a:lnTo>
                        <a:pt x="4278" y="408"/>
                      </a:lnTo>
                      <a:lnTo>
                        <a:pt x="4260" y="408"/>
                      </a:lnTo>
                      <a:lnTo>
                        <a:pt x="4242" y="402"/>
                      </a:lnTo>
                      <a:lnTo>
                        <a:pt x="4206" y="402"/>
                      </a:lnTo>
                      <a:lnTo>
                        <a:pt x="4164" y="414"/>
                      </a:lnTo>
                      <a:lnTo>
                        <a:pt x="4116" y="420"/>
                      </a:lnTo>
                      <a:lnTo>
                        <a:pt x="4074" y="426"/>
                      </a:lnTo>
                      <a:lnTo>
                        <a:pt x="4038" y="438"/>
                      </a:lnTo>
                      <a:lnTo>
                        <a:pt x="4026" y="438"/>
                      </a:lnTo>
                      <a:lnTo>
                        <a:pt x="4014" y="432"/>
                      </a:lnTo>
                      <a:lnTo>
                        <a:pt x="4008" y="426"/>
                      </a:lnTo>
                      <a:lnTo>
                        <a:pt x="3996" y="420"/>
                      </a:lnTo>
                      <a:lnTo>
                        <a:pt x="3984" y="420"/>
                      </a:lnTo>
                      <a:lnTo>
                        <a:pt x="3972" y="426"/>
                      </a:lnTo>
                      <a:lnTo>
                        <a:pt x="3960" y="426"/>
                      </a:lnTo>
                      <a:lnTo>
                        <a:pt x="3948" y="432"/>
                      </a:lnTo>
                      <a:lnTo>
                        <a:pt x="3942" y="438"/>
                      </a:lnTo>
                      <a:lnTo>
                        <a:pt x="3936" y="438"/>
                      </a:lnTo>
                      <a:lnTo>
                        <a:pt x="3912" y="414"/>
                      </a:lnTo>
                      <a:lnTo>
                        <a:pt x="3894" y="426"/>
                      </a:lnTo>
                      <a:lnTo>
                        <a:pt x="3864" y="420"/>
                      </a:lnTo>
                      <a:lnTo>
                        <a:pt x="3894" y="408"/>
                      </a:lnTo>
                      <a:lnTo>
                        <a:pt x="3876" y="396"/>
                      </a:lnTo>
                      <a:lnTo>
                        <a:pt x="3822" y="408"/>
                      </a:lnTo>
                      <a:lnTo>
                        <a:pt x="3858" y="396"/>
                      </a:lnTo>
                      <a:lnTo>
                        <a:pt x="3858" y="390"/>
                      </a:lnTo>
                      <a:lnTo>
                        <a:pt x="3924" y="384"/>
                      </a:lnTo>
                      <a:lnTo>
                        <a:pt x="3888" y="372"/>
                      </a:lnTo>
                      <a:lnTo>
                        <a:pt x="3870" y="372"/>
                      </a:lnTo>
                      <a:lnTo>
                        <a:pt x="3876" y="366"/>
                      </a:lnTo>
                      <a:lnTo>
                        <a:pt x="3876" y="360"/>
                      </a:lnTo>
                      <a:lnTo>
                        <a:pt x="3870" y="354"/>
                      </a:lnTo>
                      <a:lnTo>
                        <a:pt x="3840" y="354"/>
                      </a:lnTo>
                      <a:lnTo>
                        <a:pt x="3822" y="360"/>
                      </a:lnTo>
                      <a:lnTo>
                        <a:pt x="3804" y="360"/>
                      </a:lnTo>
                      <a:lnTo>
                        <a:pt x="3786" y="366"/>
                      </a:lnTo>
                      <a:lnTo>
                        <a:pt x="3774" y="354"/>
                      </a:lnTo>
                      <a:lnTo>
                        <a:pt x="3762" y="348"/>
                      </a:lnTo>
                      <a:lnTo>
                        <a:pt x="3756" y="342"/>
                      </a:lnTo>
                      <a:lnTo>
                        <a:pt x="3744" y="336"/>
                      </a:lnTo>
                      <a:lnTo>
                        <a:pt x="3738" y="336"/>
                      </a:lnTo>
                      <a:close/>
                      <a:moveTo>
                        <a:pt x="3264" y="420"/>
                      </a:moveTo>
                      <a:lnTo>
                        <a:pt x="3282" y="420"/>
                      </a:lnTo>
                      <a:lnTo>
                        <a:pt x="3300" y="426"/>
                      </a:lnTo>
                      <a:lnTo>
                        <a:pt x="3318" y="426"/>
                      </a:lnTo>
                      <a:lnTo>
                        <a:pt x="3330" y="432"/>
                      </a:lnTo>
                      <a:lnTo>
                        <a:pt x="3342" y="432"/>
                      </a:lnTo>
                      <a:lnTo>
                        <a:pt x="3330" y="444"/>
                      </a:lnTo>
                      <a:lnTo>
                        <a:pt x="3324" y="444"/>
                      </a:lnTo>
                      <a:lnTo>
                        <a:pt x="3324" y="456"/>
                      </a:lnTo>
                      <a:lnTo>
                        <a:pt x="3438" y="456"/>
                      </a:lnTo>
                      <a:lnTo>
                        <a:pt x="3462" y="444"/>
                      </a:lnTo>
                      <a:lnTo>
                        <a:pt x="3462" y="432"/>
                      </a:lnTo>
                      <a:lnTo>
                        <a:pt x="3468" y="426"/>
                      </a:lnTo>
                      <a:lnTo>
                        <a:pt x="3480" y="426"/>
                      </a:lnTo>
                      <a:lnTo>
                        <a:pt x="3492" y="420"/>
                      </a:lnTo>
                      <a:lnTo>
                        <a:pt x="3504" y="420"/>
                      </a:lnTo>
                      <a:lnTo>
                        <a:pt x="3510" y="414"/>
                      </a:lnTo>
                      <a:lnTo>
                        <a:pt x="3510" y="408"/>
                      </a:lnTo>
                      <a:lnTo>
                        <a:pt x="3522" y="396"/>
                      </a:lnTo>
                      <a:lnTo>
                        <a:pt x="3534" y="390"/>
                      </a:lnTo>
                      <a:lnTo>
                        <a:pt x="3540" y="384"/>
                      </a:lnTo>
                      <a:lnTo>
                        <a:pt x="3552" y="378"/>
                      </a:lnTo>
                      <a:lnTo>
                        <a:pt x="3552" y="372"/>
                      </a:lnTo>
                      <a:lnTo>
                        <a:pt x="3546" y="366"/>
                      </a:lnTo>
                      <a:lnTo>
                        <a:pt x="3534" y="360"/>
                      </a:lnTo>
                      <a:lnTo>
                        <a:pt x="3510" y="360"/>
                      </a:lnTo>
                      <a:lnTo>
                        <a:pt x="3504" y="366"/>
                      </a:lnTo>
                      <a:lnTo>
                        <a:pt x="3492" y="366"/>
                      </a:lnTo>
                      <a:lnTo>
                        <a:pt x="3486" y="360"/>
                      </a:lnTo>
                      <a:lnTo>
                        <a:pt x="3474" y="360"/>
                      </a:lnTo>
                      <a:lnTo>
                        <a:pt x="3462" y="354"/>
                      </a:lnTo>
                      <a:lnTo>
                        <a:pt x="3450" y="354"/>
                      </a:lnTo>
                      <a:lnTo>
                        <a:pt x="3432" y="348"/>
                      </a:lnTo>
                      <a:lnTo>
                        <a:pt x="3426" y="354"/>
                      </a:lnTo>
                      <a:lnTo>
                        <a:pt x="3420" y="354"/>
                      </a:lnTo>
                      <a:lnTo>
                        <a:pt x="3414" y="366"/>
                      </a:lnTo>
                      <a:lnTo>
                        <a:pt x="3414" y="396"/>
                      </a:lnTo>
                      <a:lnTo>
                        <a:pt x="3396" y="378"/>
                      </a:lnTo>
                      <a:lnTo>
                        <a:pt x="3384" y="372"/>
                      </a:lnTo>
                      <a:lnTo>
                        <a:pt x="3366" y="372"/>
                      </a:lnTo>
                      <a:lnTo>
                        <a:pt x="3354" y="384"/>
                      </a:lnTo>
                      <a:lnTo>
                        <a:pt x="3348" y="396"/>
                      </a:lnTo>
                      <a:lnTo>
                        <a:pt x="3330" y="414"/>
                      </a:lnTo>
                      <a:lnTo>
                        <a:pt x="3324" y="414"/>
                      </a:lnTo>
                      <a:lnTo>
                        <a:pt x="3300" y="366"/>
                      </a:lnTo>
                      <a:lnTo>
                        <a:pt x="3288" y="360"/>
                      </a:lnTo>
                      <a:lnTo>
                        <a:pt x="3258" y="360"/>
                      </a:lnTo>
                      <a:lnTo>
                        <a:pt x="3246" y="366"/>
                      </a:lnTo>
                      <a:lnTo>
                        <a:pt x="3240" y="372"/>
                      </a:lnTo>
                      <a:lnTo>
                        <a:pt x="3240" y="396"/>
                      </a:lnTo>
                      <a:lnTo>
                        <a:pt x="3246" y="408"/>
                      </a:lnTo>
                      <a:lnTo>
                        <a:pt x="3258" y="414"/>
                      </a:lnTo>
                      <a:lnTo>
                        <a:pt x="3264" y="420"/>
                      </a:lnTo>
                      <a:close/>
                      <a:moveTo>
                        <a:pt x="3720" y="288"/>
                      </a:moveTo>
                      <a:lnTo>
                        <a:pt x="3726" y="288"/>
                      </a:lnTo>
                      <a:lnTo>
                        <a:pt x="3732" y="294"/>
                      </a:lnTo>
                      <a:lnTo>
                        <a:pt x="3738" y="306"/>
                      </a:lnTo>
                      <a:lnTo>
                        <a:pt x="3768" y="306"/>
                      </a:lnTo>
                      <a:lnTo>
                        <a:pt x="3780" y="300"/>
                      </a:lnTo>
                      <a:lnTo>
                        <a:pt x="3834" y="300"/>
                      </a:lnTo>
                      <a:lnTo>
                        <a:pt x="3834" y="294"/>
                      </a:lnTo>
                      <a:lnTo>
                        <a:pt x="3828" y="294"/>
                      </a:lnTo>
                      <a:lnTo>
                        <a:pt x="3822" y="288"/>
                      </a:lnTo>
                      <a:lnTo>
                        <a:pt x="3810" y="288"/>
                      </a:lnTo>
                      <a:lnTo>
                        <a:pt x="3804" y="282"/>
                      </a:lnTo>
                      <a:lnTo>
                        <a:pt x="3792" y="282"/>
                      </a:lnTo>
                      <a:lnTo>
                        <a:pt x="3804" y="270"/>
                      </a:lnTo>
                      <a:lnTo>
                        <a:pt x="3816" y="264"/>
                      </a:lnTo>
                      <a:lnTo>
                        <a:pt x="3822" y="264"/>
                      </a:lnTo>
                      <a:lnTo>
                        <a:pt x="3828" y="258"/>
                      </a:lnTo>
                      <a:lnTo>
                        <a:pt x="3822" y="258"/>
                      </a:lnTo>
                      <a:lnTo>
                        <a:pt x="3810" y="252"/>
                      </a:lnTo>
                      <a:lnTo>
                        <a:pt x="3738" y="228"/>
                      </a:lnTo>
                      <a:lnTo>
                        <a:pt x="3732" y="228"/>
                      </a:lnTo>
                      <a:lnTo>
                        <a:pt x="3726" y="234"/>
                      </a:lnTo>
                      <a:lnTo>
                        <a:pt x="3714" y="240"/>
                      </a:lnTo>
                      <a:lnTo>
                        <a:pt x="3702" y="240"/>
                      </a:lnTo>
                      <a:lnTo>
                        <a:pt x="3690" y="252"/>
                      </a:lnTo>
                      <a:lnTo>
                        <a:pt x="3690" y="258"/>
                      </a:lnTo>
                      <a:lnTo>
                        <a:pt x="3696" y="264"/>
                      </a:lnTo>
                      <a:lnTo>
                        <a:pt x="3702" y="276"/>
                      </a:lnTo>
                      <a:lnTo>
                        <a:pt x="3714" y="282"/>
                      </a:lnTo>
                      <a:lnTo>
                        <a:pt x="3720" y="288"/>
                      </a:lnTo>
                      <a:close/>
                      <a:moveTo>
                        <a:pt x="3288" y="504"/>
                      </a:moveTo>
                      <a:lnTo>
                        <a:pt x="3270" y="504"/>
                      </a:lnTo>
                      <a:lnTo>
                        <a:pt x="3234" y="510"/>
                      </a:lnTo>
                      <a:lnTo>
                        <a:pt x="3186" y="516"/>
                      </a:lnTo>
                      <a:lnTo>
                        <a:pt x="3144" y="528"/>
                      </a:lnTo>
                      <a:lnTo>
                        <a:pt x="3132" y="534"/>
                      </a:lnTo>
                      <a:lnTo>
                        <a:pt x="3126" y="540"/>
                      </a:lnTo>
                      <a:lnTo>
                        <a:pt x="3132" y="540"/>
                      </a:lnTo>
                      <a:lnTo>
                        <a:pt x="3150" y="558"/>
                      </a:lnTo>
                      <a:lnTo>
                        <a:pt x="3156" y="570"/>
                      </a:lnTo>
                      <a:lnTo>
                        <a:pt x="3156" y="576"/>
                      </a:lnTo>
                      <a:lnTo>
                        <a:pt x="3138" y="582"/>
                      </a:lnTo>
                      <a:lnTo>
                        <a:pt x="3120" y="570"/>
                      </a:lnTo>
                      <a:lnTo>
                        <a:pt x="3090" y="564"/>
                      </a:lnTo>
                      <a:lnTo>
                        <a:pt x="3048" y="570"/>
                      </a:lnTo>
                      <a:lnTo>
                        <a:pt x="3066" y="606"/>
                      </a:lnTo>
                      <a:lnTo>
                        <a:pt x="3072" y="612"/>
                      </a:lnTo>
                      <a:lnTo>
                        <a:pt x="3084" y="618"/>
                      </a:lnTo>
                      <a:lnTo>
                        <a:pt x="3102" y="624"/>
                      </a:lnTo>
                      <a:lnTo>
                        <a:pt x="3114" y="630"/>
                      </a:lnTo>
                      <a:lnTo>
                        <a:pt x="3120" y="642"/>
                      </a:lnTo>
                      <a:lnTo>
                        <a:pt x="3120" y="654"/>
                      </a:lnTo>
                      <a:lnTo>
                        <a:pt x="3126" y="666"/>
                      </a:lnTo>
                      <a:lnTo>
                        <a:pt x="3126" y="678"/>
                      </a:lnTo>
                      <a:lnTo>
                        <a:pt x="3144" y="678"/>
                      </a:lnTo>
                      <a:lnTo>
                        <a:pt x="3228" y="666"/>
                      </a:lnTo>
                      <a:lnTo>
                        <a:pt x="3264" y="660"/>
                      </a:lnTo>
                      <a:lnTo>
                        <a:pt x="3276" y="654"/>
                      </a:lnTo>
                      <a:lnTo>
                        <a:pt x="3282" y="642"/>
                      </a:lnTo>
                      <a:lnTo>
                        <a:pt x="3288" y="624"/>
                      </a:lnTo>
                      <a:lnTo>
                        <a:pt x="3300" y="600"/>
                      </a:lnTo>
                      <a:lnTo>
                        <a:pt x="3300" y="588"/>
                      </a:lnTo>
                      <a:lnTo>
                        <a:pt x="3228" y="576"/>
                      </a:lnTo>
                      <a:lnTo>
                        <a:pt x="3240" y="570"/>
                      </a:lnTo>
                      <a:lnTo>
                        <a:pt x="3348" y="534"/>
                      </a:lnTo>
                      <a:lnTo>
                        <a:pt x="3360" y="528"/>
                      </a:lnTo>
                      <a:lnTo>
                        <a:pt x="3354" y="522"/>
                      </a:lnTo>
                      <a:lnTo>
                        <a:pt x="3342" y="516"/>
                      </a:lnTo>
                      <a:lnTo>
                        <a:pt x="3324" y="510"/>
                      </a:lnTo>
                      <a:lnTo>
                        <a:pt x="3312" y="510"/>
                      </a:lnTo>
                      <a:lnTo>
                        <a:pt x="3300" y="504"/>
                      </a:lnTo>
                      <a:lnTo>
                        <a:pt x="3288" y="504"/>
                      </a:lnTo>
                      <a:close/>
                      <a:moveTo>
                        <a:pt x="2898" y="744"/>
                      </a:moveTo>
                      <a:lnTo>
                        <a:pt x="2880" y="738"/>
                      </a:lnTo>
                      <a:lnTo>
                        <a:pt x="2796" y="738"/>
                      </a:lnTo>
                      <a:lnTo>
                        <a:pt x="2874" y="696"/>
                      </a:lnTo>
                      <a:lnTo>
                        <a:pt x="2880" y="684"/>
                      </a:lnTo>
                      <a:lnTo>
                        <a:pt x="2886" y="654"/>
                      </a:lnTo>
                      <a:lnTo>
                        <a:pt x="2898" y="624"/>
                      </a:lnTo>
                      <a:lnTo>
                        <a:pt x="2898" y="588"/>
                      </a:lnTo>
                      <a:lnTo>
                        <a:pt x="2880" y="570"/>
                      </a:lnTo>
                      <a:lnTo>
                        <a:pt x="2850" y="570"/>
                      </a:lnTo>
                      <a:lnTo>
                        <a:pt x="2814" y="576"/>
                      </a:lnTo>
                      <a:lnTo>
                        <a:pt x="2796" y="582"/>
                      </a:lnTo>
                      <a:lnTo>
                        <a:pt x="2784" y="588"/>
                      </a:lnTo>
                      <a:lnTo>
                        <a:pt x="2784" y="594"/>
                      </a:lnTo>
                      <a:lnTo>
                        <a:pt x="2766" y="612"/>
                      </a:lnTo>
                      <a:lnTo>
                        <a:pt x="2760" y="630"/>
                      </a:lnTo>
                      <a:lnTo>
                        <a:pt x="2736" y="654"/>
                      </a:lnTo>
                      <a:lnTo>
                        <a:pt x="2718" y="666"/>
                      </a:lnTo>
                      <a:lnTo>
                        <a:pt x="2706" y="672"/>
                      </a:lnTo>
                      <a:lnTo>
                        <a:pt x="2700" y="672"/>
                      </a:lnTo>
                      <a:lnTo>
                        <a:pt x="2694" y="666"/>
                      </a:lnTo>
                      <a:lnTo>
                        <a:pt x="2694" y="660"/>
                      </a:lnTo>
                      <a:lnTo>
                        <a:pt x="2700" y="654"/>
                      </a:lnTo>
                      <a:lnTo>
                        <a:pt x="2706" y="642"/>
                      </a:lnTo>
                      <a:lnTo>
                        <a:pt x="2712" y="636"/>
                      </a:lnTo>
                      <a:lnTo>
                        <a:pt x="2718" y="624"/>
                      </a:lnTo>
                      <a:lnTo>
                        <a:pt x="2718" y="612"/>
                      </a:lnTo>
                      <a:lnTo>
                        <a:pt x="2724" y="606"/>
                      </a:lnTo>
                      <a:lnTo>
                        <a:pt x="2724" y="600"/>
                      </a:lnTo>
                      <a:lnTo>
                        <a:pt x="2706" y="594"/>
                      </a:lnTo>
                      <a:lnTo>
                        <a:pt x="2676" y="588"/>
                      </a:lnTo>
                      <a:lnTo>
                        <a:pt x="2628" y="588"/>
                      </a:lnTo>
                      <a:lnTo>
                        <a:pt x="2622" y="606"/>
                      </a:lnTo>
                      <a:lnTo>
                        <a:pt x="2610" y="612"/>
                      </a:lnTo>
                      <a:lnTo>
                        <a:pt x="2586" y="618"/>
                      </a:lnTo>
                      <a:lnTo>
                        <a:pt x="2550" y="624"/>
                      </a:lnTo>
                      <a:lnTo>
                        <a:pt x="2508" y="630"/>
                      </a:lnTo>
                      <a:lnTo>
                        <a:pt x="2490" y="630"/>
                      </a:lnTo>
                      <a:lnTo>
                        <a:pt x="2496" y="624"/>
                      </a:lnTo>
                      <a:lnTo>
                        <a:pt x="2508" y="618"/>
                      </a:lnTo>
                      <a:lnTo>
                        <a:pt x="2520" y="618"/>
                      </a:lnTo>
                      <a:lnTo>
                        <a:pt x="2538" y="612"/>
                      </a:lnTo>
                      <a:lnTo>
                        <a:pt x="2550" y="606"/>
                      </a:lnTo>
                      <a:lnTo>
                        <a:pt x="2586" y="594"/>
                      </a:lnTo>
                      <a:lnTo>
                        <a:pt x="2598" y="588"/>
                      </a:lnTo>
                      <a:lnTo>
                        <a:pt x="2604" y="588"/>
                      </a:lnTo>
                      <a:lnTo>
                        <a:pt x="2604" y="582"/>
                      </a:lnTo>
                      <a:lnTo>
                        <a:pt x="2592" y="576"/>
                      </a:lnTo>
                      <a:lnTo>
                        <a:pt x="2556" y="576"/>
                      </a:lnTo>
                      <a:lnTo>
                        <a:pt x="2496" y="594"/>
                      </a:lnTo>
                      <a:lnTo>
                        <a:pt x="2460" y="600"/>
                      </a:lnTo>
                      <a:lnTo>
                        <a:pt x="2466" y="594"/>
                      </a:lnTo>
                      <a:lnTo>
                        <a:pt x="2478" y="588"/>
                      </a:lnTo>
                      <a:lnTo>
                        <a:pt x="2490" y="576"/>
                      </a:lnTo>
                      <a:lnTo>
                        <a:pt x="2502" y="570"/>
                      </a:lnTo>
                      <a:lnTo>
                        <a:pt x="2514" y="558"/>
                      </a:lnTo>
                      <a:lnTo>
                        <a:pt x="2508" y="558"/>
                      </a:lnTo>
                      <a:lnTo>
                        <a:pt x="2508" y="552"/>
                      </a:lnTo>
                      <a:lnTo>
                        <a:pt x="2496" y="552"/>
                      </a:lnTo>
                      <a:lnTo>
                        <a:pt x="2346" y="600"/>
                      </a:lnTo>
                      <a:lnTo>
                        <a:pt x="2328" y="600"/>
                      </a:lnTo>
                      <a:lnTo>
                        <a:pt x="2244" y="624"/>
                      </a:lnTo>
                      <a:lnTo>
                        <a:pt x="2250" y="642"/>
                      </a:lnTo>
                      <a:lnTo>
                        <a:pt x="2190" y="660"/>
                      </a:lnTo>
                      <a:lnTo>
                        <a:pt x="2172" y="678"/>
                      </a:lnTo>
                      <a:lnTo>
                        <a:pt x="2202" y="690"/>
                      </a:lnTo>
                      <a:lnTo>
                        <a:pt x="2208" y="684"/>
                      </a:lnTo>
                      <a:lnTo>
                        <a:pt x="2220" y="678"/>
                      </a:lnTo>
                      <a:lnTo>
                        <a:pt x="2238" y="678"/>
                      </a:lnTo>
                      <a:lnTo>
                        <a:pt x="2244" y="684"/>
                      </a:lnTo>
                      <a:lnTo>
                        <a:pt x="2244" y="690"/>
                      </a:lnTo>
                      <a:lnTo>
                        <a:pt x="2238" y="696"/>
                      </a:lnTo>
                      <a:lnTo>
                        <a:pt x="2226" y="696"/>
                      </a:lnTo>
                      <a:lnTo>
                        <a:pt x="2208" y="702"/>
                      </a:lnTo>
                      <a:lnTo>
                        <a:pt x="2196" y="702"/>
                      </a:lnTo>
                      <a:lnTo>
                        <a:pt x="2160" y="720"/>
                      </a:lnTo>
                      <a:lnTo>
                        <a:pt x="2166" y="732"/>
                      </a:lnTo>
                      <a:lnTo>
                        <a:pt x="2196" y="732"/>
                      </a:lnTo>
                      <a:lnTo>
                        <a:pt x="2238" y="738"/>
                      </a:lnTo>
                      <a:lnTo>
                        <a:pt x="2322" y="738"/>
                      </a:lnTo>
                      <a:lnTo>
                        <a:pt x="2352" y="744"/>
                      </a:lnTo>
                      <a:lnTo>
                        <a:pt x="2352" y="750"/>
                      </a:lnTo>
                      <a:lnTo>
                        <a:pt x="2322" y="762"/>
                      </a:lnTo>
                      <a:lnTo>
                        <a:pt x="2280" y="762"/>
                      </a:lnTo>
                      <a:lnTo>
                        <a:pt x="2172" y="774"/>
                      </a:lnTo>
                      <a:lnTo>
                        <a:pt x="2136" y="774"/>
                      </a:lnTo>
                      <a:lnTo>
                        <a:pt x="2112" y="786"/>
                      </a:lnTo>
                      <a:lnTo>
                        <a:pt x="2106" y="792"/>
                      </a:lnTo>
                      <a:lnTo>
                        <a:pt x="2118" y="804"/>
                      </a:lnTo>
                      <a:lnTo>
                        <a:pt x="2130" y="810"/>
                      </a:lnTo>
                      <a:lnTo>
                        <a:pt x="2148" y="810"/>
                      </a:lnTo>
                      <a:lnTo>
                        <a:pt x="2160" y="816"/>
                      </a:lnTo>
                      <a:lnTo>
                        <a:pt x="2178" y="822"/>
                      </a:lnTo>
                      <a:lnTo>
                        <a:pt x="2190" y="828"/>
                      </a:lnTo>
                      <a:lnTo>
                        <a:pt x="2190" y="834"/>
                      </a:lnTo>
                      <a:lnTo>
                        <a:pt x="2184" y="840"/>
                      </a:lnTo>
                      <a:lnTo>
                        <a:pt x="2172" y="840"/>
                      </a:lnTo>
                      <a:lnTo>
                        <a:pt x="2154" y="858"/>
                      </a:lnTo>
                      <a:lnTo>
                        <a:pt x="2166" y="870"/>
                      </a:lnTo>
                      <a:lnTo>
                        <a:pt x="2322" y="870"/>
                      </a:lnTo>
                      <a:lnTo>
                        <a:pt x="2370" y="864"/>
                      </a:lnTo>
                      <a:lnTo>
                        <a:pt x="2436" y="858"/>
                      </a:lnTo>
                      <a:lnTo>
                        <a:pt x="2508" y="846"/>
                      </a:lnTo>
                      <a:lnTo>
                        <a:pt x="2574" y="840"/>
                      </a:lnTo>
                      <a:lnTo>
                        <a:pt x="2616" y="828"/>
                      </a:lnTo>
                      <a:lnTo>
                        <a:pt x="2652" y="828"/>
                      </a:lnTo>
                      <a:lnTo>
                        <a:pt x="2736" y="864"/>
                      </a:lnTo>
                      <a:lnTo>
                        <a:pt x="2778" y="876"/>
                      </a:lnTo>
                      <a:lnTo>
                        <a:pt x="2796" y="876"/>
                      </a:lnTo>
                      <a:lnTo>
                        <a:pt x="2814" y="870"/>
                      </a:lnTo>
                      <a:lnTo>
                        <a:pt x="2832" y="852"/>
                      </a:lnTo>
                      <a:lnTo>
                        <a:pt x="2838" y="840"/>
                      </a:lnTo>
                      <a:lnTo>
                        <a:pt x="2844" y="834"/>
                      </a:lnTo>
                      <a:lnTo>
                        <a:pt x="2844" y="822"/>
                      </a:lnTo>
                      <a:lnTo>
                        <a:pt x="2766" y="822"/>
                      </a:lnTo>
                      <a:lnTo>
                        <a:pt x="2802" y="798"/>
                      </a:lnTo>
                      <a:lnTo>
                        <a:pt x="2850" y="798"/>
                      </a:lnTo>
                      <a:lnTo>
                        <a:pt x="2898" y="792"/>
                      </a:lnTo>
                      <a:lnTo>
                        <a:pt x="2910" y="786"/>
                      </a:lnTo>
                      <a:lnTo>
                        <a:pt x="2916" y="786"/>
                      </a:lnTo>
                      <a:lnTo>
                        <a:pt x="2922" y="780"/>
                      </a:lnTo>
                      <a:lnTo>
                        <a:pt x="2916" y="768"/>
                      </a:lnTo>
                      <a:lnTo>
                        <a:pt x="2898" y="750"/>
                      </a:lnTo>
                      <a:lnTo>
                        <a:pt x="2898" y="744"/>
                      </a:lnTo>
                      <a:close/>
                      <a:moveTo>
                        <a:pt x="2868" y="882"/>
                      </a:moveTo>
                      <a:lnTo>
                        <a:pt x="2886" y="882"/>
                      </a:lnTo>
                      <a:lnTo>
                        <a:pt x="2904" y="876"/>
                      </a:lnTo>
                      <a:lnTo>
                        <a:pt x="2910" y="870"/>
                      </a:lnTo>
                      <a:lnTo>
                        <a:pt x="2910" y="864"/>
                      </a:lnTo>
                      <a:lnTo>
                        <a:pt x="2904" y="858"/>
                      </a:lnTo>
                      <a:lnTo>
                        <a:pt x="2880" y="858"/>
                      </a:lnTo>
                      <a:lnTo>
                        <a:pt x="2868" y="870"/>
                      </a:lnTo>
                      <a:lnTo>
                        <a:pt x="2868" y="882"/>
                      </a:lnTo>
                      <a:close/>
                      <a:moveTo>
                        <a:pt x="3276" y="330"/>
                      </a:moveTo>
                      <a:lnTo>
                        <a:pt x="3288" y="330"/>
                      </a:lnTo>
                      <a:lnTo>
                        <a:pt x="3294" y="324"/>
                      </a:lnTo>
                      <a:lnTo>
                        <a:pt x="3300" y="312"/>
                      </a:lnTo>
                      <a:lnTo>
                        <a:pt x="3300" y="306"/>
                      </a:lnTo>
                      <a:lnTo>
                        <a:pt x="3294" y="294"/>
                      </a:lnTo>
                      <a:lnTo>
                        <a:pt x="3288" y="288"/>
                      </a:lnTo>
                      <a:lnTo>
                        <a:pt x="3276" y="288"/>
                      </a:lnTo>
                      <a:lnTo>
                        <a:pt x="3270" y="300"/>
                      </a:lnTo>
                      <a:lnTo>
                        <a:pt x="3264" y="306"/>
                      </a:lnTo>
                      <a:lnTo>
                        <a:pt x="3264" y="324"/>
                      </a:lnTo>
                      <a:lnTo>
                        <a:pt x="3270" y="330"/>
                      </a:lnTo>
                      <a:lnTo>
                        <a:pt x="3276" y="330"/>
                      </a:lnTo>
                      <a:close/>
                      <a:moveTo>
                        <a:pt x="3462" y="228"/>
                      </a:moveTo>
                      <a:lnTo>
                        <a:pt x="3450" y="240"/>
                      </a:lnTo>
                      <a:lnTo>
                        <a:pt x="3450" y="252"/>
                      </a:lnTo>
                      <a:lnTo>
                        <a:pt x="3456" y="258"/>
                      </a:lnTo>
                      <a:lnTo>
                        <a:pt x="3528" y="258"/>
                      </a:lnTo>
                      <a:lnTo>
                        <a:pt x="3546" y="276"/>
                      </a:lnTo>
                      <a:lnTo>
                        <a:pt x="3558" y="282"/>
                      </a:lnTo>
                      <a:lnTo>
                        <a:pt x="3588" y="282"/>
                      </a:lnTo>
                      <a:lnTo>
                        <a:pt x="3612" y="270"/>
                      </a:lnTo>
                      <a:lnTo>
                        <a:pt x="3618" y="264"/>
                      </a:lnTo>
                      <a:lnTo>
                        <a:pt x="3606" y="252"/>
                      </a:lnTo>
                      <a:lnTo>
                        <a:pt x="3636" y="246"/>
                      </a:lnTo>
                      <a:lnTo>
                        <a:pt x="3594" y="210"/>
                      </a:lnTo>
                      <a:lnTo>
                        <a:pt x="3552" y="216"/>
                      </a:lnTo>
                      <a:lnTo>
                        <a:pt x="3534" y="198"/>
                      </a:lnTo>
                      <a:lnTo>
                        <a:pt x="3450" y="198"/>
                      </a:lnTo>
                      <a:lnTo>
                        <a:pt x="3438" y="204"/>
                      </a:lnTo>
                      <a:lnTo>
                        <a:pt x="3426" y="204"/>
                      </a:lnTo>
                      <a:lnTo>
                        <a:pt x="3420" y="210"/>
                      </a:lnTo>
                      <a:lnTo>
                        <a:pt x="3438" y="228"/>
                      </a:lnTo>
                      <a:lnTo>
                        <a:pt x="3462" y="228"/>
                      </a:lnTo>
                      <a:close/>
                      <a:moveTo>
                        <a:pt x="3432" y="1302"/>
                      </a:moveTo>
                      <a:lnTo>
                        <a:pt x="3408" y="1326"/>
                      </a:lnTo>
                      <a:lnTo>
                        <a:pt x="3408" y="1344"/>
                      </a:lnTo>
                      <a:lnTo>
                        <a:pt x="3438" y="1344"/>
                      </a:lnTo>
                      <a:lnTo>
                        <a:pt x="3462" y="1332"/>
                      </a:lnTo>
                      <a:lnTo>
                        <a:pt x="3468" y="1332"/>
                      </a:lnTo>
                      <a:lnTo>
                        <a:pt x="3480" y="1326"/>
                      </a:lnTo>
                      <a:lnTo>
                        <a:pt x="3486" y="1326"/>
                      </a:lnTo>
                      <a:lnTo>
                        <a:pt x="3504" y="1308"/>
                      </a:lnTo>
                      <a:lnTo>
                        <a:pt x="3516" y="1290"/>
                      </a:lnTo>
                      <a:lnTo>
                        <a:pt x="3516" y="1266"/>
                      </a:lnTo>
                      <a:lnTo>
                        <a:pt x="3510" y="1260"/>
                      </a:lnTo>
                      <a:lnTo>
                        <a:pt x="3498" y="1260"/>
                      </a:lnTo>
                      <a:lnTo>
                        <a:pt x="3480" y="1266"/>
                      </a:lnTo>
                      <a:lnTo>
                        <a:pt x="3432" y="1302"/>
                      </a:lnTo>
                      <a:close/>
                      <a:moveTo>
                        <a:pt x="4416" y="1392"/>
                      </a:moveTo>
                      <a:lnTo>
                        <a:pt x="4428" y="1380"/>
                      </a:lnTo>
                      <a:lnTo>
                        <a:pt x="4428" y="1374"/>
                      </a:lnTo>
                      <a:lnTo>
                        <a:pt x="4386" y="1374"/>
                      </a:lnTo>
                      <a:lnTo>
                        <a:pt x="4386" y="1380"/>
                      </a:lnTo>
                      <a:lnTo>
                        <a:pt x="4404" y="1398"/>
                      </a:lnTo>
                      <a:lnTo>
                        <a:pt x="4416" y="1392"/>
                      </a:lnTo>
                      <a:close/>
                      <a:moveTo>
                        <a:pt x="3120" y="2034"/>
                      </a:moveTo>
                      <a:lnTo>
                        <a:pt x="3132" y="2034"/>
                      </a:lnTo>
                      <a:lnTo>
                        <a:pt x="3138" y="2028"/>
                      </a:lnTo>
                      <a:lnTo>
                        <a:pt x="3132" y="2022"/>
                      </a:lnTo>
                      <a:lnTo>
                        <a:pt x="3120" y="2016"/>
                      </a:lnTo>
                      <a:lnTo>
                        <a:pt x="3114" y="2010"/>
                      </a:lnTo>
                      <a:lnTo>
                        <a:pt x="3108" y="2010"/>
                      </a:lnTo>
                      <a:lnTo>
                        <a:pt x="3090" y="2016"/>
                      </a:lnTo>
                      <a:lnTo>
                        <a:pt x="3078" y="2022"/>
                      </a:lnTo>
                      <a:lnTo>
                        <a:pt x="3072" y="2022"/>
                      </a:lnTo>
                      <a:lnTo>
                        <a:pt x="3072" y="2028"/>
                      </a:lnTo>
                      <a:lnTo>
                        <a:pt x="3078" y="2034"/>
                      </a:lnTo>
                      <a:lnTo>
                        <a:pt x="3120" y="2034"/>
                      </a:lnTo>
                      <a:close/>
                      <a:moveTo>
                        <a:pt x="4758" y="996"/>
                      </a:moveTo>
                      <a:lnTo>
                        <a:pt x="4746" y="996"/>
                      </a:lnTo>
                      <a:lnTo>
                        <a:pt x="4734" y="984"/>
                      </a:lnTo>
                      <a:lnTo>
                        <a:pt x="4704" y="1008"/>
                      </a:lnTo>
                      <a:lnTo>
                        <a:pt x="4704" y="978"/>
                      </a:lnTo>
                      <a:lnTo>
                        <a:pt x="4662" y="978"/>
                      </a:lnTo>
                      <a:lnTo>
                        <a:pt x="4668" y="978"/>
                      </a:lnTo>
                      <a:lnTo>
                        <a:pt x="4674" y="972"/>
                      </a:lnTo>
                      <a:lnTo>
                        <a:pt x="4686" y="972"/>
                      </a:lnTo>
                      <a:lnTo>
                        <a:pt x="4698" y="966"/>
                      </a:lnTo>
                      <a:lnTo>
                        <a:pt x="4704" y="954"/>
                      </a:lnTo>
                      <a:lnTo>
                        <a:pt x="4704" y="948"/>
                      </a:lnTo>
                      <a:lnTo>
                        <a:pt x="4698" y="942"/>
                      </a:lnTo>
                      <a:lnTo>
                        <a:pt x="4680" y="942"/>
                      </a:lnTo>
                      <a:lnTo>
                        <a:pt x="4668" y="936"/>
                      </a:lnTo>
                      <a:lnTo>
                        <a:pt x="4650" y="936"/>
                      </a:lnTo>
                      <a:lnTo>
                        <a:pt x="4632" y="930"/>
                      </a:lnTo>
                      <a:lnTo>
                        <a:pt x="4620" y="930"/>
                      </a:lnTo>
                      <a:lnTo>
                        <a:pt x="4614" y="918"/>
                      </a:lnTo>
                      <a:lnTo>
                        <a:pt x="4566" y="912"/>
                      </a:lnTo>
                      <a:lnTo>
                        <a:pt x="4500" y="870"/>
                      </a:lnTo>
                      <a:lnTo>
                        <a:pt x="4566" y="864"/>
                      </a:lnTo>
                      <a:lnTo>
                        <a:pt x="4536" y="840"/>
                      </a:lnTo>
                      <a:lnTo>
                        <a:pt x="4542" y="840"/>
                      </a:lnTo>
                      <a:lnTo>
                        <a:pt x="4548" y="834"/>
                      </a:lnTo>
                      <a:lnTo>
                        <a:pt x="4584" y="834"/>
                      </a:lnTo>
                      <a:lnTo>
                        <a:pt x="4596" y="840"/>
                      </a:lnTo>
                      <a:lnTo>
                        <a:pt x="4638" y="840"/>
                      </a:lnTo>
                      <a:lnTo>
                        <a:pt x="4638" y="834"/>
                      </a:lnTo>
                      <a:lnTo>
                        <a:pt x="4632" y="828"/>
                      </a:lnTo>
                      <a:lnTo>
                        <a:pt x="4614" y="822"/>
                      </a:lnTo>
                      <a:lnTo>
                        <a:pt x="4596" y="822"/>
                      </a:lnTo>
                      <a:lnTo>
                        <a:pt x="4578" y="816"/>
                      </a:lnTo>
                      <a:lnTo>
                        <a:pt x="4518" y="816"/>
                      </a:lnTo>
                      <a:lnTo>
                        <a:pt x="4536" y="816"/>
                      </a:lnTo>
                      <a:lnTo>
                        <a:pt x="4620" y="804"/>
                      </a:lnTo>
                      <a:lnTo>
                        <a:pt x="4638" y="798"/>
                      </a:lnTo>
                      <a:lnTo>
                        <a:pt x="4638" y="792"/>
                      </a:lnTo>
                      <a:lnTo>
                        <a:pt x="4632" y="792"/>
                      </a:lnTo>
                      <a:lnTo>
                        <a:pt x="4626" y="786"/>
                      </a:lnTo>
                      <a:lnTo>
                        <a:pt x="4608" y="786"/>
                      </a:lnTo>
                      <a:lnTo>
                        <a:pt x="4500" y="798"/>
                      </a:lnTo>
                      <a:lnTo>
                        <a:pt x="4560" y="762"/>
                      </a:lnTo>
                      <a:lnTo>
                        <a:pt x="4620" y="762"/>
                      </a:lnTo>
                      <a:lnTo>
                        <a:pt x="4626" y="756"/>
                      </a:lnTo>
                      <a:lnTo>
                        <a:pt x="4620" y="750"/>
                      </a:lnTo>
                      <a:lnTo>
                        <a:pt x="4584" y="738"/>
                      </a:lnTo>
                      <a:lnTo>
                        <a:pt x="4572" y="732"/>
                      </a:lnTo>
                      <a:lnTo>
                        <a:pt x="4554" y="732"/>
                      </a:lnTo>
                      <a:lnTo>
                        <a:pt x="4518" y="750"/>
                      </a:lnTo>
                      <a:lnTo>
                        <a:pt x="4500" y="744"/>
                      </a:lnTo>
                      <a:lnTo>
                        <a:pt x="4458" y="774"/>
                      </a:lnTo>
                      <a:lnTo>
                        <a:pt x="4464" y="756"/>
                      </a:lnTo>
                      <a:lnTo>
                        <a:pt x="4440" y="774"/>
                      </a:lnTo>
                      <a:lnTo>
                        <a:pt x="4464" y="744"/>
                      </a:lnTo>
                      <a:lnTo>
                        <a:pt x="4500" y="744"/>
                      </a:lnTo>
                      <a:lnTo>
                        <a:pt x="4506" y="738"/>
                      </a:lnTo>
                      <a:lnTo>
                        <a:pt x="4518" y="714"/>
                      </a:lnTo>
                      <a:lnTo>
                        <a:pt x="4518" y="708"/>
                      </a:lnTo>
                      <a:lnTo>
                        <a:pt x="4512" y="702"/>
                      </a:lnTo>
                      <a:lnTo>
                        <a:pt x="4506" y="708"/>
                      </a:lnTo>
                      <a:lnTo>
                        <a:pt x="4494" y="714"/>
                      </a:lnTo>
                      <a:lnTo>
                        <a:pt x="4488" y="726"/>
                      </a:lnTo>
                      <a:lnTo>
                        <a:pt x="4452" y="726"/>
                      </a:lnTo>
                      <a:lnTo>
                        <a:pt x="4428" y="738"/>
                      </a:lnTo>
                      <a:lnTo>
                        <a:pt x="4452" y="708"/>
                      </a:lnTo>
                      <a:lnTo>
                        <a:pt x="4482" y="708"/>
                      </a:lnTo>
                      <a:lnTo>
                        <a:pt x="4494" y="702"/>
                      </a:lnTo>
                      <a:lnTo>
                        <a:pt x="4500" y="702"/>
                      </a:lnTo>
                      <a:lnTo>
                        <a:pt x="4506" y="696"/>
                      </a:lnTo>
                      <a:lnTo>
                        <a:pt x="4506" y="690"/>
                      </a:lnTo>
                      <a:lnTo>
                        <a:pt x="4500" y="684"/>
                      </a:lnTo>
                      <a:lnTo>
                        <a:pt x="4458" y="684"/>
                      </a:lnTo>
                      <a:lnTo>
                        <a:pt x="4446" y="690"/>
                      </a:lnTo>
                      <a:lnTo>
                        <a:pt x="4428" y="696"/>
                      </a:lnTo>
                      <a:lnTo>
                        <a:pt x="4422" y="702"/>
                      </a:lnTo>
                      <a:lnTo>
                        <a:pt x="4416" y="702"/>
                      </a:lnTo>
                      <a:lnTo>
                        <a:pt x="4404" y="684"/>
                      </a:lnTo>
                      <a:lnTo>
                        <a:pt x="4380" y="702"/>
                      </a:lnTo>
                      <a:lnTo>
                        <a:pt x="4398" y="672"/>
                      </a:lnTo>
                      <a:lnTo>
                        <a:pt x="4344" y="696"/>
                      </a:lnTo>
                      <a:lnTo>
                        <a:pt x="4344" y="672"/>
                      </a:lnTo>
                      <a:lnTo>
                        <a:pt x="4350" y="672"/>
                      </a:lnTo>
                      <a:lnTo>
                        <a:pt x="4356" y="666"/>
                      </a:lnTo>
                      <a:lnTo>
                        <a:pt x="4368" y="666"/>
                      </a:lnTo>
                      <a:lnTo>
                        <a:pt x="4386" y="660"/>
                      </a:lnTo>
                      <a:lnTo>
                        <a:pt x="4392" y="660"/>
                      </a:lnTo>
                      <a:lnTo>
                        <a:pt x="4398" y="654"/>
                      </a:lnTo>
                      <a:lnTo>
                        <a:pt x="4356" y="654"/>
                      </a:lnTo>
                      <a:lnTo>
                        <a:pt x="4338" y="660"/>
                      </a:lnTo>
                      <a:lnTo>
                        <a:pt x="4326" y="660"/>
                      </a:lnTo>
                      <a:lnTo>
                        <a:pt x="4320" y="648"/>
                      </a:lnTo>
                      <a:lnTo>
                        <a:pt x="4332" y="648"/>
                      </a:lnTo>
                      <a:lnTo>
                        <a:pt x="4356" y="636"/>
                      </a:lnTo>
                      <a:lnTo>
                        <a:pt x="4368" y="636"/>
                      </a:lnTo>
                      <a:lnTo>
                        <a:pt x="4380" y="630"/>
                      </a:lnTo>
                      <a:lnTo>
                        <a:pt x="4386" y="624"/>
                      </a:lnTo>
                      <a:lnTo>
                        <a:pt x="4368" y="618"/>
                      </a:lnTo>
                      <a:lnTo>
                        <a:pt x="4326" y="612"/>
                      </a:lnTo>
                      <a:lnTo>
                        <a:pt x="4290" y="612"/>
                      </a:lnTo>
                      <a:lnTo>
                        <a:pt x="4266" y="606"/>
                      </a:lnTo>
                      <a:lnTo>
                        <a:pt x="4236" y="606"/>
                      </a:lnTo>
                      <a:lnTo>
                        <a:pt x="4230" y="612"/>
                      </a:lnTo>
                      <a:lnTo>
                        <a:pt x="4230" y="618"/>
                      </a:lnTo>
                      <a:lnTo>
                        <a:pt x="4236" y="624"/>
                      </a:lnTo>
                      <a:lnTo>
                        <a:pt x="4242" y="636"/>
                      </a:lnTo>
                      <a:lnTo>
                        <a:pt x="4206" y="630"/>
                      </a:lnTo>
                      <a:lnTo>
                        <a:pt x="4212" y="660"/>
                      </a:lnTo>
                      <a:lnTo>
                        <a:pt x="4194" y="636"/>
                      </a:lnTo>
                      <a:lnTo>
                        <a:pt x="4152" y="660"/>
                      </a:lnTo>
                      <a:lnTo>
                        <a:pt x="4158" y="654"/>
                      </a:lnTo>
                      <a:lnTo>
                        <a:pt x="4158" y="636"/>
                      </a:lnTo>
                      <a:lnTo>
                        <a:pt x="4152" y="630"/>
                      </a:lnTo>
                      <a:lnTo>
                        <a:pt x="4140" y="630"/>
                      </a:lnTo>
                      <a:lnTo>
                        <a:pt x="4122" y="636"/>
                      </a:lnTo>
                      <a:lnTo>
                        <a:pt x="4110" y="642"/>
                      </a:lnTo>
                      <a:lnTo>
                        <a:pt x="4098" y="642"/>
                      </a:lnTo>
                      <a:lnTo>
                        <a:pt x="4086" y="648"/>
                      </a:lnTo>
                      <a:lnTo>
                        <a:pt x="4080" y="654"/>
                      </a:lnTo>
                      <a:lnTo>
                        <a:pt x="4074" y="654"/>
                      </a:lnTo>
                      <a:lnTo>
                        <a:pt x="4092" y="618"/>
                      </a:lnTo>
                      <a:lnTo>
                        <a:pt x="4110" y="618"/>
                      </a:lnTo>
                      <a:lnTo>
                        <a:pt x="4122" y="612"/>
                      </a:lnTo>
                      <a:lnTo>
                        <a:pt x="4134" y="612"/>
                      </a:lnTo>
                      <a:lnTo>
                        <a:pt x="4146" y="606"/>
                      </a:lnTo>
                      <a:lnTo>
                        <a:pt x="4152" y="600"/>
                      </a:lnTo>
                      <a:lnTo>
                        <a:pt x="4152" y="594"/>
                      </a:lnTo>
                      <a:lnTo>
                        <a:pt x="4146" y="582"/>
                      </a:lnTo>
                      <a:lnTo>
                        <a:pt x="4134" y="570"/>
                      </a:lnTo>
                      <a:lnTo>
                        <a:pt x="4152" y="552"/>
                      </a:lnTo>
                      <a:lnTo>
                        <a:pt x="4152" y="540"/>
                      </a:lnTo>
                      <a:lnTo>
                        <a:pt x="4050" y="540"/>
                      </a:lnTo>
                      <a:lnTo>
                        <a:pt x="4026" y="558"/>
                      </a:lnTo>
                      <a:lnTo>
                        <a:pt x="3942" y="558"/>
                      </a:lnTo>
                      <a:lnTo>
                        <a:pt x="3948" y="576"/>
                      </a:lnTo>
                      <a:lnTo>
                        <a:pt x="3978" y="588"/>
                      </a:lnTo>
                      <a:lnTo>
                        <a:pt x="3936" y="576"/>
                      </a:lnTo>
                      <a:lnTo>
                        <a:pt x="3948" y="600"/>
                      </a:lnTo>
                      <a:lnTo>
                        <a:pt x="3936" y="594"/>
                      </a:lnTo>
                      <a:lnTo>
                        <a:pt x="3930" y="594"/>
                      </a:lnTo>
                      <a:lnTo>
                        <a:pt x="3918" y="588"/>
                      </a:lnTo>
                      <a:lnTo>
                        <a:pt x="3894" y="588"/>
                      </a:lnTo>
                      <a:lnTo>
                        <a:pt x="3882" y="594"/>
                      </a:lnTo>
                      <a:lnTo>
                        <a:pt x="3876" y="606"/>
                      </a:lnTo>
                      <a:lnTo>
                        <a:pt x="3882" y="612"/>
                      </a:lnTo>
                      <a:lnTo>
                        <a:pt x="3888" y="624"/>
                      </a:lnTo>
                      <a:lnTo>
                        <a:pt x="3894" y="630"/>
                      </a:lnTo>
                      <a:lnTo>
                        <a:pt x="3900" y="660"/>
                      </a:lnTo>
                      <a:lnTo>
                        <a:pt x="3894" y="660"/>
                      </a:lnTo>
                      <a:lnTo>
                        <a:pt x="3888" y="654"/>
                      </a:lnTo>
                      <a:lnTo>
                        <a:pt x="3864" y="642"/>
                      </a:lnTo>
                      <a:lnTo>
                        <a:pt x="3852" y="642"/>
                      </a:lnTo>
                      <a:lnTo>
                        <a:pt x="3828" y="666"/>
                      </a:lnTo>
                      <a:lnTo>
                        <a:pt x="3828" y="678"/>
                      </a:lnTo>
                      <a:lnTo>
                        <a:pt x="3846" y="678"/>
                      </a:lnTo>
                      <a:lnTo>
                        <a:pt x="3858" y="690"/>
                      </a:lnTo>
                      <a:lnTo>
                        <a:pt x="3810" y="714"/>
                      </a:lnTo>
                      <a:lnTo>
                        <a:pt x="3750" y="720"/>
                      </a:lnTo>
                      <a:lnTo>
                        <a:pt x="3762" y="720"/>
                      </a:lnTo>
                      <a:lnTo>
                        <a:pt x="3798" y="702"/>
                      </a:lnTo>
                      <a:lnTo>
                        <a:pt x="3810" y="690"/>
                      </a:lnTo>
                      <a:lnTo>
                        <a:pt x="3810" y="684"/>
                      </a:lnTo>
                      <a:lnTo>
                        <a:pt x="3804" y="684"/>
                      </a:lnTo>
                      <a:lnTo>
                        <a:pt x="3792" y="672"/>
                      </a:lnTo>
                      <a:lnTo>
                        <a:pt x="3786" y="672"/>
                      </a:lnTo>
                      <a:lnTo>
                        <a:pt x="3786" y="660"/>
                      </a:lnTo>
                      <a:lnTo>
                        <a:pt x="3804" y="642"/>
                      </a:lnTo>
                      <a:lnTo>
                        <a:pt x="3816" y="636"/>
                      </a:lnTo>
                      <a:lnTo>
                        <a:pt x="3828" y="636"/>
                      </a:lnTo>
                      <a:lnTo>
                        <a:pt x="3828" y="606"/>
                      </a:lnTo>
                      <a:lnTo>
                        <a:pt x="3840" y="600"/>
                      </a:lnTo>
                      <a:lnTo>
                        <a:pt x="3858" y="582"/>
                      </a:lnTo>
                      <a:lnTo>
                        <a:pt x="3876" y="576"/>
                      </a:lnTo>
                      <a:lnTo>
                        <a:pt x="3882" y="570"/>
                      </a:lnTo>
                      <a:lnTo>
                        <a:pt x="3894" y="564"/>
                      </a:lnTo>
                      <a:lnTo>
                        <a:pt x="3906" y="564"/>
                      </a:lnTo>
                      <a:lnTo>
                        <a:pt x="3918" y="558"/>
                      </a:lnTo>
                      <a:lnTo>
                        <a:pt x="3936" y="552"/>
                      </a:lnTo>
                      <a:lnTo>
                        <a:pt x="3954" y="552"/>
                      </a:lnTo>
                      <a:lnTo>
                        <a:pt x="3966" y="546"/>
                      </a:lnTo>
                      <a:lnTo>
                        <a:pt x="3972" y="540"/>
                      </a:lnTo>
                      <a:lnTo>
                        <a:pt x="3942" y="534"/>
                      </a:lnTo>
                      <a:lnTo>
                        <a:pt x="3852" y="534"/>
                      </a:lnTo>
                      <a:lnTo>
                        <a:pt x="3822" y="540"/>
                      </a:lnTo>
                      <a:lnTo>
                        <a:pt x="3786" y="558"/>
                      </a:lnTo>
                      <a:lnTo>
                        <a:pt x="3744" y="576"/>
                      </a:lnTo>
                      <a:lnTo>
                        <a:pt x="3720" y="594"/>
                      </a:lnTo>
                      <a:lnTo>
                        <a:pt x="3708" y="600"/>
                      </a:lnTo>
                      <a:lnTo>
                        <a:pt x="3702" y="600"/>
                      </a:lnTo>
                      <a:lnTo>
                        <a:pt x="3696" y="606"/>
                      </a:lnTo>
                      <a:lnTo>
                        <a:pt x="3684" y="606"/>
                      </a:lnTo>
                      <a:lnTo>
                        <a:pt x="3660" y="618"/>
                      </a:lnTo>
                      <a:lnTo>
                        <a:pt x="3654" y="618"/>
                      </a:lnTo>
                      <a:lnTo>
                        <a:pt x="3642" y="624"/>
                      </a:lnTo>
                      <a:lnTo>
                        <a:pt x="3630" y="636"/>
                      </a:lnTo>
                      <a:lnTo>
                        <a:pt x="3618" y="642"/>
                      </a:lnTo>
                      <a:lnTo>
                        <a:pt x="3600" y="660"/>
                      </a:lnTo>
                      <a:lnTo>
                        <a:pt x="3588" y="666"/>
                      </a:lnTo>
                      <a:lnTo>
                        <a:pt x="3582" y="678"/>
                      </a:lnTo>
                      <a:lnTo>
                        <a:pt x="3582" y="684"/>
                      </a:lnTo>
                      <a:lnTo>
                        <a:pt x="3588" y="690"/>
                      </a:lnTo>
                      <a:lnTo>
                        <a:pt x="3612" y="690"/>
                      </a:lnTo>
                      <a:lnTo>
                        <a:pt x="3648" y="696"/>
                      </a:lnTo>
                      <a:lnTo>
                        <a:pt x="3672" y="696"/>
                      </a:lnTo>
                      <a:lnTo>
                        <a:pt x="3684" y="708"/>
                      </a:lnTo>
                      <a:lnTo>
                        <a:pt x="3666" y="714"/>
                      </a:lnTo>
                      <a:lnTo>
                        <a:pt x="3594" y="726"/>
                      </a:lnTo>
                      <a:lnTo>
                        <a:pt x="3570" y="732"/>
                      </a:lnTo>
                      <a:lnTo>
                        <a:pt x="3576" y="738"/>
                      </a:lnTo>
                      <a:lnTo>
                        <a:pt x="3594" y="750"/>
                      </a:lnTo>
                      <a:lnTo>
                        <a:pt x="3630" y="762"/>
                      </a:lnTo>
                      <a:lnTo>
                        <a:pt x="3642" y="768"/>
                      </a:lnTo>
                      <a:lnTo>
                        <a:pt x="3648" y="768"/>
                      </a:lnTo>
                      <a:lnTo>
                        <a:pt x="3690" y="750"/>
                      </a:lnTo>
                      <a:lnTo>
                        <a:pt x="3690" y="762"/>
                      </a:lnTo>
                      <a:lnTo>
                        <a:pt x="3702" y="774"/>
                      </a:lnTo>
                      <a:lnTo>
                        <a:pt x="3744" y="774"/>
                      </a:lnTo>
                      <a:lnTo>
                        <a:pt x="3786" y="780"/>
                      </a:lnTo>
                      <a:lnTo>
                        <a:pt x="3834" y="786"/>
                      </a:lnTo>
                      <a:lnTo>
                        <a:pt x="3876" y="792"/>
                      </a:lnTo>
                      <a:lnTo>
                        <a:pt x="3894" y="792"/>
                      </a:lnTo>
                      <a:lnTo>
                        <a:pt x="3900" y="786"/>
                      </a:lnTo>
                      <a:lnTo>
                        <a:pt x="3894" y="780"/>
                      </a:lnTo>
                      <a:lnTo>
                        <a:pt x="3882" y="774"/>
                      </a:lnTo>
                      <a:lnTo>
                        <a:pt x="3876" y="768"/>
                      </a:lnTo>
                      <a:lnTo>
                        <a:pt x="3894" y="768"/>
                      </a:lnTo>
                      <a:lnTo>
                        <a:pt x="3930" y="774"/>
                      </a:lnTo>
                      <a:lnTo>
                        <a:pt x="3966" y="774"/>
                      </a:lnTo>
                      <a:lnTo>
                        <a:pt x="3990" y="780"/>
                      </a:lnTo>
                      <a:lnTo>
                        <a:pt x="4002" y="780"/>
                      </a:lnTo>
                      <a:lnTo>
                        <a:pt x="4020" y="786"/>
                      </a:lnTo>
                      <a:lnTo>
                        <a:pt x="4032" y="792"/>
                      </a:lnTo>
                      <a:lnTo>
                        <a:pt x="4050" y="792"/>
                      </a:lnTo>
                      <a:lnTo>
                        <a:pt x="4062" y="786"/>
                      </a:lnTo>
                      <a:lnTo>
                        <a:pt x="4062" y="774"/>
                      </a:lnTo>
                      <a:lnTo>
                        <a:pt x="4056" y="768"/>
                      </a:lnTo>
                      <a:lnTo>
                        <a:pt x="4050" y="756"/>
                      </a:lnTo>
                      <a:lnTo>
                        <a:pt x="4044" y="750"/>
                      </a:lnTo>
                      <a:lnTo>
                        <a:pt x="4092" y="738"/>
                      </a:lnTo>
                      <a:lnTo>
                        <a:pt x="4092" y="744"/>
                      </a:lnTo>
                      <a:lnTo>
                        <a:pt x="4098" y="750"/>
                      </a:lnTo>
                      <a:lnTo>
                        <a:pt x="4104" y="762"/>
                      </a:lnTo>
                      <a:lnTo>
                        <a:pt x="4104" y="768"/>
                      </a:lnTo>
                      <a:lnTo>
                        <a:pt x="4110" y="774"/>
                      </a:lnTo>
                      <a:lnTo>
                        <a:pt x="4116" y="774"/>
                      </a:lnTo>
                      <a:lnTo>
                        <a:pt x="4122" y="780"/>
                      </a:lnTo>
                      <a:lnTo>
                        <a:pt x="4134" y="786"/>
                      </a:lnTo>
                      <a:lnTo>
                        <a:pt x="4140" y="792"/>
                      </a:lnTo>
                      <a:lnTo>
                        <a:pt x="4170" y="786"/>
                      </a:lnTo>
                      <a:lnTo>
                        <a:pt x="4170" y="792"/>
                      </a:lnTo>
                      <a:lnTo>
                        <a:pt x="4164" y="798"/>
                      </a:lnTo>
                      <a:lnTo>
                        <a:pt x="4164" y="816"/>
                      </a:lnTo>
                      <a:lnTo>
                        <a:pt x="4170" y="816"/>
                      </a:lnTo>
                      <a:lnTo>
                        <a:pt x="4182" y="822"/>
                      </a:lnTo>
                      <a:lnTo>
                        <a:pt x="4200" y="822"/>
                      </a:lnTo>
                      <a:lnTo>
                        <a:pt x="4206" y="828"/>
                      </a:lnTo>
                      <a:lnTo>
                        <a:pt x="4212" y="828"/>
                      </a:lnTo>
                      <a:lnTo>
                        <a:pt x="4194" y="846"/>
                      </a:lnTo>
                      <a:lnTo>
                        <a:pt x="4194" y="858"/>
                      </a:lnTo>
                      <a:lnTo>
                        <a:pt x="4230" y="858"/>
                      </a:lnTo>
                      <a:lnTo>
                        <a:pt x="4224" y="882"/>
                      </a:lnTo>
                      <a:lnTo>
                        <a:pt x="4236" y="882"/>
                      </a:lnTo>
                      <a:lnTo>
                        <a:pt x="4248" y="888"/>
                      </a:lnTo>
                      <a:lnTo>
                        <a:pt x="4254" y="888"/>
                      </a:lnTo>
                      <a:lnTo>
                        <a:pt x="4278" y="900"/>
                      </a:lnTo>
                      <a:lnTo>
                        <a:pt x="4278" y="924"/>
                      </a:lnTo>
                      <a:lnTo>
                        <a:pt x="4266" y="948"/>
                      </a:lnTo>
                      <a:lnTo>
                        <a:pt x="4254" y="966"/>
                      </a:lnTo>
                      <a:lnTo>
                        <a:pt x="4248" y="978"/>
                      </a:lnTo>
                      <a:lnTo>
                        <a:pt x="4236" y="990"/>
                      </a:lnTo>
                      <a:lnTo>
                        <a:pt x="4218" y="996"/>
                      </a:lnTo>
                      <a:lnTo>
                        <a:pt x="4182" y="1014"/>
                      </a:lnTo>
                      <a:lnTo>
                        <a:pt x="4140" y="1026"/>
                      </a:lnTo>
                      <a:lnTo>
                        <a:pt x="4092" y="1050"/>
                      </a:lnTo>
                      <a:lnTo>
                        <a:pt x="4098" y="1056"/>
                      </a:lnTo>
                      <a:lnTo>
                        <a:pt x="4110" y="1062"/>
                      </a:lnTo>
                      <a:lnTo>
                        <a:pt x="4122" y="1074"/>
                      </a:lnTo>
                      <a:lnTo>
                        <a:pt x="4122" y="1080"/>
                      </a:lnTo>
                      <a:lnTo>
                        <a:pt x="4116" y="1086"/>
                      </a:lnTo>
                      <a:lnTo>
                        <a:pt x="4080" y="1098"/>
                      </a:lnTo>
                      <a:lnTo>
                        <a:pt x="4062" y="1098"/>
                      </a:lnTo>
                      <a:lnTo>
                        <a:pt x="3984" y="1110"/>
                      </a:lnTo>
                      <a:lnTo>
                        <a:pt x="3978" y="1128"/>
                      </a:lnTo>
                      <a:lnTo>
                        <a:pt x="3960" y="1110"/>
                      </a:lnTo>
                      <a:lnTo>
                        <a:pt x="3954" y="1110"/>
                      </a:lnTo>
                      <a:lnTo>
                        <a:pt x="3948" y="1104"/>
                      </a:lnTo>
                      <a:lnTo>
                        <a:pt x="3930" y="1104"/>
                      </a:lnTo>
                      <a:lnTo>
                        <a:pt x="3918" y="1098"/>
                      </a:lnTo>
                      <a:lnTo>
                        <a:pt x="3900" y="1098"/>
                      </a:lnTo>
                      <a:lnTo>
                        <a:pt x="3888" y="1104"/>
                      </a:lnTo>
                      <a:lnTo>
                        <a:pt x="3882" y="1110"/>
                      </a:lnTo>
                      <a:lnTo>
                        <a:pt x="3882" y="1122"/>
                      </a:lnTo>
                      <a:lnTo>
                        <a:pt x="3870" y="1122"/>
                      </a:lnTo>
                      <a:lnTo>
                        <a:pt x="3858" y="1128"/>
                      </a:lnTo>
                      <a:lnTo>
                        <a:pt x="3840" y="1134"/>
                      </a:lnTo>
                      <a:lnTo>
                        <a:pt x="3828" y="1140"/>
                      </a:lnTo>
                      <a:lnTo>
                        <a:pt x="3822" y="1146"/>
                      </a:lnTo>
                      <a:lnTo>
                        <a:pt x="3816" y="1158"/>
                      </a:lnTo>
                      <a:lnTo>
                        <a:pt x="3816" y="1170"/>
                      </a:lnTo>
                      <a:lnTo>
                        <a:pt x="3822" y="1182"/>
                      </a:lnTo>
                      <a:lnTo>
                        <a:pt x="3834" y="1188"/>
                      </a:lnTo>
                      <a:lnTo>
                        <a:pt x="3864" y="1188"/>
                      </a:lnTo>
                      <a:lnTo>
                        <a:pt x="3876" y="1182"/>
                      </a:lnTo>
                      <a:lnTo>
                        <a:pt x="3894" y="1182"/>
                      </a:lnTo>
                      <a:lnTo>
                        <a:pt x="3906" y="1176"/>
                      </a:lnTo>
                      <a:lnTo>
                        <a:pt x="3924" y="1170"/>
                      </a:lnTo>
                      <a:lnTo>
                        <a:pt x="3936" y="1164"/>
                      </a:lnTo>
                      <a:lnTo>
                        <a:pt x="3966" y="1164"/>
                      </a:lnTo>
                      <a:lnTo>
                        <a:pt x="3978" y="1176"/>
                      </a:lnTo>
                      <a:lnTo>
                        <a:pt x="3996" y="1176"/>
                      </a:lnTo>
                      <a:lnTo>
                        <a:pt x="4002" y="1170"/>
                      </a:lnTo>
                      <a:lnTo>
                        <a:pt x="4002" y="1152"/>
                      </a:lnTo>
                      <a:lnTo>
                        <a:pt x="4026" y="1128"/>
                      </a:lnTo>
                      <a:lnTo>
                        <a:pt x="4014" y="1140"/>
                      </a:lnTo>
                      <a:lnTo>
                        <a:pt x="4014" y="1146"/>
                      </a:lnTo>
                      <a:lnTo>
                        <a:pt x="4020" y="1152"/>
                      </a:lnTo>
                      <a:lnTo>
                        <a:pt x="4086" y="1152"/>
                      </a:lnTo>
                      <a:lnTo>
                        <a:pt x="4080" y="1158"/>
                      </a:lnTo>
                      <a:lnTo>
                        <a:pt x="4068" y="1164"/>
                      </a:lnTo>
                      <a:lnTo>
                        <a:pt x="4062" y="1170"/>
                      </a:lnTo>
                      <a:lnTo>
                        <a:pt x="4062" y="1176"/>
                      </a:lnTo>
                      <a:lnTo>
                        <a:pt x="4068" y="1182"/>
                      </a:lnTo>
                      <a:lnTo>
                        <a:pt x="4080" y="1182"/>
                      </a:lnTo>
                      <a:lnTo>
                        <a:pt x="4086" y="1188"/>
                      </a:lnTo>
                      <a:lnTo>
                        <a:pt x="4098" y="1188"/>
                      </a:lnTo>
                      <a:lnTo>
                        <a:pt x="4086" y="1200"/>
                      </a:lnTo>
                      <a:lnTo>
                        <a:pt x="4086" y="1206"/>
                      </a:lnTo>
                      <a:lnTo>
                        <a:pt x="4092" y="1212"/>
                      </a:lnTo>
                      <a:lnTo>
                        <a:pt x="4116" y="1224"/>
                      </a:lnTo>
                      <a:lnTo>
                        <a:pt x="4146" y="1224"/>
                      </a:lnTo>
                      <a:lnTo>
                        <a:pt x="4098" y="1242"/>
                      </a:lnTo>
                      <a:lnTo>
                        <a:pt x="4098" y="1248"/>
                      </a:lnTo>
                      <a:lnTo>
                        <a:pt x="4110" y="1260"/>
                      </a:lnTo>
                      <a:lnTo>
                        <a:pt x="4110" y="1266"/>
                      </a:lnTo>
                      <a:lnTo>
                        <a:pt x="4116" y="1272"/>
                      </a:lnTo>
                      <a:lnTo>
                        <a:pt x="4122" y="1266"/>
                      </a:lnTo>
                      <a:lnTo>
                        <a:pt x="4128" y="1266"/>
                      </a:lnTo>
                      <a:lnTo>
                        <a:pt x="4140" y="1260"/>
                      </a:lnTo>
                      <a:lnTo>
                        <a:pt x="4146" y="1272"/>
                      </a:lnTo>
                      <a:lnTo>
                        <a:pt x="4158" y="1284"/>
                      </a:lnTo>
                      <a:lnTo>
                        <a:pt x="4182" y="1284"/>
                      </a:lnTo>
                      <a:lnTo>
                        <a:pt x="4194" y="1290"/>
                      </a:lnTo>
                      <a:lnTo>
                        <a:pt x="4206" y="1290"/>
                      </a:lnTo>
                      <a:lnTo>
                        <a:pt x="4206" y="1308"/>
                      </a:lnTo>
                      <a:lnTo>
                        <a:pt x="4212" y="1314"/>
                      </a:lnTo>
                      <a:lnTo>
                        <a:pt x="4224" y="1320"/>
                      </a:lnTo>
                      <a:lnTo>
                        <a:pt x="4272" y="1320"/>
                      </a:lnTo>
                      <a:lnTo>
                        <a:pt x="4290" y="1326"/>
                      </a:lnTo>
                      <a:lnTo>
                        <a:pt x="4350" y="1356"/>
                      </a:lnTo>
                      <a:lnTo>
                        <a:pt x="4356" y="1362"/>
                      </a:lnTo>
                      <a:lnTo>
                        <a:pt x="4362" y="1362"/>
                      </a:lnTo>
                      <a:lnTo>
                        <a:pt x="4362" y="1356"/>
                      </a:lnTo>
                      <a:lnTo>
                        <a:pt x="4368" y="1350"/>
                      </a:lnTo>
                      <a:lnTo>
                        <a:pt x="4368" y="1320"/>
                      </a:lnTo>
                      <a:lnTo>
                        <a:pt x="4362" y="1308"/>
                      </a:lnTo>
                      <a:lnTo>
                        <a:pt x="4350" y="1296"/>
                      </a:lnTo>
                      <a:lnTo>
                        <a:pt x="4338" y="1290"/>
                      </a:lnTo>
                      <a:lnTo>
                        <a:pt x="4320" y="1272"/>
                      </a:lnTo>
                      <a:lnTo>
                        <a:pt x="4314" y="1272"/>
                      </a:lnTo>
                      <a:lnTo>
                        <a:pt x="4308" y="1260"/>
                      </a:lnTo>
                      <a:lnTo>
                        <a:pt x="4302" y="1254"/>
                      </a:lnTo>
                      <a:lnTo>
                        <a:pt x="4290" y="1230"/>
                      </a:lnTo>
                      <a:lnTo>
                        <a:pt x="4290" y="1224"/>
                      </a:lnTo>
                      <a:lnTo>
                        <a:pt x="4308" y="1224"/>
                      </a:lnTo>
                      <a:lnTo>
                        <a:pt x="4314" y="1230"/>
                      </a:lnTo>
                      <a:lnTo>
                        <a:pt x="4326" y="1236"/>
                      </a:lnTo>
                      <a:lnTo>
                        <a:pt x="4332" y="1242"/>
                      </a:lnTo>
                      <a:lnTo>
                        <a:pt x="4332" y="1212"/>
                      </a:lnTo>
                      <a:lnTo>
                        <a:pt x="4332" y="1218"/>
                      </a:lnTo>
                      <a:lnTo>
                        <a:pt x="4344" y="1230"/>
                      </a:lnTo>
                      <a:lnTo>
                        <a:pt x="4350" y="1242"/>
                      </a:lnTo>
                      <a:lnTo>
                        <a:pt x="4362" y="1254"/>
                      </a:lnTo>
                      <a:lnTo>
                        <a:pt x="4374" y="1254"/>
                      </a:lnTo>
                      <a:lnTo>
                        <a:pt x="4386" y="1248"/>
                      </a:lnTo>
                      <a:lnTo>
                        <a:pt x="4398" y="1248"/>
                      </a:lnTo>
                      <a:lnTo>
                        <a:pt x="4398" y="1272"/>
                      </a:lnTo>
                      <a:lnTo>
                        <a:pt x="4404" y="1278"/>
                      </a:lnTo>
                      <a:lnTo>
                        <a:pt x="4416" y="1278"/>
                      </a:lnTo>
                      <a:lnTo>
                        <a:pt x="4428" y="1290"/>
                      </a:lnTo>
                      <a:lnTo>
                        <a:pt x="4452" y="1272"/>
                      </a:lnTo>
                      <a:lnTo>
                        <a:pt x="4464" y="1284"/>
                      </a:lnTo>
                      <a:lnTo>
                        <a:pt x="4470" y="1284"/>
                      </a:lnTo>
                      <a:lnTo>
                        <a:pt x="4476" y="1278"/>
                      </a:lnTo>
                      <a:lnTo>
                        <a:pt x="4476" y="1260"/>
                      </a:lnTo>
                      <a:lnTo>
                        <a:pt x="4470" y="1254"/>
                      </a:lnTo>
                      <a:lnTo>
                        <a:pt x="4488" y="1212"/>
                      </a:lnTo>
                      <a:lnTo>
                        <a:pt x="4488" y="1236"/>
                      </a:lnTo>
                      <a:lnTo>
                        <a:pt x="4500" y="1248"/>
                      </a:lnTo>
                      <a:lnTo>
                        <a:pt x="4512" y="1236"/>
                      </a:lnTo>
                      <a:lnTo>
                        <a:pt x="4518" y="1218"/>
                      </a:lnTo>
                      <a:lnTo>
                        <a:pt x="4518" y="1206"/>
                      </a:lnTo>
                      <a:lnTo>
                        <a:pt x="4494" y="1182"/>
                      </a:lnTo>
                      <a:lnTo>
                        <a:pt x="4518" y="1176"/>
                      </a:lnTo>
                      <a:lnTo>
                        <a:pt x="4500" y="1164"/>
                      </a:lnTo>
                      <a:lnTo>
                        <a:pt x="4500" y="1146"/>
                      </a:lnTo>
                      <a:lnTo>
                        <a:pt x="4470" y="1146"/>
                      </a:lnTo>
                      <a:lnTo>
                        <a:pt x="4470" y="1134"/>
                      </a:lnTo>
                      <a:lnTo>
                        <a:pt x="4446" y="1134"/>
                      </a:lnTo>
                      <a:lnTo>
                        <a:pt x="4446" y="1080"/>
                      </a:lnTo>
                      <a:lnTo>
                        <a:pt x="4416" y="1086"/>
                      </a:lnTo>
                      <a:lnTo>
                        <a:pt x="4410" y="1080"/>
                      </a:lnTo>
                      <a:lnTo>
                        <a:pt x="4410" y="1056"/>
                      </a:lnTo>
                      <a:lnTo>
                        <a:pt x="4416" y="1050"/>
                      </a:lnTo>
                      <a:lnTo>
                        <a:pt x="4428" y="1050"/>
                      </a:lnTo>
                      <a:lnTo>
                        <a:pt x="4434" y="1056"/>
                      </a:lnTo>
                      <a:lnTo>
                        <a:pt x="4446" y="1062"/>
                      </a:lnTo>
                      <a:lnTo>
                        <a:pt x="4452" y="1068"/>
                      </a:lnTo>
                      <a:lnTo>
                        <a:pt x="4458" y="1068"/>
                      </a:lnTo>
                      <a:lnTo>
                        <a:pt x="4464" y="1062"/>
                      </a:lnTo>
                      <a:lnTo>
                        <a:pt x="4464" y="1026"/>
                      </a:lnTo>
                      <a:lnTo>
                        <a:pt x="4488" y="1032"/>
                      </a:lnTo>
                      <a:lnTo>
                        <a:pt x="4524" y="1014"/>
                      </a:lnTo>
                      <a:lnTo>
                        <a:pt x="4524" y="1026"/>
                      </a:lnTo>
                      <a:lnTo>
                        <a:pt x="4530" y="1038"/>
                      </a:lnTo>
                      <a:lnTo>
                        <a:pt x="4530" y="1044"/>
                      </a:lnTo>
                      <a:lnTo>
                        <a:pt x="4536" y="1050"/>
                      </a:lnTo>
                      <a:lnTo>
                        <a:pt x="4548" y="1044"/>
                      </a:lnTo>
                      <a:lnTo>
                        <a:pt x="4566" y="1044"/>
                      </a:lnTo>
                      <a:lnTo>
                        <a:pt x="4554" y="1062"/>
                      </a:lnTo>
                      <a:lnTo>
                        <a:pt x="4578" y="1062"/>
                      </a:lnTo>
                      <a:lnTo>
                        <a:pt x="4566" y="1092"/>
                      </a:lnTo>
                      <a:lnTo>
                        <a:pt x="4566" y="1098"/>
                      </a:lnTo>
                      <a:lnTo>
                        <a:pt x="4584" y="1116"/>
                      </a:lnTo>
                      <a:lnTo>
                        <a:pt x="4590" y="1128"/>
                      </a:lnTo>
                      <a:lnTo>
                        <a:pt x="4614" y="1140"/>
                      </a:lnTo>
                      <a:lnTo>
                        <a:pt x="4626" y="1134"/>
                      </a:lnTo>
                      <a:lnTo>
                        <a:pt x="4638" y="1122"/>
                      </a:lnTo>
                      <a:lnTo>
                        <a:pt x="4656" y="1086"/>
                      </a:lnTo>
                      <a:lnTo>
                        <a:pt x="4656" y="1080"/>
                      </a:lnTo>
                      <a:lnTo>
                        <a:pt x="4662" y="1068"/>
                      </a:lnTo>
                      <a:lnTo>
                        <a:pt x="4668" y="1074"/>
                      </a:lnTo>
                      <a:lnTo>
                        <a:pt x="4680" y="1080"/>
                      </a:lnTo>
                      <a:lnTo>
                        <a:pt x="4692" y="1080"/>
                      </a:lnTo>
                      <a:lnTo>
                        <a:pt x="4698" y="1086"/>
                      </a:lnTo>
                      <a:lnTo>
                        <a:pt x="4710" y="1080"/>
                      </a:lnTo>
                      <a:lnTo>
                        <a:pt x="4722" y="1068"/>
                      </a:lnTo>
                      <a:lnTo>
                        <a:pt x="4728" y="1056"/>
                      </a:lnTo>
                      <a:lnTo>
                        <a:pt x="4728" y="1038"/>
                      </a:lnTo>
                      <a:lnTo>
                        <a:pt x="4794" y="1038"/>
                      </a:lnTo>
                      <a:lnTo>
                        <a:pt x="4806" y="1026"/>
                      </a:lnTo>
                      <a:lnTo>
                        <a:pt x="4812" y="1014"/>
                      </a:lnTo>
                      <a:lnTo>
                        <a:pt x="4800" y="1002"/>
                      </a:lnTo>
                      <a:lnTo>
                        <a:pt x="4788" y="996"/>
                      </a:lnTo>
                      <a:lnTo>
                        <a:pt x="4758" y="996"/>
                      </a:lnTo>
                      <a:close/>
                      <a:moveTo>
                        <a:pt x="4476" y="1308"/>
                      </a:moveTo>
                      <a:lnTo>
                        <a:pt x="4446" y="1308"/>
                      </a:lnTo>
                      <a:lnTo>
                        <a:pt x="4440" y="1326"/>
                      </a:lnTo>
                      <a:lnTo>
                        <a:pt x="4476" y="1320"/>
                      </a:lnTo>
                      <a:lnTo>
                        <a:pt x="4476" y="1308"/>
                      </a:lnTo>
                      <a:close/>
                      <a:moveTo>
                        <a:pt x="4140" y="1290"/>
                      </a:moveTo>
                      <a:lnTo>
                        <a:pt x="4134" y="1290"/>
                      </a:lnTo>
                      <a:lnTo>
                        <a:pt x="4128" y="1296"/>
                      </a:lnTo>
                      <a:lnTo>
                        <a:pt x="4128" y="1308"/>
                      </a:lnTo>
                      <a:lnTo>
                        <a:pt x="4134" y="1314"/>
                      </a:lnTo>
                      <a:lnTo>
                        <a:pt x="4158" y="1314"/>
                      </a:lnTo>
                      <a:lnTo>
                        <a:pt x="4164" y="1308"/>
                      </a:lnTo>
                      <a:lnTo>
                        <a:pt x="4164" y="1296"/>
                      </a:lnTo>
                      <a:lnTo>
                        <a:pt x="4158" y="1290"/>
                      </a:lnTo>
                      <a:lnTo>
                        <a:pt x="4140" y="1290"/>
                      </a:lnTo>
                      <a:close/>
                      <a:moveTo>
                        <a:pt x="3834" y="1242"/>
                      </a:moveTo>
                      <a:lnTo>
                        <a:pt x="3840" y="1236"/>
                      </a:lnTo>
                      <a:lnTo>
                        <a:pt x="3834" y="1230"/>
                      </a:lnTo>
                      <a:lnTo>
                        <a:pt x="3828" y="1230"/>
                      </a:lnTo>
                      <a:lnTo>
                        <a:pt x="3822" y="1224"/>
                      </a:lnTo>
                      <a:lnTo>
                        <a:pt x="3810" y="1224"/>
                      </a:lnTo>
                      <a:lnTo>
                        <a:pt x="3810" y="1236"/>
                      </a:lnTo>
                      <a:lnTo>
                        <a:pt x="3816" y="1242"/>
                      </a:lnTo>
                      <a:lnTo>
                        <a:pt x="3816" y="1248"/>
                      </a:lnTo>
                      <a:lnTo>
                        <a:pt x="3828" y="1248"/>
                      </a:lnTo>
                      <a:lnTo>
                        <a:pt x="3834" y="1242"/>
                      </a:lnTo>
                      <a:close/>
                      <a:moveTo>
                        <a:pt x="4206" y="1452"/>
                      </a:moveTo>
                      <a:lnTo>
                        <a:pt x="4170" y="1452"/>
                      </a:lnTo>
                      <a:lnTo>
                        <a:pt x="4206" y="1476"/>
                      </a:lnTo>
                      <a:lnTo>
                        <a:pt x="4218" y="1470"/>
                      </a:lnTo>
                      <a:lnTo>
                        <a:pt x="4218" y="1458"/>
                      </a:lnTo>
                      <a:lnTo>
                        <a:pt x="4212" y="1458"/>
                      </a:lnTo>
                      <a:lnTo>
                        <a:pt x="4206" y="1452"/>
                      </a:lnTo>
                      <a:close/>
                      <a:moveTo>
                        <a:pt x="4170" y="870"/>
                      </a:moveTo>
                      <a:lnTo>
                        <a:pt x="4152" y="870"/>
                      </a:lnTo>
                      <a:lnTo>
                        <a:pt x="4152" y="876"/>
                      </a:lnTo>
                      <a:lnTo>
                        <a:pt x="4158" y="882"/>
                      </a:lnTo>
                      <a:lnTo>
                        <a:pt x="4164" y="882"/>
                      </a:lnTo>
                      <a:lnTo>
                        <a:pt x="4170" y="888"/>
                      </a:lnTo>
                      <a:lnTo>
                        <a:pt x="4182" y="882"/>
                      </a:lnTo>
                      <a:lnTo>
                        <a:pt x="4188" y="882"/>
                      </a:lnTo>
                      <a:lnTo>
                        <a:pt x="4194" y="876"/>
                      </a:lnTo>
                      <a:lnTo>
                        <a:pt x="4188" y="870"/>
                      </a:lnTo>
                      <a:lnTo>
                        <a:pt x="4170" y="870"/>
                      </a:lnTo>
                      <a:close/>
                      <a:moveTo>
                        <a:pt x="4170" y="936"/>
                      </a:moveTo>
                      <a:lnTo>
                        <a:pt x="4236" y="936"/>
                      </a:lnTo>
                      <a:lnTo>
                        <a:pt x="4236" y="918"/>
                      </a:lnTo>
                      <a:lnTo>
                        <a:pt x="4188" y="918"/>
                      </a:lnTo>
                      <a:lnTo>
                        <a:pt x="4170" y="936"/>
                      </a:lnTo>
                      <a:close/>
                      <a:moveTo>
                        <a:pt x="5574" y="36"/>
                      </a:moveTo>
                      <a:lnTo>
                        <a:pt x="5490" y="36"/>
                      </a:lnTo>
                      <a:lnTo>
                        <a:pt x="5496" y="24"/>
                      </a:lnTo>
                      <a:lnTo>
                        <a:pt x="5490" y="24"/>
                      </a:lnTo>
                      <a:lnTo>
                        <a:pt x="5484" y="18"/>
                      </a:lnTo>
                      <a:lnTo>
                        <a:pt x="5448" y="18"/>
                      </a:lnTo>
                      <a:lnTo>
                        <a:pt x="5430" y="12"/>
                      </a:lnTo>
                      <a:lnTo>
                        <a:pt x="5400" y="12"/>
                      </a:lnTo>
                      <a:lnTo>
                        <a:pt x="5364" y="18"/>
                      </a:lnTo>
                      <a:lnTo>
                        <a:pt x="5334" y="30"/>
                      </a:lnTo>
                      <a:lnTo>
                        <a:pt x="5304" y="36"/>
                      </a:lnTo>
                      <a:lnTo>
                        <a:pt x="5292" y="36"/>
                      </a:lnTo>
                      <a:lnTo>
                        <a:pt x="5346" y="12"/>
                      </a:lnTo>
                      <a:lnTo>
                        <a:pt x="5274" y="18"/>
                      </a:lnTo>
                      <a:lnTo>
                        <a:pt x="5268" y="18"/>
                      </a:lnTo>
                      <a:lnTo>
                        <a:pt x="5262" y="12"/>
                      </a:lnTo>
                      <a:lnTo>
                        <a:pt x="5250" y="12"/>
                      </a:lnTo>
                      <a:lnTo>
                        <a:pt x="5226" y="0"/>
                      </a:lnTo>
                      <a:lnTo>
                        <a:pt x="5196" y="0"/>
                      </a:lnTo>
                      <a:lnTo>
                        <a:pt x="5190" y="6"/>
                      </a:lnTo>
                      <a:lnTo>
                        <a:pt x="5184" y="18"/>
                      </a:lnTo>
                      <a:lnTo>
                        <a:pt x="5178" y="18"/>
                      </a:lnTo>
                      <a:lnTo>
                        <a:pt x="5172" y="12"/>
                      </a:lnTo>
                      <a:lnTo>
                        <a:pt x="5160" y="6"/>
                      </a:lnTo>
                      <a:lnTo>
                        <a:pt x="5148" y="6"/>
                      </a:lnTo>
                      <a:lnTo>
                        <a:pt x="5136" y="0"/>
                      </a:lnTo>
                      <a:lnTo>
                        <a:pt x="5124" y="0"/>
                      </a:lnTo>
                      <a:lnTo>
                        <a:pt x="5112" y="6"/>
                      </a:lnTo>
                      <a:lnTo>
                        <a:pt x="5106" y="12"/>
                      </a:lnTo>
                      <a:lnTo>
                        <a:pt x="5094" y="18"/>
                      </a:lnTo>
                      <a:lnTo>
                        <a:pt x="5088" y="24"/>
                      </a:lnTo>
                      <a:lnTo>
                        <a:pt x="5046" y="12"/>
                      </a:lnTo>
                      <a:lnTo>
                        <a:pt x="4938" y="6"/>
                      </a:lnTo>
                      <a:lnTo>
                        <a:pt x="4968" y="36"/>
                      </a:lnTo>
                      <a:lnTo>
                        <a:pt x="4902" y="12"/>
                      </a:lnTo>
                      <a:lnTo>
                        <a:pt x="4842" y="24"/>
                      </a:lnTo>
                      <a:lnTo>
                        <a:pt x="4830" y="24"/>
                      </a:lnTo>
                      <a:lnTo>
                        <a:pt x="4812" y="18"/>
                      </a:lnTo>
                      <a:lnTo>
                        <a:pt x="4746" y="18"/>
                      </a:lnTo>
                      <a:lnTo>
                        <a:pt x="4710" y="24"/>
                      </a:lnTo>
                      <a:lnTo>
                        <a:pt x="4686" y="36"/>
                      </a:lnTo>
                      <a:lnTo>
                        <a:pt x="4674" y="36"/>
                      </a:lnTo>
                      <a:lnTo>
                        <a:pt x="4764" y="60"/>
                      </a:lnTo>
                      <a:lnTo>
                        <a:pt x="4674" y="48"/>
                      </a:lnTo>
                      <a:lnTo>
                        <a:pt x="4662" y="48"/>
                      </a:lnTo>
                      <a:lnTo>
                        <a:pt x="4590" y="36"/>
                      </a:lnTo>
                      <a:lnTo>
                        <a:pt x="4542" y="36"/>
                      </a:lnTo>
                      <a:lnTo>
                        <a:pt x="4530" y="48"/>
                      </a:lnTo>
                      <a:lnTo>
                        <a:pt x="4530" y="60"/>
                      </a:lnTo>
                      <a:lnTo>
                        <a:pt x="4512" y="60"/>
                      </a:lnTo>
                      <a:lnTo>
                        <a:pt x="4482" y="54"/>
                      </a:lnTo>
                      <a:lnTo>
                        <a:pt x="4392" y="54"/>
                      </a:lnTo>
                      <a:lnTo>
                        <a:pt x="4350" y="60"/>
                      </a:lnTo>
                      <a:lnTo>
                        <a:pt x="4302" y="66"/>
                      </a:lnTo>
                      <a:lnTo>
                        <a:pt x="4260" y="66"/>
                      </a:lnTo>
                      <a:lnTo>
                        <a:pt x="4242" y="72"/>
                      </a:lnTo>
                      <a:lnTo>
                        <a:pt x="4260" y="72"/>
                      </a:lnTo>
                      <a:lnTo>
                        <a:pt x="4266" y="78"/>
                      </a:lnTo>
                      <a:lnTo>
                        <a:pt x="4278" y="78"/>
                      </a:lnTo>
                      <a:lnTo>
                        <a:pt x="4362" y="84"/>
                      </a:lnTo>
                      <a:lnTo>
                        <a:pt x="4278" y="96"/>
                      </a:lnTo>
                      <a:lnTo>
                        <a:pt x="4284" y="96"/>
                      </a:lnTo>
                      <a:lnTo>
                        <a:pt x="4290" y="102"/>
                      </a:lnTo>
                      <a:lnTo>
                        <a:pt x="4314" y="114"/>
                      </a:lnTo>
                      <a:lnTo>
                        <a:pt x="4338" y="114"/>
                      </a:lnTo>
                      <a:lnTo>
                        <a:pt x="4356" y="108"/>
                      </a:lnTo>
                      <a:lnTo>
                        <a:pt x="4392" y="108"/>
                      </a:lnTo>
                      <a:lnTo>
                        <a:pt x="4398" y="102"/>
                      </a:lnTo>
                      <a:lnTo>
                        <a:pt x="4410" y="102"/>
                      </a:lnTo>
                      <a:lnTo>
                        <a:pt x="4416" y="96"/>
                      </a:lnTo>
                      <a:lnTo>
                        <a:pt x="4440" y="96"/>
                      </a:lnTo>
                      <a:lnTo>
                        <a:pt x="4458" y="90"/>
                      </a:lnTo>
                      <a:lnTo>
                        <a:pt x="4500" y="90"/>
                      </a:lnTo>
                      <a:lnTo>
                        <a:pt x="4518" y="96"/>
                      </a:lnTo>
                      <a:lnTo>
                        <a:pt x="4536" y="96"/>
                      </a:lnTo>
                      <a:lnTo>
                        <a:pt x="4548" y="102"/>
                      </a:lnTo>
                      <a:lnTo>
                        <a:pt x="4560" y="102"/>
                      </a:lnTo>
                      <a:lnTo>
                        <a:pt x="4494" y="102"/>
                      </a:lnTo>
                      <a:lnTo>
                        <a:pt x="4482" y="108"/>
                      </a:lnTo>
                      <a:lnTo>
                        <a:pt x="4458" y="108"/>
                      </a:lnTo>
                      <a:lnTo>
                        <a:pt x="4446" y="114"/>
                      </a:lnTo>
                      <a:lnTo>
                        <a:pt x="4434" y="114"/>
                      </a:lnTo>
                      <a:lnTo>
                        <a:pt x="4422" y="120"/>
                      </a:lnTo>
                      <a:lnTo>
                        <a:pt x="4410" y="120"/>
                      </a:lnTo>
                      <a:lnTo>
                        <a:pt x="4404" y="126"/>
                      </a:lnTo>
                      <a:lnTo>
                        <a:pt x="4398" y="126"/>
                      </a:lnTo>
                      <a:lnTo>
                        <a:pt x="4434" y="126"/>
                      </a:lnTo>
                      <a:lnTo>
                        <a:pt x="4452" y="132"/>
                      </a:lnTo>
                      <a:lnTo>
                        <a:pt x="4488" y="132"/>
                      </a:lnTo>
                      <a:lnTo>
                        <a:pt x="4500" y="126"/>
                      </a:lnTo>
                      <a:lnTo>
                        <a:pt x="4506" y="126"/>
                      </a:lnTo>
                      <a:lnTo>
                        <a:pt x="4512" y="120"/>
                      </a:lnTo>
                      <a:lnTo>
                        <a:pt x="4638" y="120"/>
                      </a:lnTo>
                      <a:lnTo>
                        <a:pt x="4656" y="114"/>
                      </a:lnTo>
                      <a:lnTo>
                        <a:pt x="4680" y="114"/>
                      </a:lnTo>
                      <a:lnTo>
                        <a:pt x="4698" y="108"/>
                      </a:lnTo>
                      <a:lnTo>
                        <a:pt x="4710" y="108"/>
                      </a:lnTo>
                      <a:lnTo>
                        <a:pt x="4722" y="96"/>
                      </a:lnTo>
                      <a:lnTo>
                        <a:pt x="4734" y="96"/>
                      </a:lnTo>
                      <a:lnTo>
                        <a:pt x="4752" y="90"/>
                      </a:lnTo>
                      <a:lnTo>
                        <a:pt x="4770" y="90"/>
                      </a:lnTo>
                      <a:lnTo>
                        <a:pt x="4782" y="84"/>
                      </a:lnTo>
                      <a:lnTo>
                        <a:pt x="4830" y="84"/>
                      </a:lnTo>
                      <a:lnTo>
                        <a:pt x="4746" y="114"/>
                      </a:lnTo>
                      <a:lnTo>
                        <a:pt x="4782" y="114"/>
                      </a:lnTo>
                      <a:lnTo>
                        <a:pt x="4734" y="126"/>
                      </a:lnTo>
                      <a:lnTo>
                        <a:pt x="4716" y="126"/>
                      </a:lnTo>
                      <a:lnTo>
                        <a:pt x="4674" y="132"/>
                      </a:lnTo>
                      <a:lnTo>
                        <a:pt x="4620" y="132"/>
                      </a:lnTo>
                      <a:lnTo>
                        <a:pt x="4566" y="138"/>
                      </a:lnTo>
                      <a:lnTo>
                        <a:pt x="4536" y="138"/>
                      </a:lnTo>
                      <a:lnTo>
                        <a:pt x="4524" y="150"/>
                      </a:lnTo>
                      <a:lnTo>
                        <a:pt x="4524" y="156"/>
                      </a:lnTo>
                      <a:lnTo>
                        <a:pt x="4602" y="174"/>
                      </a:lnTo>
                      <a:lnTo>
                        <a:pt x="4596" y="174"/>
                      </a:lnTo>
                      <a:lnTo>
                        <a:pt x="4590" y="180"/>
                      </a:lnTo>
                      <a:lnTo>
                        <a:pt x="4578" y="180"/>
                      </a:lnTo>
                      <a:lnTo>
                        <a:pt x="4566" y="186"/>
                      </a:lnTo>
                      <a:lnTo>
                        <a:pt x="4542" y="186"/>
                      </a:lnTo>
                      <a:lnTo>
                        <a:pt x="4518" y="174"/>
                      </a:lnTo>
                      <a:lnTo>
                        <a:pt x="4500" y="162"/>
                      </a:lnTo>
                      <a:lnTo>
                        <a:pt x="4476" y="150"/>
                      </a:lnTo>
                      <a:lnTo>
                        <a:pt x="4470" y="144"/>
                      </a:lnTo>
                      <a:lnTo>
                        <a:pt x="4356" y="144"/>
                      </a:lnTo>
                      <a:lnTo>
                        <a:pt x="4350" y="150"/>
                      </a:lnTo>
                      <a:lnTo>
                        <a:pt x="4344" y="162"/>
                      </a:lnTo>
                      <a:lnTo>
                        <a:pt x="4338" y="168"/>
                      </a:lnTo>
                      <a:lnTo>
                        <a:pt x="4368" y="186"/>
                      </a:lnTo>
                      <a:lnTo>
                        <a:pt x="4386" y="204"/>
                      </a:lnTo>
                      <a:lnTo>
                        <a:pt x="4410" y="216"/>
                      </a:lnTo>
                      <a:lnTo>
                        <a:pt x="4458" y="216"/>
                      </a:lnTo>
                      <a:lnTo>
                        <a:pt x="4476" y="210"/>
                      </a:lnTo>
                      <a:lnTo>
                        <a:pt x="4488" y="210"/>
                      </a:lnTo>
                      <a:lnTo>
                        <a:pt x="4476" y="216"/>
                      </a:lnTo>
                      <a:lnTo>
                        <a:pt x="4470" y="228"/>
                      </a:lnTo>
                      <a:lnTo>
                        <a:pt x="4398" y="228"/>
                      </a:lnTo>
                      <a:lnTo>
                        <a:pt x="4380" y="222"/>
                      </a:lnTo>
                      <a:lnTo>
                        <a:pt x="4350" y="222"/>
                      </a:lnTo>
                      <a:lnTo>
                        <a:pt x="4314" y="228"/>
                      </a:lnTo>
                      <a:lnTo>
                        <a:pt x="4272" y="234"/>
                      </a:lnTo>
                      <a:lnTo>
                        <a:pt x="4230" y="234"/>
                      </a:lnTo>
                      <a:lnTo>
                        <a:pt x="4218" y="240"/>
                      </a:lnTo>
                      <a:lnTo>
                        <a:pt x="4200" y="246"/>
                      </a:lnTo>
                      <a:lnTo>
                        <a:pt x="4188" y="258"/>
                      </a:lnTo>
                      <a:lnTo>
                        <a:pt x="4176" y="264"/>
                      </a:lnTo>
                      <a:lnTo>
                        <a:pt x="4170" y="270"/>
                      </a:lnTo>
                      <a:lnTo>
                        <a:pt x="4164" y="270"/>
                      </a:lnTo>
                      <a:lnTo>
                        <a:pt x="4236" y="258"/>
                      </a:lnTo>
                      <a:lnTo>
                        <a:pt x="4236" y="276"/>
                      </a:lnTo>
                      <a:lnTo>
                        <a:pt x="4296" y="258"/>
                      </a:lnTo>
                      <a:lnTo>
                        <a:pt x="4224" y="288"/>
                      </a:lnTo>
                      <a:lnTo>
                        <a:pt x="4230" y="288"/>
                      </a:lnTo>
                      <a:lnTo>
                        <a:pt x="4236" y="294"/>
                      </a:lnTo>
                      <a:lnTo>
                        <a:pt x="4248" y="300"/>
                      </a:lnTo>
                      <a:lnTo>
                        <a:pt x="4278" y="300"/>
                      </a:lnTo>
                      <a:lnTo>
                        <a:pt x="4314" y="288"/>
                      </a:lnTo>
                      <a:lnTo>
                        <a:pt x="4326" y="288"/>
                      </a:lnTo>
                      <a:lnTo>
                        <a:pt x="4344" y="282"/>
                      </a:lnTo>
                      <a:lnTo>
                        <a:pt x="4350" y="276"/>
                      </a:lnTo>
                      <a:lnTo>
                        <a:pt x="4356" y="276"/>
                      </a:lnTo>
                      <a:lnTo>
                        <a:pt x="4254" y="312"/>
                      </a:lnTo>
                      <a:lnTo>
                        <a:pt x="4188" y="312"/>
                      </a:lnTo>
                      <a:lnTo>
                        <a:pt x="4176" y="288"/>
                      </a:lnTo>
                      <a:lnTo>
                        <a:pt x="4164" y="288"/>
                      </a:lnTo>
                      <a:lnTo>
                        <a:pt x="4146" y="282"/>
                      </a:lnTo>
                      <a:lnTo>
                        <a:pt x="4110" y="282"/>
                      </a:lnTo>
                      <a:lnTo>
                        <a:pt x="4104" y="288"/>
                      </a:lnTo>
                      <a:lnTo>
                        <a:pt x="4104" y="300"/>
                      </a:lnTo>
                      <a:lnTo>
                        <a:pt x="4110" y="312"/>
                      </a:lnTo>
                      <a:lnTo>
                        <a:pt x="4110" y="318"/>
                      </a:lnTo>
                      <a:lnTo>
                        <a:pt x="4116" y="324"/>
                      </a:lnTo>
                      <a:lnTo>
                        <a:pt x="4092" y="324"/>
                      </a:lnTo>
                      <a:lnTo>
                        <a:pt x="4074" y="330"/>
                      </a:lnTo>
                      <a:lnTo>
                        <a:pt x="4032" y="330"/>
                      </a:lnTo>
                      <a:lnTo>
                        <a:pt x="4020" y="336"/>
                      </a:lnTo>
                      <a:lnTo>
                        <a:pt x="4002" y="342"/>
                      </a:lnTo>
                      <a:lnTo>
                        <a:pt x="3990" y="348"/>
                      </a:lnTo>
                      <a:lnTo>
                        <a:pt x="3972" y="354"/>
                      </a:lnTo>
                      <a:lnTo>
                        <a:pt x="3936" y="354"/>
                      </a:lnTo>
                      <a:lnTo>
                        <a:pt x="3924" y="360"/>
                      </a:lnTo>
                      <a:lnTo>
                        <a:pt x="3918" y="360"/>
                      </a:lnTo>
                      <a:lnTo>
                        <a:pt x="3924" y="360"/>
                      </a:lnTo>
                      <a:lnTo>
                        <a:pt x="3936" y="366"/>
                      </a:lnTo>
                      <a:lnTo>
                        <a:pt x="3978" y="366"/>
                      </a:lnTo>
                      <a:lnTo>
                        <a:pt x="3990" y="360"/>
                      </a:lnTo>
                      <a:lnTo>
                        <a:pt x="3996" y="354"/>
                      </a:lnTo>
                      <a:lnTo>
                        <a:pt x="3984" y="372"/>
                      </a:lnTo>
                      <a:lnTo>
                        <a:pt x="4020" y="366"/>
                      </a:lnTo>
                      <a:lnTo>
                        <a:pt x="4044" y="354"/>
                      </a:lnTo>
                      <a:lnTo>
                        <a:pt x="4044" y="372"/>
                      </a:lnTo>
                      <a:lnTo>
                        <a:pt x="4074" y="366"/>
                      </a:lnTo>
                      <a:lnTo>
                        <a:pt x="4098" y="366"/>
                      </a:lnTo>
                      <a:lnTo>
                        <a:pt x="4098" y="372"/>
                      </a:lnTo>
                      <a:lnTo>
                        <a:pt x="4104" y="378"/>
                      </a:lnTo>
                      <a:lnTo>
                        <a:pt x="4122" y="378"/>
                      </a:lnTo>
                      <a:lnTo>
                        <a:pt x="4146" y="366"/>
                      </a:lnTo>
                      <a:lnTo>
                        <a:pt x="4152" y="366"/>
                      </a:lnTo>
                      <a:lnTo>
                        <a:pt x="4164" y="360"/>
                      </a:lnTo>
                      <a:lnTo>
                        <a:pt x="4170" y="372"/>
                      </a:lnTo>
                      <a:lnTo>
                        <a:pt x="4200" y="354"/>
                      </a:lnTo>
                      <a:lnTo>
                        <a:pt x="4206" y="360"/>
                      </a:lnTo>
                      <a:lnTo>
                        <a:pt x="4212" y="372"/>
                      </a:lnTo>
                      <a:lnTo>
                        <a:pt x="4224" y="372"/>
                      </a:lnTo>
                      <a:lnTo>
                        <a:pt x="4236" y="366"/>
                      </a:lnTo>
                      <a:lnTo>
                        <a:pt x="4242" y="360"/>
                      </a:lnTo>
                      <a:lnTo>
                        <a:pt x="4248" y="360"/>
                      </a:lnTo>
                      <a:lnTo>
                        <a:pt x="4254" y="366"/>
                      </a:lnTo>
                      <a:lnTo>
                        <a:pt x="4266" y="372"/>
                      </a:lnTo>
                      <a:lnTo>
                        <a:pt x="4284" y="372"/>
                      </a:lnTo>
                      <a:lnTo>
                        <a:pt x="4290" y="366"/>
                      </a:lnTo>
                      <a:lnTo>
                        <a:pt x="4290" y="360"/>
                      </a:lnTo>
                      <a:lnTo>
                        <a:pt x="4284" y="354"/>
                      </a:lnTo>
                      <a:lnTo>
                        <a:pt x="4338" y="372"/>
                      </a:lnTo>
                      <a:lnTo>
                        <a:pt x="4344" y="378"/>
                      </a:lnTo>
                      <a:lnTo>
                        <a:pt x="4350" y="390"/>
                      </a:lnTo>
                      <a:lnTo>
                        <a:pt x="4374" y="390"/>
                      </a:lnTo>
                      <a:lnTo>
                        <a:pt x="4410" y="378"/>
                      </a:lnTo>
                      <a:lnTo>
                        <a:pt x="4440" y="372"/>
                      </a:lnTo>
                      <a:lnTo>
                        <a:pt x="4476" y="372"/>
                      </a:lnTo>
                      <a:lnTo>
                        <a:pt x="4494" y="366"/>
                      </a:lnTo>
                      <a:lnTo>
                        <a:pt x="4506" y="360"/>
                      </a:lnTo>
                      <a:lnTo>
                        <a:pt x="4524" y="342"/>
                      </a:lnTo>
                      <a:lnTo>
                        <a:pt x="4464" y="342"/>
                      </a:lnTo>
                      <a:lnTo>
                        <a:pt x="4470" y="336"/>
                      </a:lnTo>
                      <a:lnTo>
                        <a:pt x="4470" y="330"/>
                      </a:lnTo>
                      <a:lnTo>
                        <a:pt x="4416" y="330"/>
                      </a:lnTo>
                      <a:lnTo>
                        <a:pt x="4362" y="318"/>
                      </a:lnTo>
                      <a:lnTo>
                        <a:pt x="4380" y="300"/>
                      </a:lnTo>
                      <a:lnTo>
                        <a:pt x="4440" y="318"/>
                      </a:lnTo>
                      <a:lnTo>
                        <a:pt x="4452" y="318"/>
                      </a:lnTo>
                      <a:lnTo>
                        <a:pt x="4488" y="312"/>
                      </a:lnTo>
                      <a:lnTo>
                        <a:pt x="4566" y="312"/>
                      </a:lnTo>
                      <a:lnTo>
                        <a:pt x="4578" y="300"/>
                      </a:lnTo>
                      <a:lnTo>
                        <a:pt x="4578" y="288"/>
                      </a:lnTo>
                      <a:lnTo>
                        <a:pt x="4584" y="288"/>
                      </a:lnTo>
                      <a:lnTo>
                        <a:pt x="4590" y="282"/>
                      </a:lnTo>
                      <a:lnTo>
                        <a:pt x="4608" y="282"/>
                      </a:lnTo>
                      <a:lnTo>
                        <a:pt x="4626" y="276"/>
                      </a:lnTo>
                      <a:lnTo>
                        <a:pt x="4662" y="276"/>
                      </a:lnTo>
                      <a:lnTo>
                        <a:pt x="4680" y="270"/>
                      </a:lnTo>
                      <a:lnTo>
                        <a:pt x="4710" y="270"/>
                      </a:lnTo>
                      <a:lnTo>
                        <a:pt x="4722" y="264"/>
                      </a:lnTo>
                      <a:lnTo>
                        <a:pt x="4728" y="264"/>
                      </a:lnTo>
                      <a:lnTo>
                        <a:pt x="4704" y="246"/>
                      </a:lnTo>
                      <a:lnTo>
                        <a:pt x="4746" y="246"/>
                      </a:lnTo>
                      <a:lnTo>
                        <a:pt x="4770" y="240"/>
                      </a:lnTo>
                      <a:lnTo>
                        <a:pt x="4782" y="234"/>
                      </a:lnTo>
                      <a:lnTo>
                        <a:pt x="4776" y="228"/>
                      </a:lnTo>
                      <a:lnTo>
                        <a:pt x="4770" y="228"/>
                      </a:lnTo>
                      <a:lnTo>
                        <a:pt x="4758" y="222"/>
                      </a:lnTo>
                      <a:lnTo>
                        <a:pt x="4746" y="222"/>
                      </a:lnTo>
                      <a:lnTo>
                        <a:pt x="4734" y="216"/>
                      </a:lnTo>
                      <a:lnTo>
                        <a:pt x="4686" y="216"/>
                      </a:lnTo>
                      <a:lnTo>
                        <a:pt x="4674" y="210"/>
                      </a:lnTo>
                      <a:lnTo>
                        <a:pt x="4662" y="210"/>
                      </a:lnTo>
                      <a:lnTo>
                        <a:pt x="4662" y="204"/>
                      </a:lnTo>
                      <a:lnTo>
                        <a:pt x="4674" y="198"/>
                      </a:lnTo>
                      <a:lnTo>
                        <a:pt x="4686" y="198"/>
                      </a:lnTo>
                      <a:lnTo>
                        <a:pt x="4704" y="192"/>
                      </a:lnTo>
                      <a:lnTo>
                        <a:pt x="4716" y="186"/>
                      </a:lnTo>
                      <a:lnTo>
                        <a:pt x="4764" y="186"/>
                      </a:lnTo>
                      <a:lnTo>
                        <a:pt x="4782" y="192"/>
                      </a:lnTo>
                      <a:lnTo>
                        <a:pt x="4860" y="192"/>
                      </a:lnTo>
                      <a:lnTo>
                        <a:pt x="4878" y="186"/>
                      </a:lnTo>
                      <a:lnTo>
                        <a:pt x="4902" y="186"/>
                      </a:lnTo>
                      <a:lnTo>
                        <a:pt x="4896" y="180"/>
                      </a:lnTo>
                      <a:lnTo>
                        <a:pt x="4878" y="180"/>
                      </a:lnTo>
                      <a:lnTo>
                        <a:pt x="4866" y="174"/>
                      </a:lnTo>
                      <a:lnTo>
                        <a:pt x="4872" y="168"/>
                      </a:lnTo>
                      <a:lnTo>
                        <a:pt x="4902" y="162"/>
                      </a:lnTo>
                      <a:lnTo>
                        <a:pt x="4944" y="168"/>
                      </a:lnTo>
                      <a:lnTo>
                        <a:pt x="4974" y="174"/>
                      </a:lnTo>
                      <a:lnTo>
                        <a:pt x="4986" y="174"/>
                      </a:lnTo>
                      <a:lnTo>
                        <a:pt x="4992" y="168"/>
                      </a:lnTo>
                      <a:lnTo>
                        <a:pt x="4992" y="150"/>
                      </a:lnTo>
                      <a:lnTo>
                        <a:pt x="5070" y="156"/>
                      </a:lnTo>
                      <a:lnTo>
                        <a:pt x="5070" y="132"/>
                      </a:lnTo>
                      <a:lnTo>
                        <a:pt x="5082" y="132"/>
                      </a:lnTo>
                      <a:lnTo>
                        <a:pt x="5094" y="138"/>
                      </a:lnTo>
                      <a:lnTo>
                        <a:pt x="5112" y="138"/>
                      </a:lnTo>
                      <a:lnTo>
                        <a:pt x="5136" y="126"/>
                      </a:lnTo>
                      <a:lnTo>
                        <a:pt x="5148" y="126"/>
                      </a:lnTo>
                      <a:lnTo>
                        <a:pt x="5154" y="120"/>
                      </a:lnTo>
                      <a:lnTo>
                        <a:pt x="5172" y="120"/>
                      </a:lnTo>
                      <a:lnTo>
                        <a:pt x="5208" y="114"/>
                      </a:lnTo>
                      <a:lnTo>
                        <a:pt x="5256" y="102"/>
                      </a:lnTo>
                      <a:lnTo>
                        <a:pt x="5298" y="96"/>
                      </a:lnTo>
                      <a:lnTo>
                        <a:pt x="5322" y="90"/>
                      </a:lnTo>
                      <a:lnTo>
                        <a:pt x="5340" y="90"/>
                      </a:lnTo>
                      <a:lnTo>
                        <a:pt x="5346" y="84"/>
                      </a:lnTo>
                      <a:lnTo>
                        <a:pt x="5238" y="84"/>
                      </a:lnTo>
                      <a:lnTo>
                        <a:pt x="5214" y="96"/>
                      </a:lnTo>
                      <a:lnTo>
                        <a:pt x="5142" y="96"/>
                      </a:lnTo>
                      <a:lnTo>
                        <a:pt x="5226" y="90"/>
                      </a:lnTo>
                      <a:lnTo>
                        <a:pt x="5220" y="78"/>
                      </a:lnTo>
                      <a:lnTo>
                        <a:pt x="5268" y="84"/>
                      </a:lnTo>
                      <a:lnTo>
                        <a:pt x="5274" y="78"/>
                      </a:lnTo>
                      <a:lnTo>
                        <a:pt x="5286" y="72"/>
                      </a:lnTo>
                      <a:lnTo>
                        <a:pt x="5358" y="72"/>
                      </a:lnTo>
                      <a:lnTo>
                        <a:pt x="5406" y="66"/>
                      </a:lnTo>
                      <a:lnTo>
                        <a:pt x="5454" y="66"/>
                      </a:lnTo>
                      <a:lnTo>
                        <a:pt x="5484" y="60"/>
                      </a:lnTo>
                      <a:lnTo>
                        <a:pt x="5496" y="60"/>
                      </a:lnTo>
                      <a:lnTo>
                        <a:pt x="5514" y="54"/>
                      </a:lnTo>
                      <a:lnTo>
                        <a:pt x="5532" y="54"/>
                      </a:lnTo>
                      <a:lnTo>
                        <a:pt x="5550" y="48"/>
                      </a:lnTo>
                      <a:lnTo>
                        <a:pt x="5562" y="42"/>
                      </a:lnTo>
                      <a:lnTo>
                        <a:pt x="5574" y="42"/>
                      </a:lnTo>
                      <a:lnTo>
                        <a:pt x="5574" y="36"/>
                      </a:lnTo>
                      <a:close/>
                      <a:moveTo>
                        <a:pt x="4032" y="966"/>
                      </a:moveTo>
                      <a:lnTo>
                        <a:pt x="4086" y="966"/>
                      </a:lnTo>
                      <a:lnTo>
                        <a:pt x="4134" y="942"/>
                      </a:lnTo>
                      <a:lnTo>
                        <a:pt x="4140" y="930"/>
                      </a:lnTo>
                      <a:lnTo>
                        <a:pt x="4134" y="918"/>
                      </a:lnTo>
                      <a:lnTo>
                        <a:pt x="4134" y="912"/>
                      </a:lnTo>
                      <a:lnTo>
                        <a:pt x="4122" y="906"/>
                      </a:lnTo>
                      <a:lnTo>
                        <a:pt x="4074" y="906"/>
                      </a:lnTo>
                      <a:lnTo>
                        <a:pt x="4062" y="912"/>
                      </a:lnTo>
                      <a:lnTo>
                        <a:pt x="4050" y="912"/>
                      </a:lnTo>
                      <a:lnTo>
                        <a:pt x="4026" y="924"/>
                      </a:lnTo>
                      <a:lnTo>
                        <a:pt x="4014" y="936"/>
                      </a:lnTo>
                      <a:lnTo>
                        <a:pt x="4002" y="942"/>
                      </a:lnTo>
                      <a:lnTo>
                        <a:pt x="4002" y="954"/>
                      </a:lnTo>
                      <a:lnTo>
                        <a:pt x="4014" y="960"/>
                      </a:lnTo>
                      <a:lnTo>
                        <a:pt x="4032" y="966"/>
                      </a:lnTo>
                      <a:close/>
                      <a:moveTo>
                        <a:pt x="4014" y="840"/>
                      </a:moveTo>
                      <a:lnTo>
                        <a:pt x="4002" y="840"/>
                      </a:lnTo>
                      <a:lnTo>
                        <a:pt x="3990" y="846"/>
                      </a:lnTo>
                      <a:lnTo>
                        <a:pt x="3984" y="852"/>
                      </a:lnTo>
                      <a:lnTo>
                        <a:pt x="3972" y="852"/>
                      </a:lnTo>
                      <a:lnTo>
                        <a:pt x="3990" y="852"/>
                      </a:lnTo>
                      <a:lnTo>
                        <a:pt x="4008" y="846"/>
                      </a:lnTo>
                      <a:lnTo>
                        <a:pt x="4026" y="846"/>
                      </a:lnTo>
                      <a:lnTo>
                        <a:pt x="4044" y="840"/>
                      </a:lnTo>
                      <a:lnTo>
                        <a:pt x="4050" y="834"/>
                      </a:lnTo>
                      <a:lnTo>
                        <a:pt x="4056" y="834"/>
                      </a:lnTo>
                      <a:lnTo>
                        <a:pt x="4068" y="822"/>
                      </a:lnTo>
                      <a:lnTo>
                        <a:pt x="4050" y="822"/>
                      </a:lnTo>
                      <a:lnTo>
                        <a:pt x="4044" y="828"/>
                      </a:lnTo>
                      <a:lnTo>
                        <a:pt x="4032" y="828"/>
                      </a:lnTo>
                      <a:lnTo>
                        <a:pt x="4020" y="834"/>
                      </a:lnTo>
                      <a:lnTo>
                        <a:pt x="4014" y="840"/>
                      </a:lnTo>
                      <a:close/>
                      <a:moveTo>
                        <a:pt x="4122" y="822"/>
                      </a:moveTo>
                      <a:lnTo>
                        <a:pt x="4104" y="822"/>
                      </a:lnTo>
                      <a:lnTo>
                        <a:pt x="4098" y="828"/>
                      </a:lnTo>
                      <a:lnTo>
                        <a:pt x="4098" y="840"/>
                      </a:lnTo>
                      <a:lnTo>
                        <a:pt x="4104" y="846"/>
                      </a:lnTo>
                      <a:lnTo>
                        <a:pt x="4110" y="840"/>
                      </a:lnTo>
                      <a:lnTo>
                        <a:pt x="4116" y="840"/>
                      </a:lnTo>
                      <a:lnTo>
                        <a:pt x="4128" y="828"/>
                      </a:lnTo>
                      <a:lnTo>
                        <a:pt x="4122" y="822"/>
                      </a:lnTo>
                      <a:close/>
                      <a:moveTo>
                        <a:pt x="3528" y="1062"/>
                      </a:moveTo>
                      <a:lnTo>
                        <a:pt x="3522" y="1062"/>
                      </a:lnTo>
                      <a:lnTo>
                        <a:pt x="3504" y="1080"/>
                      </a:lnTo>
                      <a:lnTo>
                        <a:pt x="3504" y="1086"/>
                      </a:lnTo>
                      <a:lnTo>
                        <a:pt x="3510" y="1092"/>
                      </a:lnTo>
                      <a:lnTo>
                        <a:pt x="3528" y="1092"/>
                      </a:lnTo>
                      <a:lnTo>
                        <a:pt x="3534" y="1086"/>
                      </a:lnTo>
                      <a:lnTo>
                        <a:pt x="3540" y="1074"/>
                      </a:lnTo>
                      <a:lnTo>
                        <a:pt x="3540" y="1068"/>
                      </a:lnTo>
                      <a:lnTo>
                        <a:pt x="3534" y="1062"/>
                      </a:lnTo>
                      <a:lnTo>
                        <a:pt x="3528" y="1062"/>
                      </a:lnTo>
                      <a:close/>
                      <a:moveTo>
                        <a:pt x="3588" y="1062"/>
                      </a:moveTo>
                      <a:lnTo>
                        <a:pt x="3582" y="1062"/>
                      </a:lnTo>
                      <a:lnTo>
                        <a:pt x="3576" y="1068"/>
                      </a:lnTo>
                      <a:lnTo>
                        <a:pt x="3576" y="1080"/>
                      </a:lnTo>
                      <a:lnTo>
                        <a:pt x="3582" y="1086"/>
                      </a:lnTo>
                      <a:lnTo>
                        <a:pt x="3594" y="1086"/>
                      </a:lnTo>
                      <a:lnTo>
                        <a:pt x="3600" y="1080"/>
                      </a:lnTo>
                      <a:lnTo>
                        <a:pt x="3600" y="1068"/>
                      </a:lnTo>
                      <a:lnTo>
                        <a:pt x="3588" y="1062"/>
                      </a:lnTo>
                      <a:close/>
                      <a:moveTo>
                        <a:pt x="3756" y="1242"/>
                      </a:moveTo>
                      <a:lnTo>
                        <a:pt x="3744" y="1248"/>
                      </a:lnTo>
                      <a:lnTo>
                        <a:pt x="3744" y="1260"/>
                      </a:lnTo>
                      <a:lnTo>
                        <a:pt x="3750" y="1266"/>
                      </a:lnTo>
                      <a:lnTo>
                        <a:pt x="3762" y="1272"/>
                      </a:lnTo>
                      <a:lnTo>
                        <a:pt x="3768" y="1272"/>
                      </a:lnTo>
                      <a:lnTo>
                        <a:pt x="3786" y="1254"/>
                      </a:lnTo>
                      <a:lnTo>
                        <a:pt x="3786" y="1242"/>
                      </a:lnTo>
                      <a:lnTo>
                        <a:pt x="3780" y="1236"/>
                      </a:lnTo>
                      <a:lnTo>
                        <a:pt x="3768" y="1236"/>
                      </a:lnTo>
                      <a:lnTo>
                        <a:pt x="3756" y="1242"/>
                      </a:lnTo>
                      <a:close/>
                      <a:moveTo>
                        <a:pt x="3984" y="2532"/>
                      </a:moveTo>
                      <a:lnTo>
                        <a:pt x="3948" y="2520"/>
                      </a:lnTo>
                      <a:lnTo>
                        <a:pt x="3942" y="2514"/>
                      </a:lnTo>
                      <a:lnTo>
                        <a:pt x="3936" y="2514"/>
                      </a:lnTo>
                      <a:lnTo>
                        <a:pt x="3924" y="2526"/>
                      </a:lnTo>
                      <a:lnTo>
                        <a:pt x="3930" y="2532"/>
                      </a:lnTo>
                      <a:lnTo>
                        <a:pt x="3942" y="2538"/>
                      </a:lnTo>
                      <a:lnTo>
                        <a:pt x="3948" y="2544"/>
                      </a:lnTo>
                      <a:lnTo>
                        <a:pt x="3954" y="2544"/>
                      </a:lnTo>
                      <a:lnTo>
                        <a:pt x="3960" y="2550"/>
                      </a:lnTo>
                      <a:lnTo>
                        <a:pt x="3996" y="2550"/>
                      </a:lnTo>
                      <a:lnTo>
                        <a:pt x="4008" y="2556"/>
                      </a:lnTo>
                      <a:lnTo>
                        <a:pt x="4020" y="2556"/>
                      </a:lnTo>
                      <a:lnTo>
                        <a:pt x="4038" y="2538"/>
                      </a:lnTo>
                      <a:lnTo>
                        <a:pt x="4008" y="2538"/>
                      </a:lnTo>
                      <a:lnTo>
                        <a:pt x="3984" y="2532"/>
                      </a:lnTo>
                      <a:close/>
                      <a:moveTo>
                        <a:pt x="4098" y="2280"/>
                      </a:moveTo>
                      <a:lnTo>
                        <a:pt x="4092" y="2280"/>
                      </a:lnTo>
                      <a:lnTo>
                        <a:pt x="4086" y="2274"/>
                      </a:lnTo>
                      <a:lnTo>
                        <a:pt x="4050" y="2274"/>
                      </a:lnTo>
                      <a:lnTo>
                        <a:pt x="4032" y="2268"/>
                      </a:lnTo>
                      <a:lnTo>
                        <a:pt x="3996" y="2268"/>
                      </a:lnTo>
                      <a:lnTo>
                        <a:pt x="4002" y="2274"/>
                      </a:lnTo>
                      <a:lnTo>
                        <a:pt x="4008" y="2274"/>
                      </a:lnTo>
                      <a:lnTo>
                        <a:pt x="4014" y="2280"/>
                      </a:lnTo>
                      <a:lnTo>
                        <a:pt x="4026" y="2286"/>
                      </a:lnTo>
                      <a:lnTo>
                        <a:pt x="4032" y="2286"/>
                      </a:lnTo>
                      <a:lnTo>
                        <a:pt x="4032" y="2304"/>
                      </a:lnTo>
                      <a:lnTo>
                        <a:pt x="4044" y="2304"/>
                      </a:lnTo>
                      <a:lnTo>
                        <a:pt x="4080" y="2310"/>
                      </a:lnTo>
                      <a:lnTo>
                        <a:pt x="4128" y="2316"/>
                      </a:lnTo>
                      <a:lnTo>
                        <a:pt x="4164" y="2316"/>
                      </a:lnTo>
                      <a:lnTo>
                        <a:pt x="4170" y="2310"/>
                      </a:lnTo>
                      <a:lnTo>
                        <a:pt x="4170" y="2304"/>
                      </a:lnTo>
                      <a:lnTo>
                        <a:pt x="4164" y="2304"/>
                      </a:lnTo>
                      <a:lnTo>
                        <a:pt x="4152" y="2292"/>
                      </a:lnTo>
                      <a:lnTo>
                        <a:pt x="4128" y="2286"/>
                      </a:lnTo>
                      <a:lnTo>
                        <a:pt x="4098" y="2280"/>
                      </a:lnTo>
                      <a:close/>
                      <a:moveTo>
                        <a:pt x="4194" y="2550"/>
                      </a:moveTo>
                      <a:lnTo>
                        <a:pt x="4164" y="2550"/>
                      </a:lnTo>
                      <a:lnTo>
                        <a:pt x="4152" y="2556"/>
                      </a:lnTo>
                      <a:lnTo>
                        <a:pt x="4146" y="2562"/>
                      </a:lnTo>
                      <a:lnTo>
                        <a:pt x="4182" y="2526"/>
                      </a:lnTo>
                      <a:lnTo>
                        <a:pt x="4176" y="2520"/>
                      </a:lnTo>
                      <a:lnTo>
                        <a:pt x="4152" y="2520"/>
                      </a:lnTo>
                      <a:lnTo>
                        <a:pt x="4140" y="2526"/>
                      </a:lnTo>
                      <a:lnTo>
                        <a:pt x="4128" y="2538"/>
                      </a:lnTo>
                      <a:lnTo>
                        <a:pt x="4104" y="2574"/>
                      </a:lnTo>
                      <a:lnTo>
                        <a:pt x="4164" y="2568"/>
                      </a:lnTo>
                      <a:lnTo>
                        <a:pt x="4176" y="2568"/>
                      </a:lnTo>
                      <a:lnTo>
                        <a:pt x="4182" y="2562"/>
                      </a:lnTo>
                      <a:lnTo>
                        <a:pt x="4194" y="2562"/>
                      </a:lnTo>
                      <a:lnTo>
                        <a:pt x="4200" y="2556"/>
                      </a:lnTo>
                      <a:lnTo>
                        <a:pt x="4200" y="2550"/>
                      </a:lnTo>
                      <a:lnTo>
                        <a:pt x="4194" y="2550"/>
                      </a:lnTo>
                      <a:close/>
                      <a:moveTo>
                        <a:pt x="4590" y="1962"/>
                      </a:moveTo>
                      <a:lnTo>
                        <a:pt x="4578" y="1974"/>
                      </a:lnTo>
                      <a:lnTo>
                        <a:pt x="4578" y="1980"/>
                      </a:lnTo>
                      <a:lnTo>
                        <a:pt x="4572" y="1986"/>
                      </a:lnTo>
                      <a:lnTo>
                        <a:pt x="4566" y="1986"/>
                      </a:lnTo>
                      <a:lnTo>
                        <a:pt x="4554" y="1974"/>
                      </a:lnTo>
                      <a:lnTo>
                        <a:pt x="4554" y="1962"/>
                      </a:lnTo>
                      <a:lnTo>
                        <a:pt x="4566" y="1962"/>
                      </a:lnTo>
                      <a:lnTo>
                        <a:pt x="4572" y="1956"/>
                      </a:lnTo>
                      <a:lnTo>
                        <a:pt x="4566" y="1932"/>
                      </a:lnTo>
                      <a:lnTo>
                        <a:pt x="4536" y="1926"/>
                      </a:lnTo>
                      <a:lnTo>
                        <a:pt x="4530" y="1926"/>
                      </a:lnTo>
                      <a:lnTo>
                        <a:pt x="4524" y="1932"/>
                      </a:lnTo>
                      <a:lnTo>
                        <a:pt x="4512" y="1938"/>
                      </a:lnTo>
                      <a:lnTo>
                        <a:pt x="4494" y="1944"/>
                      </a:lnTo>
                      <a:lnTo>
                        <a:pt x="4470" y="1956"/>
                      </a:lnTo>
                      <a:lnTo>
                        <a:pt x="4464" y="1962"/>
                      </a:lnTo>
                      <a:lnTo>
                        <a:pt x="4458" y="1962"/>
                      </a:lnTo>
                      <a:lnTo>
                        <a:pt x="4446" y="1968"/>
                      </a:lnTo>
                      <a:lnTo>
                        <a:pt x="4434" y="1968"/>
                      </a:lnTo>
                      <a:lnTo>
                        <a:pt x="4416" y="1974"/>
                      </a:lnTo>
                      <a:lnTo>
                        <a:pt x="4404" y="1974"/>
                      </a:lnTo>
                      <a:lnTo>
                        <a:pt x="4374" y="1998"/>
                      </a:lnTo>
                      <a:lnTo>
                        <a:pt x="4386" y="1974"/>
                      </a:lnTo>
                      <a:lnTo>
                        <a:pt x="4362" y="1956"/>
                      </a:lnTo>
                      <a:lnTo>
                        <a:pt x="4398" y="1968"/>
                      </a:lnTo>
                      <a:lnTo>
                        <a:pt x="4410" y="1956"/>
                      </a:lnTo>
                      <a:lnTo>
                        <a:pt x="4440" y="1950"/>
                      </a:lnTo>
                      <a:lnTo>
                        <a:pt x="4440" y="1932"/>
                      </a:lnTo>
                      <a:lnTo>
                        <a:pt x="4494" y="1932"/>
                      </a:lnTo>
                      <a:lnTo>
                        <a:pt x="4518" y="1920"/>
                      </a:lnTo>
                      <a:lnTo>
                        <a:pt x="4524" y="1914"/>
                      </a:lnTo>
                      <a:lnTo>
                        <a:pt x="4536" y="1908"/>
                      </a:lnTo>
                      <a:lnTo>
                        <a:pt x="4608" y="1908"/>
                      </a:lnTo>
                      <a:lnTo>
                        <a:pt x="4602" y="1902"/>
                      </a:lnTo>
                      <a:lnTo>
                        <a:pt x="4596" y="1902"/>
                      </a:lnTo>
                      <a:lnTo>
                        <a:pt x="4584" y="1896"/>
                      </a:lnTo>
                      <a:lnTo>
                        <a:pt x="4578" y="1890"/>
                      </a:lnTo>
                      <a:lnTo>
                        <a:pt x="4578" y="1866"/>
                      </a:lnTo>
                      <a:lnTo>
                        <a:pt x="4572" y="1866"/>
                      </a:lnTo>
                      <a:lnTo>
                        <a:pt x="4566" y="1872"/>
                      </a:lnTo>
                      <a:lnTo>
                        <a:pt x="4542" y="1872"/>
                      </a:lnTo>
                      <a:lnTo>
                        <a:pt x="4530" y="1878"/>
                      </a:lnTo>
                      <a:lnTo>
                        <a:pt x="4518" y="1878"/>
                      </a:lnTo>
                      <a:lnTo>
                        <a:pt x="4518" y="1866"/>
                      </a:lnTo>
                      <a:lnTo>
                        <a:pt x="4512" y="1860"/>
                      </a:lnTo>
                      <a:lnTo>
                        <a:pt x="4452" y="1878"/>
                      </a:lnTo>
                      <a:lnTo>
                        <a:pt x="4458" y="1848"/>
                      </a:lnTo>
                      <a:lnTo>
                        <a:pt x="4410" y="1860"/>
                      </a:lnTo>
                      <a:lnTo>
                        <a:pt x="4416" y="1854"/>
                      </a:lnTo>
                      <a:lnTo>
                        <a:pt x="4422" y="1842"/>
                      </a:lnTo>
                      <a:lnTo>
                        <a:pt x="4440" y="1824"/>
                      </a:lnTo>
                      <a:lnTo>
                        <a:pt x="4446" y="1812"/>
                      </a:lnTo>
                      <a:lnTo>
                        <a:pt x="4446" y="1800"/>
                      </a:lnTo>
                      <a:lnTo>
                        <a:pt x="4434" y="1800"/>
                      </a:lnTo>
                      <a:lnTo>
                        <a:pt x="4422" y="1794"/>
                      </a:lnTo>
                      <a:lnTo>
                        <a:pt x="4398" y="1794"/>
                      </a:lnTo>
                      <a:lnTo>
                        <a:pt x="4404" y="1770"/>
                      </a:lnTo>
                      <a:lnTo>
                        <a:pt x="4368" y="1770"/>
                      </a:lnTo>
                      <a:lnTo>
                        <a:pt x="4380" y="1752"/>
                      </a:lnTo>
                      <a:lnTo>
                        <a:pt x="4356" y="1728"/>
                      </a:lnTo>
                      <a:lnTo>
                        <a:pt x="4368" y="1728"/>
                      </a:lnTo>
                      <a:lnTo>
                        <a:pt x="4380" y="1734"/>
                      </a:lnTo>
                      <a:lnTo>
                        <a:pt x="4404" y="1734"/>
                      </a:lnTo>
                      <a:lnTo>
                        <a:pt x="4410" y="1728"/>
                      </a:lnTo>
                      <a:lnTo>
                        <a:pt x="4422" y="1722"/>
                      </a:lnTo>
                      <a:lnTo>
                        <a:pt x="4434" y="1710"/>
                      </a:lnTo>
                      <a:lnTo>
                        <a:pt x="4440" y="1710"/>
                      </a:lnTo>
                      <a:lnTo>
                        <a:pt x="4398" y="1686"/>
                      </a:lnTo>
                      <a:lnTo>
                        <a:pt x="4446" y="1656"/>
                      </a:lnTo>
                      <a:lnTo>
                        <a:pt x="4398" y="1632"/>
                      </a:lnTo>
                      <a:lnTo>
                        <a:pt x="4350" y="1638"/>
                      </a:lnTo>
                      <a:lnTo>
                        <a:pt x="4404" y="1614"/>
                      </a:lnTo>
                      <a:lnTo>
                        <a:pt x="4368" y="1608"/>
                      </a:lnTo>
                      <a:lnTo>
                        <a:pt x="4410" y="1584"/>
                      </a:lnTo>
                      <a:lnTo>
                        <a:pt x="4404" y="1560"/>
                      </a:lnTo>
                      <a:lnTo>
                        <a:pt x="4374" y="1560"/>
                      </a:lnTo>
                      <a:lnTo>
                        <a:pt x="4380" y="1554"/>
                      </a:lnTo>
                      <a:lnTo>
                        <a:pt x="4392" y="1530"/>
                      </a:lnTo>
                      <a:lnTo>
                        <a:pt x="4374" y="1494"/>
                      </a:lnTo>
                      <a:lnTo>
                        <a:pt x="4362" y="1494"/>
                      </a:lnTo>
                      <a:lnTo>
                        <a:pt x="4374" y="1470"/>
                      </a:lnTo>
                      <a:lnTo>
                        <a:pt x="4362" y="1476"/>
                      </a:lnTo>
                      <a:lnTo>
                        <a:pt x="4356" y="1482"/>
                      </a:lnTo>
                      <a:lnTo>
                        <a:pt x="4344" y="1488"/>
                      </a:lnTo>
                      <a:lnTo>
                        <a:pt x="4332" y="1500"/>
                      </a:lnTo>
                      <a:lnTo>
                        <a:pt x="4332" y="1518"/>
                      </a:lnTo>
                      <a:lnTo>
                        <a:pt x="4302" y="1506"/>
                      </a:lnTo>
                      <a:lnTo>
                        <a:pt x="4308" y="1542"/>
                      </a:lnTo>
                      <a:lnTo>
                        <a:pt x="4284" y="1542"/>
                      </a:lnTo>
                      <a:lnTo>
                        <a:pt x="4272" y="1560"/>
                      </a:lnTo>
                      <a:lnTo>
                        <a:pt x="4278" y="1572"/>
                      </a:lnTo>
                      <a:lnTo>
                        <a:pt x="4254" y="1572"/>
                      </a:lnTo>
                      <a:lnTo>
                        <a:pt x="4230" y="1614"/>
                      </a:lnTo>
                      <a:lnTo>
                        <a:pt x="4218" y="1614"/>
                      </a:lnTo>
                      <a:lnTo>
                        <a:pt x="4236" y="1578"/>
                      </a:lnTo>
                      <a:lnTo>
                        <a:pt x="4224" y="1566"/>
                      </a:lnTo>
                      <a:lnTo>
                        <a:pt x="4212" y="1566"/>
                      </a:lnTo>
                      <a:lnTo>
                        <a:pt x="4194" y="1584"/>
                      </a:lnTo>
                      <a:lnTo>
                        <a:pt x="4182" y="1590"/>
                      </a:lnTo>
                      <a:lnTo>
                        <a:pt x="4176" y="1596"/>
                      </a:lnTo>
                      <a:lnTo>
                        <a:pt x="4164" y="1602"/>
                      </a:lnTo>
                      <a:lnTo>
                        <a:pt x="4158" y="1608"/>
                      </a:lnTo>
                      <a:lnTo>
                        <a:pt x="4146" y="1614"/>
                      </a:lnTo>
                      <a:lnTo>
                        <a:pt x="4140" y="1620"/>
                      </a:lnTo>
                      <a:lnTo>
                        <a:pt x="4116" y="1632"/>
                      </a:lnTo>
                      <a:lnTo>
                        <a:pt x="4110" y="1638"/>
                      </a:lnTo>
                      <a:lnTo>
                        <a:pt x="4116" y="1614"/>
                      </a:lnTo>
                      <a:lnTo>
                        <a:pt x="4116" y="1596"/>
                      </a:lnTo>
                      <a:lnTo>
                        <a:pt x="4080" y="1632"/>
                      </a:lnTo>
                      <a:lnTo>
                        <a:pt x="4014" y="1644"/>
                      </a:lnTo>
                      <a:lnTo>
                        <a:pt x="4074" y="1626"/>
                      </a:lnTo>
                      <a:lnTo>
                        <a:pt x="4080" y="1620"/>
                      </a:lnTo>
                      <a:lnTo>
                        <a:pt x="4092" y="1596"/>
                      </a:lnTo>
                      <a:lnTo>
                        <a:pt x="4098" y="1590"/>
                      </a:lnTo>
                      <a:lnTo>
                        <a:pt x="4098" y="1578"/>
                      </a:lnTo>
                      <a:lnTo>
                        <a:pt x="4092" y="1572"/>
                      </a:lnTo>
                      <a:lnTo>
                        <a:pt x="4050" y="1572"/>
                      </a:lnTo>
                      <a:lnTo>
                        <a:pt x="4038" y="1578"/>
                      </a:lnTo>
                      <a:lnTo>
                        <a:pt x="4032" y="1578"/>
                      </a:lnTo>
                      <a:lnTo>
                        <a:pt x="4020" y="1584"/>
                      </a:lnTo>
                      <a:lnTo>
                        <a:pt x="4002" y="1584"/>
                      </a:lnTo>
                      <a:lnTo>
                        <a:pt x="4002" y="1578"/>
                      </a:lnTo>
                      <a:lnTo>
                        <a:pt x="4008" y="1572"/>
                      </a:lnTo>
                      <a:lnTo>
                        <a:pt x="4020" y="1566"/>
                      </a:lnTo>
                      <a:lnTo>
                        <a:pt x="4026" y="1560"/>
                      </a:lnTo>
                      <a:lnTo>
                        <a:pt x="4032" y="1560"/>
                      </a:lnTo>
                      <a:lnTo>
                        <a:pt x="4032" y="1572"/>
                      </a:lnTo>
                      <a:lnTo>
                        <a:pt x="4050" y="1560"/>
                      </a:lnTo>
                      <a:lnTo>
                        <a:pt x="4044" y="1536"/>
                      </a:lnTo>
                      <a:lnTo>
                        <a:pt x="4050" y="1530"/>
                      </a:lnTo>
                      <a:lnTo>
                        <a:pt x="4062" y="1524"/>
                      </a:lnTo>
                      <a:lnTo>
                        <a:pt x="4074" y="1512"/>
                      </a:lnTo>
                      <a:lnTo>
                        <a:pt x="4074" y="1506"/>
                      </a:lnTo>
                      <a:lnTo>
                        <a:pt x="4068" y="1500"/>
                      </a:lnTo>
                      <a:lnTo>
                        <a:pt x="4056" y="1494"/>
                      </a:lnTo>
                      <a:lnTo>
                        <a:pt x="4044" y="1494"/>
                      </a:lnTo>
                      <a:lnTo>
                        <a:pt x="4032" y="1488"/>
                      </a:lnTo>
                      <a:lnTo>
                        <a:pt x="4014" y="1488"/>
                      </a:lnTo>
                      <a:lnTo>
                        <a:pt x="4044" y="1488"/>
                      </a:lnTo>
                      <a:lnTo>
                        <a:pt x="4056" y="1482"/>
                      </a:lnTo>
                      <a:lnTo>
                        <a:pt x="4074" y="1482"/>
                      </a:lnTo>
                      <a:lnTo>
                        <a:pt x="4086" y="1470"/>
                      </a:lnTo>
                      <a:lnTo>
                        <a:pt x="4098" y="1446"/>
                      </a:lnTo>
                      <a:lnTo>
                        <a:pt x="4104" y="1440"/>
                      </a:lnTo>
                      <a:lnTo>
                        <a:pt x="4110" y="1440"/>
                      </a:lnTo>
                      <a:lnTo>
                        <a:pt x="4122" y="1434"/>
                      </a:lnTo>
                      <a:lnTo>
                        <a:pt x="4128" y="1434"/>
                      </a:lnTo>
                      <a:lnTo>
                        <a:pt x="4134" y="1428"/>
                      </a:lnTo>
                      <a:lnTo>
                        <a:pt x="4122" y="1416"/>
                      </a:lnTo>
                      <a:lnTo>
                        <a:pt x="4110" y="1422"/>
                      </a:lnTo>
                      <a:lnTo>
                        <a:pt x="4098" y="1434"/>
                      </a:lnTo>
                      <a:lnTo>
                        <a:pt x="4092" y="1404"/>
                      </a:lnTo>
                      <a:lnTo>
                        <a:pt x="4068" y="1404"/>
                      </a:lnTo>
                      <a:lnTo>
                        <a:pt x="4050" y="1410"/>
                      </a:lnTo>
                      <a:lnTo>
                        <a:pt x="4026" y="1410"/>
                      </a:lnTo>
                      <a:lnTo>
                        <a:pt x="4020" y="1404"/>
                      </a:lnTo>
                      <a:lnTo>
                        <a:pt x="4020" y="1386"/>
                      </a:lnTo>
                      <a:lnTo>
                        <a:pt x="4038" y="1368"/>
                      </a:lnTo>
                      <a:lnTo>
                        <a:pt x="4032" y="1362"/>
                      </a:lnTo>
                      <a:lnTo>
                        <a:pt x="4014" y="1362"/>
                      </a:lnTo>
                      <a:lnTo>
                        <a:pt x="4008" y="1368"/>
                      </a:lnTo>
                      <a:lnTo>
                        <a:pt x="4020" y="1344"/>
                      </a:lnTo>
                      <a:lnTo>
                        <a:pt x="3984" y="1350"/>
                      </a:lnTo>
                      <a:lnTo>
                        <a:pt x="3984" y="1326"/>
                      </a:lnTo>
                      <a:lnTo>
                        <a:pt x="3978" y="1314"/>
                      </a:lnTo>
                      <a:lnTo>
                        <a:pt x="3972" y="1308"/>
                      </a:lnTo>
                      <a:lnTo>
                        <a:pt x="3948" y="1308"/>
                      </a:lnTo>
                      <a:lnTo>
                        <a:pt x="3930" y="1314"/>
                      </a:lnTo>
                      <a:lnTo>
                        <a:pt x="3906" y="1326"/>
                      </a:lnTo>
                      <a:lnTo>
                        <a:pt x="3900" y="1332"/>
                      </a:lnTo>
                      <a:lnTo>
                        <a:pt x="3894" y="1332"/>
                      </a:lnTo>
                      <a:lnTo>
                        <a:pt x="3888" y="1326"/>
                      </a:lnTo>
                      <a:lnTo>
                        <a:pt x="3876" y="1320"/>
                      </a:lnTo>
                      <a:lnTo>
                        <a:pt x="3864" y="1320"/>
                      </a:lnTo>
                      <a:lnTo>
                        <a:pt x="3852" y="1326"/>
                      </a:lnTo>
                      <a:lnTo>
                        <a:pt x="3846" y="1326"/>
                      </a:lnTo>
                      <a:lnTo>
                        <a:pt x="3834" y="1332"/>
                      </a:lnTo>
                      <a:lnTo>
                        <a:pt x="3822" y="1326"/>
                      </a:lnTo>
                      <a:lnTo>
                        <a:pt x="3762" y="1302"/>
                      </a:lnTo>
                      <a:lnTo>
                        <a:pt x="3738" y="1302"/>
                      </a:lnTo>
                      <a:lnTo>
                        <a:pt x="3714" y="1314"/>
                      </a:lnTo>
                      <a:lnTo>
                        <a:pt x="3708" y="1326"/>
                      </a:lnTo>
                      <a:lnTo>
                        <a:pt x="3702" y="1326"/>
                      </a:lnTo>
                      <a:lnTo>
                        <a:pt x="3684" y="1344"/>
                      </a:lnTo>
                      <a:lnTo>
                        <a:pt x="3684" y="1350"/>
                      </a:lnTo>
                      <a:lnTo>
                        <a:pt x="3696" y="1356"/>
                      </a:lnTo>
                      <a:lnTo>
                        <a:pt x="3702" y="1362"/>
                      </a:lnTo>
                      <a:lnTo>
                        <a:pt x="3708" y="1374"/>
                      </a:lnTo>
                      <a:lnTo>
                        <a:pt x="3708" y="1380"/>
                      </a:lnTo>
                      <a:lnTo>
                        <a:pt x="3702" y="1386"/>
                      </a:lnTo>
                      <a:lnTo>
                        <a:pt x="3690" y="1392"/>
                      </a:lnTo>
                      <a:lnTo>
                        <a:pt x="3672" y="1410"/>
                      </a:lnTo>
                      <a:lnTo>
                        <a:pt x="3660" y="1416"/>
                      </a:lnTo>
                      <a:lnTo>
                        <a:pt x="3636" y="1422"/>
                      </a:lnTo>
                      <a:lnTo>
                        <a:pt x="3660" y="1440"/>
                      </a:lnTo>
                      <a:lnTo>
                        <a:pt x="3654" y="1446"/>
                      </a:lnTo>
                      <a:lnTo>
                        <a:pt x="3642" y="1446"/>
                      </a:lnTo>
                      <a:lnTo>
                        <a:pt x="3636" y="1452"/>
                      </a:lnTo>
                      <a:lnTo>
                        <a:pt x="3636" y="1470"/>
                      </a:lnTo>
                      <a:lnTo>
                        <a:pt x="3642" y="1482"/>
                      </a:lnTo>
                      <a:lnTo>
                        <a:pt x="3642" y="1488"/>
                      </a:lnTo>
                      <a:lnTo>
                        <a:pt x="3636" y="1500"/>
                      </a:lnTo>
                      <a:lnTo>
                        <a:pt x="3624" y="1506"/>
                      </a:lnTo>
                      <a:lnTo>
                        <a:pt x="3618" y="1512"/>
                      </a:lnTo>
                      <a:lnTo>
                        <a:pt x="3606" y="1512"/>
                      </a:lnTo>
                      <a:lnTo>
                        <a:pt x="3582" y="1524"/>
                      </a:lnTo>
                      <a:lnTo>
                        <a:pt x="3576" y="1536"/>
                      </a:lnTo>
                      <a:lnTo>
                        <a:pt x="3576" y="1548"/>
                      </a:lnTo>
                      <a:lnTo>
                        <a:pt x="3570" y="1548"/>
                      </a:lnTo>
                      <a:lnTo>
                        <a:pt x="3564" y="1554"/>
                      </a:lnTo>
                      <a:lnTo>
                        <a:pt x="3552" y="1554"/>
                      </a:lnTo>
                      <a:lnTo>
                        <a:pt x="3540" y="1560"/>
                      </a:lnTo>
                      <a:lnTo>
                        <a:pt x="3534" y="1566"/>
                      </a:lnTo>
                      <a:lnTo>
                        <a:pt x="3522" y="1572"/>
                      </a:lnTo>
                      <a:lnTo>
                        <a:pt x="3504" y="1590"/>
                      </a:lnTo>
                      <a:lnTo>
                        <a:pt x="3510" y="1596"/>
                      </a:lnTo>
                      <a:lnTo>
                        <a:pt x="3522" y="1602"/>
                      </a:lnTo>
                      <a:lnTo>
                        <a:pt x="3534" y="1614"/>
                      </a:lnTo>
                      <a:lnTo>
                        <a:pt x="3552" y="1620"/>
                      </a:lnTo>
                      <a:lnTo>
                        <a:pt x="3558" y="1632"/>
                      </a:lnTo>
                      <a:lnTo>
                        <a:pt x="3564" y="1638"/>
                      </a:lnTo>
                      <a:lnTo>
                        <a:pt x="3564" y="1662"/>
                      </a:lnTo>
                      <a:lnTo>
                        <a:pt x="3558" y="1698"/>
                      </a:lnTo>
                      <a:lnTo>
                        <a:pt x="3540" y="1746"/>
                      </a:lnTo>
                      <a:lnTo>
                        <a:pt x="3510" y="1776"/>
                      </a:lnTo>
                      <a:lnTo>
                        <a:pt x="3468" y="1800"/>
                      </a:lnTo>
                      <a:lnTo>
                        <a:pt x="3426" y="1830"/>
                      </a:lnTo>
                      <a:lnTo>
                        <a:pt x="3390" y="1854"/>
                      </a:lnTo>
                      <a:lnTo>
                        <a:pt x="3366" y="1860"/>
                      </a:lnTo>
                      <a:lnTo>
                        <a:pt x="3336" y="1860"/>
                      </a:lnTo>
                      <a:lnTo>
                        <a:pt x="3300" y="1866"/>
                      </a:lnTo>
                      <a:lnTo>
                        <a:pt x="3276" y="1872"/>
                      </a:lnTo>
                      <a:lnTo>
                        <a:pt x="3258" y="1878"/>
                      </a:lnTo>
                      <a:lnTo>
                        <a:pt x="3258" y="1902"/>
                      </a:lnTo>
                      <a:lnTo>
                        <a:pt x="3264" y="1914"/>
                      </a:lnTo>
                      <a:lnTo>
                        <a:pt x="3264" y="1926"/>
                      </a:lnTo>
                      <a:lnTo>
                        <a:pt x="3270" y="1938"/>
                      </a:lnTo>
                      <a:lnTo>
                        <a:pt x="3270" y="1950"/>
                      </a:lnTo>
                      <a:lnTo>
                        <a:pt x="3252" y="1968"/>
                      </a:lnTo>
                      <a:lnTo>
                        <a:pt x="3234" y="2004"/>
                      </a:lnTo>
                      <a:lnTo>
                        <a:pt x="3234" y="2076"/>
                      </a:lnTo>
                      <a:lnTo>
                        <a:pt x="3210" y="2088"/>
                      </a:lnTo>
                      <a:lnTo>
                        <a:pt x="3204" y="2094"/>
                      </a:lnTo>
                      <a:lnTo>
                        <a:pt x="3180" y="2106"/>
                      </a:lnTo>
                      <a:lnTo>
                        <a:pt x="3180" y="2142"/>
                      </a:lnTo>
                      <a:lnTo>
                        <a:pt x="3156" y="2166"/>
                      </a:lnTo>
                      <a:lnTo>
                        <a:pt x="3156" y="2154"/>
                      </a:lnTo>
                      <a:lnTo>
                        <a:pt x="3162" y="2148"/>
                      </a:lnTo>
                      <a:lnTo>
                        <a:pt x="3162" y="2142"/>
                      </a:lnTo>
                      <a:lnTo>
                        <a:pt x="3156" y="2130"/>
                      </a:lnTo>
                      <a:lnTo>
                        <a:pt x="3138" y="2130"/>
                      </a:lnTo>
                      <a:lnTo>
                        <a:pt x="3126" y="2136"/>
                      </a:lnTo>
                      <a:lnTo>
                        <a:pt x="3108" y="2154"/>
                      </a:lnTo>
                      <a:lnTo>
                        <a:pt x="3108" y="2166"/>
                      </a:lnTo>
                      <a:lnTo>
                        <a:pt x="3114" y="2178"/>
                      </a:lnTo>
                      <a:lnTo>
                        <a:pt x="3114" y="2190"/>
                      </a:lnTo>
                      <a:lnTo>
                        <a:pt x="3108" y="2196"/>
                      </a:lnTo>
                      <a:lnTo>
                        <a:pt x="3108" y="2178"/>
                      </a:lnTo>
                      <a:lnTo>
                        <a:pt x="3102" y="2166"/>
                      </a:lnTo>
                      <a:lnTo>
                        <a:pt x="3090" y="2154"/>
                      </a:lnTo>
                      <a:lnTo>
                        <a:pt x="3078" y="2154"/>
                      </a:lnTo>
                      <a:lnTo>
                        <a:pt x="3066" y="2160"/>
                      </a:lnTo>
                      <a:lnTo>
                        <a:pt x="3042" y="2160"/>
                      </a:lnTo>
                      <a:lnTo>
                        <a:pt x="3036" y="2166"/>
                      </a:lnTo>
                      <a:lnTo>
                        <a:pt x="3030" y="2166"/>
                      </a:lnTo>
                      <a:lnTo>
                        <a:pt x="3042" y="2160"/>
                      </a:lnTo>
                      <a:lnTo>
                        <a:pt x="3060" y="2142"/>
                      </a:lnTo>
                      <a:lnTo>
                        <a:pt x="3072" y="2136"/>
                      </a:lnTo>
                      <a:lnTo>
                        <a:pt x="3078" y="2124"/>
                      </a:lnTo>
                      <a:lnTo>
                        <a:pt x="3078" y="2118"/>
                      </a:lnTo>
                      <a:lnTo>
                        <a:pt x="3072" y="2106"/>
                      </a:lnTo>
                      <a:lnTo>
                        <a:pt x="3060" y="2100"/>
                      </a:lnTo>
                      <a:lnTo>
                        <a:pt x="3048" y="2088"/>
                      </a:lnTo>
                      <a:lnTo>
                        <a:pt x="3030" y="2088"/>
                      </a:lnTo>
                      <a:lnTo>
                        <a:pt x="3024" y="2082"/>
                      </a:lnTo>
                      <a:lnTo>
                        <a:pt x="3018" y="2082"/>
                      </a:lnTo>
                      <a:lnTo>
                        <a:pt x="3024" y="2082"/>
                      </a:lnTo>
                      <a:lnTo>
                        <a:pt x="3042" y="2064"/>
                      </a:lnTo>
                      <a:lnTo>
                        <a:pt x="3042" y="2058"/>
                      </a:lnTo>
                      <a:lnTo>
                        <a:pt x="3030" y="2034"/>
                      </a:lnTo>
                      <a:lnTo>
                        <a:pt x="3030" y="2028"/>
                      </a:lnTo>
                      <a:lnTo>
                        <a:pt x="3024" y="2016"/>
                      </a:lnTo>
                      <a:lnTo>
                        <a:pt x="3060" y="1992"/>
                      </a:lnTo>
                      <a:lnTo>
                        <a:pt x="3060" y="1968"/>
                      </a:lnTo>
                      <a:lnTo>
                        <a:pt x="3084" y="1956"/>
                      </a:lnTo>
                      <a:lnTo>
                        <a:pt x="3084" y="1914"/>
                      </a:lnTo>
                      <a:lnTo>
                        <a:pt x="3090" y="1914"/>
                      </a:lnTo>
                      <a:lnTo>
                        <a:pt x="3102" y="1902"/>
                      </a:lnTo>
                      <a:lnTo>
                        <a:pt x="3114" y="1896"/>
                      </a:lnTo>
                      <a:lnTo>
                        <a:pt x="3132" y="1878"/>
                      </a:lnTo>
                      <a:lnTo>
                        <a:pt x="3126" y="1866"/>
                      </a:lnTo>
                      <a:lnTo>
                        <a:pt x="3120" y="1860"/>
                      </a:lnTo>
                      <a:lnTo>
                        <a:pt x="3084" y="1848"/>
                      </a:lnTo>
                      <a:lnTo>
                        <a:pt x="2976" y="1848"/>
                      </a:lnTo>
                      <a:lnTo>
                        <a:pt x="2940" y="1860"/>
                      </a:lnTo>
                      <a:lnTo>
                        <a:pt x="2946" y="1848"/>
                      </a:lnTo>
                      <a:lnTo>
                        <a:pt x="2952" y="1842"/>
                      </a:lnTo>
                      <a:lnTo>
                        <a:pt x="2952" y="1830"/>
                      </a:lnTo>
                      <a:lnTo>
                        <a:pt x="2958" y="1824"/>
                      </a:lnTo>
                      <a:lnTo>
                        <a:pt x="2952" y="1818"/>
                      </a:lnTo>
                      <a:lnTo>
                        <a:pt x="2940" y="1812"/>
                      </a:lnTo>
                      <a:lnTo>
                        <a:pt x="2928" y="1812"/>
                      </a:lnTo>
                      <a:lnTo>
                        <a:pt x="2892" y="1800"/>
                      </a:lnTo>
                      <a:lnTo>
                        <a:pt x="2874" y="1800"/>
                      </a:lnTo>
                      <a:lnTo>
                        <a:pt x="2868" y="1794"/>
                      </a:lnTo>
                      <a:lnTo>
                        <a:pt x="2862" y="1794"/>
                      </a:lnTo>
                      <a:lnTo>
                        <a:pt x="2862" y="1770"/>
                      </a:lnTo>
                      <a:lnTo>
                        <a:pt x="2856" y="1752"/>
                      </a:lnTo>
                      <a:lnTo>
                        <a:pt x="2844" y="1740"/>
                      </a:lnTo>
                      <a:lnTo>
                        <a:pt x="2790" y="1722"/>
                      </a:lnTo>
                      <a:lnTo>
                        <a:pt x="2778" y="1722"/>
                      </a:lnTo>
                      <a:lnTo>
                        <a:pt x="2778" y="1716"/>
                      </a:lnTo>
                      <a:lnTo>
                        <a:pt x="2766" y="1704"/>
                      </a:lnTo>
                      <a:lnTo>
                        <a:pt x="2754" y="1704"/>
                      </a:lnTo>
                      <a:lnTo>
                        <a:pt x="2736" y="1698"/>
                      </a:lnTo>
                      <a:lnTo>
                        <a:pt x="2694" y="1698"/>
                      </a:lnTo>
                      <a:lnTo>
                        <a:pt x="2646" y="1704"/>
                      </a:lnTo>
                      <a:lnTo>
                        <a:pt x="2610" y="1716"/>
                      </a:lnTo>
                      <a:lnTo>
                        <a:pt x="2592" y="1716"/>
                      </a:lnTo>
                      <a:lnTo>
                        <a:pt x="2598" y="1716"/>
                      </a:lnTo>
                      <a:lnTo>
                        <a:pt x="2604" y="1710"/>
                      </a:lnTo>
                      <a:lnTo>
                        <a:pt x="2616" y="1710"/>
                      </a:lnTo>
                      <a:lnTo>
                        <a:pt x="2628" y="1704"/>
                      </a:lnTo>
                      <a:lnTo>
                        <a:pt x="2634" y="1692"/>
                      </a:lnTo>
                      <a:lnTo>
                        <a:pt x="2640" y="1686"/>
                      </a:lnTo>
                      <a:lnTo>
                        <a:pt x="2646" y="1662"/>
                      </a:lnTo>
                      <a:lnTo>
                        <a:pt x="2658" y="1632"/>
                      </a:lnTo>
                      <a:lnTo>
                        <a:pt x="2664" y="1602"/>
                      </a:lnTo>
                      <a:lnTo>
                        <a:pt x="2670" y="1590"/>
                      </a:lnTo>
                      <a:lnTo>
                        <a:pt x="2658" y="1590"/>
                      </a:lnTo>
                      <a:lnTo>
                        <a:pt x="2646" y="1584"/>
                      </a:lnTo>
                      <a:lnTo>
                        <a:pt x="2616" y="1584"/>
                      </a:lnTo>
                      <a:lnTo>
                        <a:pt x="2610" y="1590"/>
                      </a:lnTo>
                      <a:lnTo>
                        <a:pt x="2598" y="1596"/>
                      </a:lnTo>
                      <a:lnTo>
                        <a:pt x="2592" y="1602"/>
                      </a:lnTo>
                      <a:lnTo>
                        <a:pt x="2580" y="1608"/>
                      </a:lnTo>
                      <a:lnTo>
                        <a:pt x="2598" y="1578"/>
                      </a:lnTo>
                      <a:lnTo>
                        <a:pt x="2592" y="1560"/>
                      </a:lnTo>
                      <a:lnTo>
                        <a:pt x="2610" y="1542"/>
                      </a:lnTo>
                      <a:lnTo>
                        <a:pt x="2616" y="1530"/>
                      </a:lnTo>
                      <a:lnTo>
                        <a:pt x="2640" y="1506"/>
                      </a:lnTo>
                      <a:lnTo>
                        <a:pt x="2646" y="1494"/>
                      </a:lnTo>
                      <a:lnTo>
                        <a:pt x="2664" y="1476"/>
                      </a:lnTo>
                      <a:lnTo>
                        <a:pt x="2694" y="1452"/>
                      </a:lnTo>
                      <a:lnTo>
                        <a:pt x="2730" y="1428"/>
                      </a:lnTo>
                      <a:lnTo>
                        <a:pt x="2754" y="1410"/>
                      </a:lnTo>
                      <a:lnTo>
                        <a:pt x="2766" y="1404"/>
                      </a:lnTo>
                      <a:lnTo>
                        <a:pt x="2760" y="1392"/>
                      </a:lnTo>
                      <a:lnTo>
                        <a:pt x="2826" y="1368"/>
                      </a:lnTo>
                      <a:lnTo>
                        <a:pt x="2826" y="1350"/>
                      </a:lnTo>
                      <a:lnTo>
                        <a:pt x="2868" y="1344"/>
                      </a:lnTo>
                      <a:lnTo>
                        <a:pt x="2868" y="1326"/>
                      </a:lnTo>
                      <a:lnTo>
                        <a:pt x="2898" y="1320"/>
                      </a:lnTo>
                      <a:lnTo>
                        <a:pt x="2952" y="1284"/>
                      </a:lnTo>
                      <a:lnTo>
                        <a:pt x="3006" y="1284"/>
                      </a:lnTo>
                      <a:lnTo>
                        <a:pt x="3042" y="1278"/>
                      </a:lnTo>
                      <a:lnTo>
                        <a:pt x="3060" y="1266"/>
                      </a:lnTo>
                      <a:lnTo>
                        <a:pt x="3060" y="1254"/>
                      </a:lnTo>
                      <a:lnTo>
                        <a:pt x="3030" y="1224"/>
                      </a:lnTo>
                      <a:lnTo>
                        <a:pt x="2970" y="1230"/>
                      </a:lnTo>
                      <a:lnTo>
                        <a:pt x="2982" y="1218"/>
                      </a:lnTo>
                      <a:lnTo>
                        <a:pt x="2928" y="1194"/>
                      </a:lnTo>
                      <a:lnTo>
                        <a:pt x="2952" y="1188"/>
                      </a:lnTo>
                      <a:lnTo>
                        <a:pt x="3036" y="1212"/>
                      </a:lnTo>
                      <a:lnTo>
                        <a:pt x="3054" y="1230"/>
                      </a:lnTo>
                      <a:lnTo>
                        <a:pt x="3066" y="1236"/>
                      </a:lnTo>
                      <a:lnTo>
                        <a:pt x="3096" y="1236"/>
                      </a:lnTo>
                      <a:lnTo>
                        <a:pt x="3108" y="1230"/>
                      </a:lnTo>
                      <a:lnTo>
                        <a:pt x="3114" y="1218"/>
                      </a:lnTo>
                      <a:lnTo>
                        <a:pt x="3126" y="1206"/>
                      </a:lnTo>
                      <a:lnTo>
                        <a:pt x="3132" y="1194"/>
                      </a:lnTo>
                      <a:lnTo>
                        <a:pt x="3144" y="1188"/>
                      </a:lnTo>
                      <a:lnTo>
                        <a:pt x="3150" y="1182"/>
                      </a:lnTo>
                      <a:lnTo>
                        <a:pt x="3156" y="1182"/>
                      </a:lnTo>
                      <a:lnTo>
                        <a:pt x="3180" y="1194"/>
                      </a:lnTo>
                      <a:lnTo>
                        <a:pt x="3198" y="1200"/>
                      </a:lnTo>
                      <a:lnTo>
                        <a:pt x="3210" y="1200"/>
                      </a:lnTo>
                      <a:lnTo>
                        <a:pt x="3246" y="1182"/>
                      </a:lnTo>
                      <a:lnTo>
                        <a:pt x="3282" y="1170"/>
                      </a:lnTo>
                      <a:lnTo>
                        <a:pt x="3318" y="1152"/>
                      </a:lnTo>
                      <a:lnTo>
                        <a:pt x="3336" y="1146"/>
                      </a:lnTo>
                      <a:lnTo>
                        <a:pt x="3360" y="1134"/>
                      </a:lnTo>
                      <a:lnTo>
                        <a:pt x="3372" y="1122"/>
                      </a:lnTo>
                      <a:lnTo>
                        <a:pt x="3366" y="1116"/>
                      </a:lnTo>
                      <a:lnTo>
                        <a:pt x="3342" y="1110"/>
                      </a:lnTo>
                      <a:lnTo>
                        <a:pt x="3264" y="1110"/>
                      </a:lnTo>
                      <a:lnTo>
                        <a:pt x="3258" y="1086"/>
                      </a:lnTo>
                      <a:lnTo>
                        <a:pt x="3174" y="1056"/>
                      </a:lnTo>
                      <a:lnTo>
                        <a:pt x="3186" y="1056"/>
                      </a:lnTo>
                      <a:lnTo>
                        <a:pt x="3216" y="1050"/>
                      </a:lnTo>
                      <a:lnTo>
                        <a:pt x="3252" y="1050"/>
                      </a:lnTo>
                      <a:lnTo>
                        <a:pt x="3282" y="1056"/>
                      </a:lnTo>
                      <a:lnTo>
                        <a:pt x="3294" y="1062"/>
                      </a:lnTo>
                      <a:lnTo>
                        <a:pt x="3306" y="1074"/>
                      </a:lnTo>
                      <a:lnTo>
                        <a:pt x="3324" y="1086"/>
                      </a:lnTo>
                      <a:lnTo>
                        <a:pt x="3336" y="1098"/>
                      </a:lnTo>
                      <a:lnTo>
                        <a:pt x="3348" y="1104"/>
                      </a:lnTo>
                      <a:lnTo>
                        <a:pt x="3372" y="1098"/>
                      </a:lnTo>
                      <a:lnTo>
                        <a:pt x="3408" y="1080"/>
                      </a:lnTo>
                      <a:lnTo>
                        <a:pt x="3444" y="1068"/>
                      </a:lnTo>
                      <a:lnTo>
                        <a:pt x="3474" y="1050"/>
                      </a:lnTo>
                      <a:lnTo>
                        <a:pt x="3486" y="1044"/>
                      </a:lnTo>
                      <a:lnTo>
                        <a:pt x="3462" y="1032"/>
                      </a:lnTo>
                      <a:lnTo>
                        <a:pt x="3468" y="1026"/>
                      </a:lnTo>
                      <a:lnTo>
                        <a:pt x="3492" y="1014"/>
                      </a:lnTo>
                      <a:lnTo>
                        <a:pt x="3522" y="1014"/>
                      </a:lnTo>
                      <a:lnTo>
                        <a:pt x="3528" y="1020"/>
                      </a:lnTo>
                      <a:lnTo>
                        <a:pt x="3534" y="1032"/>
                      </a:lnTo>
                      <a:lnTo>
                        <a:pt x="3540" y="1038"/>
                      </a:lnTo>
                      <a:lnTo>
                        <a:pt x="3570" y="1050"/>
                      </a:lnTo>
                      <a:lnTo>
                        <a:pt x="3576" y="1026"/>
                      </a:lnTo>
                      <a:lnTo>
                        <a:pt x="3594" y="1044"/>
                      </a:lnTo>
                      <a:lnTo>
                        <a:pt x="3600" y="1038"/>
                      </a:lnTo>
                      <a:lnTo>
                        <a:pt x="3600" y="1026"/>
                      </a:lnTo>
                      <a:lnTo>
                        <a:pt x="3594" y="1014"/>
                      </a:lnTo>
                      <a:lnTo>
                        <a:pt x="3582" y="1002"/>
                      </a:lnTo>
                      <a:lnTo>
                        <a:pt x="3564" y="990"/>
                      </a:lnTo>
                      <a:lnTo>
                        <a:pt x="3606" y="984"/>
                      </a:lnTo>
                      <a:lnTo>
                        <a:pt x="3606" y="990"/>
                      </a:lnTo>
                      <a:lnTo>
                        <a:pt x="3612" y="996"/>
                      </a:lnTo>
                      <a:lnTo>
                        <a:pt x="3612" y="1008"/>
                      </a:lnTo>
                      <a:lnTo>
                        <a:pt x="3624" y="1032"/>
                      </a:lnTo>
                      <a:lnTo>
                        <a:pt x="3630" y="1038"/>
                      </a:lnTo>
                      <a:lnTo>
                        <a:pt x="3636" y="1038"/>
                      </a:lnTo>
                      <a:lnTo>
                        <a:pt x="3654" y="1032"/>
                      </a:lnTo>
                      <a:lnTo>
                        <a:pt x="3690" y="1026"/>
                      </a:lnTo>
                      <a:lnTo>
                        <a:pt x="3732" y="1008"/>
                      </a:lnTo>
                      <a:lnTo>
                        <a:pt x="3768" y="990"/>
                      </a:lnTo>
                      <a:lnTo>
                        <a:pt x="3798" y="972"/>
                      </a:lnTo>
                      <a:lnTo>
                        <a:pt x="3798" y="960"/>
                      </a:lnTo>
                      <a:lnTo>
                        <a:pt x="3786" y="942"/>
                      </a:lnTo>
                      <a:lnTo>
                        <a:pt x="3780" y="930"/>
                      </a:lnTo>
                      <a:lnTo>
                        <a:pt x="3774" y="912"/>
                      </a:lnTo>
                      <a:lnTo>
                        <a:pt x="3774" y="900"/>
                      </a:lnTo>
                      <a:lnTo>
                        <a:pt x="3780" y="894"/>
                      </a:lnTo>
                      <a:lnTo>
                        <a:pt x="3792" y="894"/>
                      </a:lnTo>
                      <a:lnTo>
                        <a:pt x="3804" y="888"/>
                      </a:lnTo>
                      <a:lnTo>
                        <a:pt x="3822" y="888"/>
                      </a:lnTo>
                      <a:lnTo>
                        <a:pt x="3840" y="882"/>
                      </a:lnTo>
                      <a:lnTo>
                        <a:pt x="3858" y="882"/>
                      </a:lnTo>
                      <a:lnTo>
                        <a:pt x="3864" y="876"/>
                      </a:lnTo>
                      <a:lnTo>
                        <a:pt x="3870" y="876"/>
                      </a:lnTo>
                      <a:lnTo>
                        <a:pt x="3870" y="858"/>
                      </a:lnTo>
                      <a:lnTo>
                        <a:pt x="3864" y="846"/>
                      </a:lnTo>
                      <a:lnTo>
                        <a:pt x="3864" y="840"/>
                      </a:lnTo>
                      <a:lnTo>
                        <a:pt x="3858" y="828"/>
                      </a:lnTo>
                      <a:lnTo>
                        <a:pt x="3840" y="804"/>
                      </a:lnTo>
                      <a:lnTo>
                        <a:pt x="3822" y="798"/>
                      </a:lnTo>
                      <a:lnTo>
                        <a:pt x="3786" y="792"/>
                      </a:lnTo>
                      <a:lnTo>
                        <a:pt x="3744" y="792"/>
                      </a:lnTo>
                      <a:lnTo>
                        <a:pt x="3708" y="804"/>
                      </a:lnTo>
                      <a:lnTo>
                        <a:pt x="3690" y="822"/>
                      </a:lnTo>
                      <a:lnTo>
                        <a:pt x="3690" y="840"/>
                      </a:lnTo>
                      <a:lnTo>
                        <a:pt x="3696" y="840"/>
                      </a:lnTo>
                      <a:lnTo>
                        <a:pt x="3702" y="846"/>
                      </a:lnTo>
                      <a:lnTo>
                        <a:pt x="3666" y="870"/>
                      </a:lnTo>
                      <a:lnTo>
                        <a:pt x="3642" y="870"/>
                      </a:lnTo>
                      <a:lnTo>
                        <a:pt x="3576" y="918"/>
                      </a:lnTo>
                      <a:lnTo>
                        <a:pt x="3552" y="930"/>
                      </a:lnTo>
                      <a:lnTo>
                        <a:pt x="3546" y="936"/>
                      </a:lnTo>
                      <a:lnTo>
                        <a:pt x="3540" y="948"/>
                      </a:lnTo>
                      <a:lnTo>
                        <a:pt x="3522" y="966"/>
                      </a:lnTo>
                      <a:lnTo>
                        <a:pt x="3492" y="966"/>
                      </a:lnTo>
                      <a:lnTo>
                        <a:pt x="3456" y="984"/>
                      </a:lnTo>
                      <a:lnTo>
                        <a:pt x="3456" y="972"/>
                      </a:lnTo>
                      <a:lnTo>
                        <a:pt x="3450" y="954"/>
                      </a:lnTo>
                      <a:lnTo>
                        <a:pt x="3450" y="918"/>
                      </a:lnTo>
                      <a:lnTo>
                        <a:pt x="3456" y="912"/>
                      </a:lnTo>
                      <a:lnTo>
                        <a:pt x="3480" y="900"/>
                      </a:lnTo>
                      <a:lnTo>
                        <a:pt x="3498" y="900"/>
                      </a:lnTo>
                      <a:lnTo>
                        <a:pt x="3510" y="894"/>
                      </a:lnTo>
                      <a:lnTo>
                        <a:pt x="3516" y="882"/>
                      </a:lnTo>
                      <a:lnTo>
                        <a:pt x="3516" y="870"/>
                      </a:lnTo>
                      <a:lnTo>
                        <a:pt x="3510" y="852"/>
                      </a:lnTo>
                      <a:lnTo>
                        <a:pt x="3504" y="846"/>
                      </a:lnTo>
                      <a:lnTo>
                        <a:pt x="3498" y="834"/>
                      </a:lnTo>
                      <a:lnTo>
                        <a:pt x="3486" y="834"/>
                      </a:lnTo>
                      <a:lnTo>
                        <a:pt x="3450" y="852"/>
                      </a:lnTo>
                      <a:lnTo>
                        <a:pt x="3432" y="858"/>
                      </a:lnTo>
                      <a:lnTo>
                        <a:pt x="3420" y="864"/>
                      </a:lnTo>
                      <a:lnTo>
                        <a:pt x="3414" y="870"/>
                      </a:lnTo>
                      <a:lnTo>
                        <a:pt x="3408" y="870"/>
                      </a:lnTo>
                      <a:lnTo>
                        <a:pt x="3378" y="900"/>
                      </a:lnTo>
                      <a:lnTo>
                        <a:pt x="3372" y="888"/>
                      </a:lnTo>
                      <a:lnTo>
                        <a:pt x="3396" y="858"/>
                      </a:lnTo>
                      <a:lnTo>
                        <a:pt x="3396" y="840"/>
                      </a:lnTo>
                      <a:lnTo>
                        <a:pt x="3438" y="822"/>
                      </a:lnTo>
                      <a:lnTo>
                        <a:pt x="3402" y="816"/>
                      </a:lnTo>
                      <a:lnTo>
                        <a:pt x="3408" y="804"/>
                      </a:lnTo>
                      <a:lnTo>
                        <a:pt x="3360" y="816"/>
                      </a:lnTo>
                      <a:lnTo>
                        <a:pt x="3336" y="804"/>
                      </a:lnTo>
                      <a:lnTo>
                        <a:pt x="3378" y="792"/>
                      </a:lnTo>
                      <a:lnTo>
                        <a:pt x="3378" y="774"/>
                      </a:lnTo>
                      <a:lnTo>
                        <a:pt x="3390" y="774"/>
                      </a:lnTo>
                      <a:lnTo>
                        <a:pt x="3396" y="780"/>
                      </a:lnTo>
                      <a:lnTo>
                        <a:pt x="3420" y="780"/>
                      </a:lnTo>
                      <a:lnTo>
                        <a:pt x="3426" y="774"/>
                      </a:lnTo>
                      <a:lnTo>
                        <a:pt x="3426" y="762"/>
                      </a:lnTo>
                      <a:lnTo>
                        <a:pt x="3420" y="756"/>
                      </a:lnTo>
                      <a:lnTo>
                        <a:pt x="3408" y="756"/>
                      </a:lnTo>
                      <a:lnTo>
                        <a:pt x="3396" y="744"/>
                      </a:lnTo>
                      <a:lnTo>
                        <a:pt x="3396" y="738"/>
                      </a:lnTo>
                      <a:lnTo>
                        <a:pt x="3420" y="690"/>
                      </a:lnTo>
                      <a:lnTo>
                        <a:pt x="3426" y="684"/>
                      </a:lnTo>
                      <a:lnTo>
                        <a:pt x="3426" y="672"/>
                      </a:lnTo>
                      <a:lnTo>
                        <a:pt x="3420" y="666"/>
                      </a:lnTo>
                      <a:lnTo>
                        <a:pt x="3414" y="666"/>
                      </a:lnTo>
                      <a:lnTo>
                        <a:pt x="3372" y="648"/>
                      </a:lnTo>
                      <a:lnTo>
                        <a:pt x="3348" y="660"/>
                      </a:lnTo>
                      <a:lnTo>
                        <a:pt x="3336" y="660"/>
                      </a:lnTo>
                      <a:lnTo>
                        <a:pt x="3318" y="666"/>
                      </a:lnTo>
                      <a:lnTo>
                        <a:pt x="3312" y="666"/>
                      </a:lnTo>
                      <a:lnTo>
                        <a:pt x="3306" y="672"/>
                      </a:lnTo>
                      <a:lnTo>
                        <a:pt x="3306" y="690"/>
                      </a:lnTo>
                      <a:lnTo>
                        <a:pt x="3240" y="690"/>
                      </a:lnTo>
                      <a:lnTo>
                        <a:pt x="3228" y="696"/>
                      </a:lnTo>
                      <a:lnTo>
                        <a:pt x="3222" y="702"/>
                      </a:lnTo>
                      <a:lnTo>
                        <a:pt x="3210" y="708"/>
                      </a:lnTo>
                      <a:lnTo>
                        <a:pt x="3198" y="720"/>
                      </a:lnTo>
                      <a:lnTo>
                        <a:pt x="3204" y="726"/>
                      </a:lnTo>
                      <a:lnTo>
                        <a:pt x="3216" y="732"/>
                      </a:lnTo>
                      <a:lnTo>
                        <a:pt x="3228" y="732"/>
                      </a:lnTo>
                      <a:lnTo>
                        <a:pt x="3234" y="738"/>
                      </a:lnTo>
                      <a:lnTo>
                        <a:pt x="3228" y="738"/>
                      </a:lnTo>
                      <a:lnTo>
                        <a:pt x="3222" y="744"/>
                      </a:lnTo>
                      <a:lnTo>
                        <a:pt x="3204" y="744"/>
                      </a:lnTo>
                      <a:lnTo>
                        <a:pt x="3180" y="756"/>
                      </a:lnTo>
                      <a:lnTo>
                        <a:pt x="3168" y="768"/>
                      </a:lnTo>
                      <a:lnTo>
                        <a:pt x="3168" y="774"/>
                      </a:lnTo>
                      <a:lnTo>
                        <a:pt x="3174" y="786"/>
                      </a:lnTo>
                      <a:lnTo>
                        <a:pt x="3186" y="798"/>
                      </a:lnTo>
                      <a:lnTo>
                        <a:pt x="3198" y="804"/>
                      </a:lnTo>
                      <a:lnTo>
                        <a:pt x="3204" y="810"/>
                      </a:lnTo>
                      <a:lnTo>
                        <a:pt x="3210" y="810"/>
                      </a:lnTo>
                      <a:lnTo>
                        <a:pt x="3234" y="798"/>
                      </a:lnTo>
                      <a:lnTo>
                        <a:pt x="3234" y="822"/>
                      </a:lnTo>
                      <a:lnTo>
                        <a:pt x="3240" y="828"/>
                      </a:lnTo>
                      <a:lnTo>
                        <a:pt x="3246" y="828"/>
                      </a:lnTo>
                      <a:lnTo>
                        <a:pt x="3258" y="822"/>
                      </a:lnTo>
                      <a:lnTo>
                        <a:pt x="3282" y="822"/>
                      </a:lnTo>
                      <a:lnTo>
                        <a:pt x="3276" y="828"/>
                      </a:lnTo>
                      <a:lnTo>
                        <a:pt x="3252" y="840"/>
                      </a:lnTo>
                      <a:lnTo>
                        <a:pt x="3246" y="840"/>
                      </a:lnTo>
                      <a:lnTo>
                        <a:pt x="3228" y="828"/>
                      </a:lnTo>
                      <a:lnTo>
                        <a:pt x="3222" y="846"/>
                      </a:lnTo>
                      <a:lnTo>
                        <a:pt x="3204" y="846"/>
                      </a:lnTo>
                      <a:lnTo>
                        <a:pt x="3192" y="852"/>
                      </a:lnTo>
                      <a:lnTo>
                        <a:pt x="3186" y="852"/>
                      </a:lnTo>
                      <a:lnTo>
                        <a:pt x="3180" y="858"/>
                      </a:lnTo>
                      <a:lnTo>
                        <a:pt x="3204" y="858"/>
                      </a:lnTo>
                      <a:lnTo>
                        <a:pt x="3228" y="846"/>
                      </a:lnTo>
                      <a:lnTo>
                        <a:pt x="3240" y="846"/>
                      </a:lnTo>
                      <a:lnTo>
                        <a:pt x="3240" y="852"/>
                      </a:lnTo>
                      <a:lnTo>
                        <a:pt x="3228" y="870"/>
                      </a:lnTo>
                      <a:lnTo>
                        <a:pt x="3210" y="882"/>
                      </a:lnTo>
                      <a:lnTo>
                        <a:pt x="3198" y="888"/>
                      </a:lnTo>
                      <a:lnTo>
                        <a:pt x="3180" y="894"/>
                      </a:lnTo>
                      <a:lnTo>
                        <a:pt x="3168" y="900"/>
                      </a:lnTo>
                      <a:lnTo>
                        <a:pt x="3162" y="906"/>
                      </a:lnTo>
                      <a:lnTo>
                        <a:pt x="3138" y="918"/>
                      </a:lnTo>
                      <a:lnTo>
                        <a:pt x="3132" y="924"/>
                      </a:lnTo>
                      <a:lnTo>
                        <a:pt x="3120" y="918"/>
                      </a:lnTo>
                      <a:lnTo>
                        <a:pt x="3114" y="918"/>
                      </a:lnTo>
                      <a:lnTo>
                        <a:pt x="3102" y="912"/>
                      </a:lnTo>
                      <a:lnTo>
                        <a:pt x="3090" y="912"/>
                      </a:lnTo>
                      <a:lnTo>
                        <a:pt x="3072" y="930"/>
                      </a:lnTo>
                      <a:lnTo>
                        <a:pt x="3060" y="936"/>
                      </a:lnTo>
                      <a:lnTo>
                        <a:pt x="3054" y="948"/>
                      </a:lnTo>
                      <a:lnTo>
                        <a:pt x="3054" y="972"/>
                      </a:lnTo>
                      <a:lnTo>
                        <a:pt x="3048" y="978"/>
                      </a:lnTo>
                      <a:lnTo>
                        <a:pt x="3042" y="966"/>
                      </a:lnTo>
                      <a:lnTo>
                        <a:pt x="3030" y="966"/>
                      </a:lnTo>
                      <a:lnTo>
                        <a:pt x="3018" y="960"/>
                      </a:lnTo>
                      <a:lnTo>
                        <a:pt x="3012" y="960"/>
                      </a:lnTo>
                      <a:lnTo>
                        <a:pt x="3006" y="954"/>
                      </a:lnTo>
                      <a:lnTo>
                        <a:pt x="3030" y="930"/>
                      </a:lnTo>
                      <a:lnTo>
                        <a:pt x="3042" y="924"/>
                      </a:lnTo>
                      <a:lnTo>
                        <a:pt x="3060" y="906"/>
                      </a:lnTo>
                      <a:lnTo>
                        <a:pt x="3072" y="900"/>
                      </a:lnTo>
                      <a:lnTo>
                        <a:pt x="3036" y="900"/>
                      </a:lnTo>
                      <a:lnTo>
                        <a:pt x="3030" y="888"/>
                      </a:lnTo>
                      <a:lnTo>
                        <a:pt x="3018" y="882"/>
                      </a:lnTo>
                      <a:lnTo>
                        <a:pt x="2994" y="882"/>
                      </a:lnTo>
                      <a:lnTo>
                        <a:pt x="2988" y="888"/>
                      </a:lnTo>
                      <a:lnTo>
                        <a:pt x="2946" y="888"/>
                      </a:lnTo>
                      <a:lnTo>
                        <a:pt x="2946" y="894"/>
                      </a:lnTo>
                      <a:lnTo>
                        <a:pt x="2940" y="906"/>
                      </a:lnTo>
                      <a:lnTo>
                        <a:pt x="2940" y="918"/>
                      </a:lnTo>
                      <a:lnTo>
                        <a:pt x="2946" y="918"/>
                      </a:lnTo>
                      <a:lnTo>
                        <a:pt x="2952" y="924"/>
                      </a:lnTo>
                      <a:lnTo>
                        <a:pt x="2964" y="924"/>
                      </a:lnTo>
                      <a:lnTo>
                        <a:pt x="2976" y="936"/>
                      </a:lnTo>
                      <a:lnTo>
                        <a:pt x="2982" y="936"/>
                      </a:lnTo>
                      <a:lnTo>
                        <a:pt x="2976" y="942"/>
                      </a:lnTo>
                      <a:lnTo>
                        <a:pt x="2958" y="942"/>
                      </a:lnTo>
                      <a:lnTo>
                        <a:pt x="2952" y="936"/>
                      </a:lnTo>
                      <a:lnTo>
                        <a:pt x="2940" y="930"/>
                      </a:lnTo>
                      <a:lnTo>
                        <a:pt x="2934" y="924"/>
                      </a:lnTo>
                      <a:lnTo>
                        <a:pt x="2916" y="912"/>
                      </a:lnTo>
                      <a:lnTo>
                        <a:pt x="2910" y="942"/>
                      </a:lnTo>
                      <a:lnTo>
                        <a:pt x="2904" y="942"/>
                      </a:lnTo>
                      <a:lnTo>
                        <a:pt x="2898" y="948"/>
                      </a:lnTo>
                      <a:lnTo>
                        <a:pt x="2862" y="948"/>
                      </a:lnTo>
                      <a:lnTo>
                        <a:pt x="2844" y="942"/>
                      </a:lnTo>
                      <a:lnTo>
                        <a:pt x="2826" y="942"/>
                      </a:lnTo>
                      <a:lnTo>
                        <a:pt x="2808" y="936"/>
                      </a:lnTo>
                      <a:lnTo>
                        <a:pt x="2718" y="936"/>
                      </a:lnTo>
                      <a:lnTo>
                        <a:pt x="2706" y="930"/>
                      </a:lnTo>
                      <a:lnTo>
                        <a:pt x="2700" y="918"/>
                      </a:lnTo>
                      <a:lnTo>
                        <a:pt x="2688" y="912"/>
                      </a:lnTo>
                      <a:lnTo>
                        <a:pt x="2628" y="918"/>
                      </a:lnTo>
                      <a:lnTo>
                        <a:pt x="2622" y="912"/>
                      </a:lnTo>
                      <a:lnTo>
                        <a:pt x="2616" y="900"/>
                      </a:lnTo>
                      <a:lnTo>
                        <a:pt x="2604" y="894"/>
                      </a:lnTo>
                      <a:lnTo>
                        <a:pt x="2598" y="894"/>
                      </a:lnTo>
                      <a:lnTo>
                        <a:pt x="2586" y="888"/>
                      </a:lnTo>
                      <a:lnTo>
                        <a:pt x="2568" y="888"/>
                      </a:lnTo>
                      <a:lnTo>
                        <a:pt x="2556" y="894"/>
                      </a:lnTo>
                      <a:lnTo>
                        <a:pt x="2538" y="900"/>
                      </a:lnTo>
                      <a:lnTo>
                        <a:pt x="2532" y="906"/>
                      </a:lnTo>
                      <a:lnTo>
                        <a:pt x="2526" y="906"/>
                      </a:lnTo>
                      <a:lnTo>
                        <a:pt x="2526" y="912"/>
                      </a:lnTo>
                      <a:lnTo>
                        <a:pt x="2484" y="912"/>
                      </a:lnTo>
                      <a:lnTo>
                        <a:pt x="2472" y="906"/>
                      </a:lnTo>
                      <a:lnTo>
                        <a:pt x="2442" y="906"/>
                      </a:lnTo>
                      <a:lnTo>
                        <a:pt x="2430" y="918"/>
                      </a:lnTo>
                      <a:lnTo>
                        <a:pt x="2430" y="930"/>
                      </a:lnTo>
                      <a:lnTo>
                        <a:pt x="2418" y="954"/>
                      </a:lnTo>
                      <a:lnTo>
                        <a:pt x="2412" y="960"/>
                      </a:lnTo>
                      <a:lnTo>
                        <a:pt x="2412" y="966"/>
                      </a:lnTo>
                      <a:lnTo>
                        <a:pt x="2400" y="996"/>
                      </a:lnTo>
                      <a:lnTo>
                        <a:pt x="2364" y="996"/>
                      </a:lnTo>
                      <a:lnTo>
                        <a:pt x="2358" y="1026"/>
                      </a:lnTo>
                      <a:lnTo>
                        <a:pt x="2334" y="978"/>
                      </a:lnTo>
                      <a:lnTo>
                        <a:pt x="2340" y="978"/>
                      </a:lnTo>
                      <a:lnTo>
                        <a:pt x="2352" y="984"/>
                      </a:lnTo>
                      <a:lnTo>
                        <a:pt x="2376" y="984"/>
                      </a:lnTo>
                      <a:lnTo>
                        <a:pt x="2388" y="972"/>
                      </a:lnTo>
                      <a:lnTo>
                        <a:pt x="2358" y="942"/>
                      </a:lnTo>
                      <a:lnTo>
                        <a:pt x="2340" y="942"/>
                      </a:lnTo>
                      <a:lnTo>
                        <a:pt x="2328" y="936"/>
                      </a:lnTo>
                      <a:lnTo>
                        <a:pt x="2316" y="936"/>
                      </a:lnTo>
                      <a:lnTo>
                        <a:pt x="2322" y="918"/>
                      </a:lnTo>
                      <a:lnTo>
                        <a:pt x="2304" y="924"/>
                      </a:lnTo>
                      <a:lnTo>
                        <a:pt x="2262" y="930"/>
                      </a:lnTo>
                      <a:lnTo>
                        <a:pt x="2208" y="936"/>
                      </a:lnTo>
                      <a:lnTo>
                        <a:pt x="2160" y="942"/>
                      </a:lnTo>
                      <a:lnTo>
                        <a:pt x="2112" y="942"/>
                      </a:lnTo>
                      <a:lnTo>
                        <a:pt x="2064" y="936"/>
                      </a:lnTo>
                      <a:lnTo>
                        <a:pt x="2034" y="930"/>
                      </a:lnTo>
                      <a:lnTo>
                        <a:pt x="2028" y="924"/>
                      </a:lnTo>
                      <a:lnTo>
                        <a:pt x="2052" y="918"/>
                      </a:lnTo>
                      <a:lnTo>
                        <a:pt x="2082" y="918"/>
                      </a:lnTo>
                      <a:lnTo>
                        <a:pt x="2118" y="912"/>
                      </a:lnTo>
                      <a:lnTo>
                        <a:pt x="2142" y="900"/>
                      </a:lnTo>
                      <a:lnTo>
                        <a:pt x="2142" y="888"/>
                      </a:lnTo>
                      <a:lnTo>
                        <a:pt x="2112" y="864"/>
                      </a:lnTo>
                      <a:lnTo>
                        <a:pt x="2082" y="852"/>
                      </a:lnTo>
                      <a:lnTo>
                        <a:pt x="2004" y="852"/>
                      </a:lnTo>
                      <a:lnTo>
                        <a:pt x="1968" y="840"/>
                      </a:lnTo>
                      <a:lnTo>
                        <a:pt x="1944" y="834"/>
                      </a:lnTo>
                      <a:lnTo>
                        <a:pt x="1938" y="828"/>
                      </a:lnTo>
                      <a:lnTo>
                        <a:pt x="1908" y="828"/>
                      </a:lnTo>
                      <a:lnTo>
                        <a:pt x="1896" y="822"/>
                      </a:lnTo>
                      <a:lnTo>
                        <a:pt x="1866" y="804"/>
                      </a:lnTo>
                      <a:lnTo>
                        <a:pt x="1836" y="792"/>
                      </a:lnTo>
                      <a:lnTo>
                        <a:pt x="1812" y="786"/>
                      </a:lnTo>
                      <a:lnTo>
                        <a:pt x="1800" y="792"/>
                      </a:lnTo>
                      <a:lnTo>
                        <a:pt x="1782" y="798"/>
                      </a:lnTo>
                      <a:lnTo>
                        <a:pt x="1770" y="804"/>
                      </a:lnTo>
                      <a:lnTo>
                        <a:pt x="1758" y="816"/>
                      </a:lnTo>
                      <a:lnTo>
                        <a:pt x="1734" y="828"/>
                      </a:lnTo>
                      <a:lnTo>
                        <a:pt x="1680" y="828"/>
                      </a:lnTo>
                      <a:lnTo>
                        <a:pt x="1710" y="810"/>
                      </a:lnTo>
                      <a:lnTo>
                        <a:pt x="1710" y="798"/>
                      </a:lnTo>
                      <a:lnTo>
                        <a:pt x="1734" y="768"/>
                      </a:lnTo>
                      <a:lnTo>
                        <a:pt x="1728" y="768"/>
                      </a:lnTo>
                      <a:lnTo>
                        <a:pt x="1722" y="774"/>
                      </a:lnTo>
                      <a:lnTo>
                        <a:pt x="1674" y="798"/>
                      </a:lnTo>
                      <a:lnTo>
                        <a:pt x="1650" y="822"/>
                      </a:lnTo>
                      <a:lnTo>
                        <a:pt x="1638" y="828"/>
                      </a:lnTo>
                      <a:lnTo>
                        <a:pt x="1620" y="834"/>
                      </a:lnTo>
                      <a:lnTo>
                        <a:pt x="1608" y="828"/>
                      </a:lnTo>
                      <a:lnTo>
                        <a:pt x="1602" y="816"/>
                      </a:lnTo>
                      <a:lnTo>
                        <a:pt x="1602" y="798"/>
                      </a:lnTo>
                      <a:lnTo>
                        <a:pt x="1614" y="774"/>
                      </a:lnTo>
                      <a:lnTo>
                        <a:pt x="1614" y="762"/>
                      </a:lnTo>
                      <a:lnTo>
                        <a:pt x="1608" y="750"/>
                      </a:lnTo>
                      <a:lnTo>
                        <a:pt x="1596" y="744"/>
                      </a:lnTo>
                      <a:lnTo>
                        <a:pt x="1590" y="738"/>
                      </a:lnTo>
                      <a:lnTo>
                        <a:pt x="1578" y="738"/>
                      </a:lnTo>
                      <a:lnTo>
                        <a:pt x="1572" y="744"/>
                      </a:lnTo>
                      <a:lnTo>
                        <a:pt x="1572" y="750"/>
                      </a:lnTo>
                      <a:lnTo>
                        <a:pt x="1578" y="762"/>
                      </a:lnTo>
                      <a:lnTo>
                        <a:pt x="1584" y="768"/>
                      </a:lnTo>
                      <a:lnTo>
                        <a:pt x="1542" y="768"/>
                      </a:lnTo>
                      <a:lnTo>
                        <a:pt x="1530" y="774"/>
                      </a:lnTo>
                      <a:lnTo>
                        <a:pt x="1512" y="780"/>
                      </a:lnTo>
                      <a:lnTo>
                        <a:pt x="1494" y="798"/>
                      </a:lnTo>
                      <a:lnTo>
                        <a:pt x="1446" y="798"/>
                      </a:lnTo>
                      <a:lnTo>
                        <a:pt x="1428" y="804"/>
                      </a:lnTo>
                      <a:lnTo>
                        <a:pt x="1416" y="804"/>
                      </a:lnTo>
                      <a:lnTo>
                        <a:pt x="1398" y="810"/>
                      </a:lnTo>
                      <a:lnTo>
                        <a:pt x="1380" y="810"/>
                      </a:lnTo>
                      <a:lnTo>
                        <a:pt x="1374" y="816"/>
                      </a:lnTo>
                      <a:lnTo>
                        <a:pt x="1368" y="816"/>
                      </a:lnTo>
                      <a:lnTo>
                        <a:pt x="1356" y="822"/>
                      </a:lnTo>
                      <a:lnTo>
                        <a:pt x="1350" y="828"/>
                      </a:lnTo>
                      <a:lnTo>
                        <a:pt x="1338" y="834"/>
                      </a:lnTo>
                      <a:lnTo>
                        <a:pt x="1314" y="816"/>
                      </a:lnTo>
                      <a:lnTo>
                        <a:pt x="1302" y="822"/>
                      </a:lnTo>
                      <a:lnTo>
                        <a:pt x="1296" y="828"/>
                      </a:lnTo>
                      <a:lnTo>
                        <a:pt x="1272" y="840"/>
                      </a:lnTo>
                      <a:lnTo>
                        <a:pt x="1260" y="840"/>
                      </a:lnTo>
                      <a:lnTo>
                        <a:pt x="1254" y="846"/>
                      </a:lnTo>
                      <a:lnTo>
                        <a:pt x="1242" y="846"/>
                      </a:lnTo>
                      <a:lnTo>
                        <a:pt x="1230" y="852"/>
                      </a:lnTo>
                      <a:lnTo>
                        <a:pt x="1224" y="858"/>
                      </a:lnTo>
                      <a:lnTo>
                        <a:pt x="1212" y="864"/>
                      </a:lnTo>
                      <a:lnTo>
                        <a:pt x="1176" y="864"/>
                      </a:lnTo>
                      <a:lnTo>
                        <a:pt x="1188" y="858"/>
                      </a:lnTo>
                      <a:lnTo>
                        <a:pt x="1194" y="846"/>
                      </a:lnTo>
                      <a:lnTo>
                        <a:pt x="1212" y="840"/>
                      </a:lnTo>
                      <a:lnTo>
                        <a:pt x="1236" y="828"/>
                      </a:lnTo>
                      <a:lnTo>
                        <a:pt x="1254" y="828"/>
                      </a:lnTo>
                      <a:lnTo>
                        <a:pt x="1266" y="822"/>
                      </a:lnTo>
                      <a:lnTo>
                        <a:pt x="1284" y="816"/>
                      </a:lnTo>
                      <a:lnTo>
                        <a:pt x="1290" y="810"/>
                      </a:lnTo>
                      <a:lnTo>
                        <a:pt x="1362" y="810"/>
                      </a:lnTo>
                      <a:lnTo>
                        <a:pt x="1386" y="798"/>
                      </a:lnTo>
                      <a:lnTo>
                        <a:pt x="1422" y="792"/>
                      </a:lnTo>
                      <a:lnTo>
                        <a:pt x="1458" y="780"/>
                      </a:lnTo>
                      <a:lnTo>
                        <a:pt x="1470" y="780"/>
                      </a:lnTo>
                      <a:lnTo>
                        <a:pt x="1476" y="774"/>
                      </a:lnTo>
                      <a:lnTo>
                        <a:pt x="1482" y="774"/>
                      </a:lnTo>
                      <a:lnTo>
                        <a:pt x="1476" y="768"/>
                      </a:lnTo>
                      <a:lnTo>
                        <a:pt x="1410" y="768"/>
                      </a:lnTo>
                      <a:lnTo>
                        <a:pt x="1398" y="774"/>
                      </a:lnTo>
                      <a:lnTo>
                        <a:pt x="1392" y="774"/>
                      </a:lnTo>
                      <a:lnTo>
                        <a:pt x="1380" y="780"/>
                      </a:lnTo>
                      <a:lnTo>
                        <a:pt x="1374" y="786"/>
                      </a:lnTo>
                      <a:lnTo>
                        <a:pt x="1368" y="786"/>
                      </a:lnTo>
                      <a:lnTo>
                        <a:pt x="1362" y="792"/>
                      </a:lnTo>
                      <a:lnTo>
                        <a:pt x="1278" y="792"/>
                      </a:lnTo>
                      <a:lnTo>
                        <a:pt x="1254" y="804"/>
                      </a:lnTo>
                      <a:lnTo>
                        <a:pt x="1248" y="810"/>
                      </a:lnTo>
                      <a:lnTo>
                        <a:pt x="1236" y="816"/>
                      </a:lnTo>
                      <a:lnTo>
                        <a:pt x="1230" y="822"/>
                      </a:lnTo>
                      <a:lnTo>
                        <a:pt x="1212" y="822"/>
                      </a:lnTo>
                      <a:lnTo>
                        <a:pt x="1158" y="846"/>
                      </a:lnTo>
                      <a:lnTo>
                        <a:pt x="1140" y="846"/>
                      </a:lnTo>
                      <a:lnTo>
                        <a:pt x="1128" y="858"/>
                      </a:lnTo>
                      <a:lnTo>
                        <a:pt x="1122" y="870"/>
                      </a:lnTo>
                      <a:lnTo>
                        <a:pt x="1122" y="876"/>
                      </a:lnTo>
                      <a:lnTo>
                        <a:pt x="1116" y="876"/>
                      </a:lnTo>
                      <a:lnTo>
                        <a:pt x="1110" y="870"/>
                      </a:lnTo>
                      <a:lnTo>
                        <a:pt x="1110" y="846"/>
                      </a:lnTo>
                      <a:lnTo>
                        <a:pt x="1116" y="846"/>
                      </a:lnTo>
                      <a:lnTo>
                        <a:pt x="1152" y="834"/>
                      </a:lnTo>
                      <a:lnTo>
                        <a:pt x="1176" y="822"/>
                      </a:lnTo>
                      <a:lnTo>
                        <a:pt x="1194" y="816"/>
                      </a:lnTo>
                      <a:lnTo>
                        <a:pt x="1188" y="810"/>
                      </a:lnTo>
                      <a:lnTo>
                        <a:pt x="1176" y="810"/>
                      </a:lnTo>
                      <a:lnTo>
                        <a:pt x="1164" y="804"/>
                      </a:lnTo>
                      <a:lnTo>
                        <a:pt x="1140" y="804"/>
                      </a:lnTo>
                      <a:lnTo>
                        <a:pt x="1122" y="822"/>
                      </a:lnTo>
                      <a:lnTo>
                        <a:pt x="1110" y="828"/>
                      </a:lnTo>
                      <a:lnTo>
                        <a:pt x="1092" y="828"/>
                      </a:lnTo>
                      <a:lnTo>
                        <a:pt x="1080" y="834"/>
                      </a:lnTo>
                      <a:lnTo>
                        <a:pt x="1068" y="834"/>
                      </a:lnTo>
                      <a:lnTo>
                        <a:pt x="1068" y="840"/>
                      </a:lnTo>
                      <a:lnTo>
                        <a:pt x="1062" y="846"/>
                      </a:lnTo>
                      <a:lnTo>
                        <a:pt x="1062" y="876"/>
                      </a:lnTo>
                      <a:lnTo>
                        <a:pt x="1038" y="858"/>
                      </a:lnTo>
                      <a:lnTo>
                        <a:pt x="972" y="852"/>
                      </a:lnTo>
                      <a:lnTo>
                        <a:pt x="960" y="846"/>
                      </a:lnTo>
                      <a:lnTo>
                        <a:pt x="948" y="834"/>
                      </a:lnTo>
                      <a:lnTo>
                        <a:pt x="936" y="834"/>
                      </a:lnTo>
                      <a:lnTo>
                        <a:pt x="936" y="828"/>
                      </a:lnTo>
                      <a:lnTo>
                        <a:pt x="942" y="822"/>
                      </a:lnTo>
                      <a:lnTo>
                        <a:pt x="942" y="810"/>
                      </a:lnTo>
                      <a:lnTo>
                        <a:pt x="948" y="804"/>
                      </a:lnTo>
                      <a:lnTo>
                        <a:pt x="834" y="804"/>
                      </a:lnTo>
                      <a:lnTo>
                        <a:pt x="852" y="804"/>
                      </a:lnTo>
                      <a:lnTo>
                        <a:pt x="78" y="1440"/>
                      </a:lnTo>
                      <a:lnTo>
                        <a:pt x="72" y="1446"/>
                      </a:lnTo>
                      <a:lnTo>
                        <a:pt x="60" y="1452"/>
                      </a:lnTo>
                      <a:lnTo>
                        <a:pt x="54" y="1464"/>
                      </a:lnTo>
                      <a:lnTo>
                        <a:pt x="54" y="1476"/>
                      </a:lnTo>
                      <a:lnTo>
                        <a:pt x="108" y="1476"/>
                      </a:lnTo>
                      <a:lnTo>
                        <a:pt x="120" y="1464"/>
                      </a:lnTo>
                      <a:lnTo>
                        <a:pt x="156" y="1464"/>
                      </a:lnTo>
                      <a:lnTo>
                        <a:pt x="132" y="1488"/>
                      </a:lnTo>
                      <a:lnTo>
                        <a:pt x="132" y="1494"/>
                      </a:lnTo>
                      <a:lnTo>
                        <a:pt x="138" y="1506"/>
                      </a:lnTo>
                      <a:lnTo>
                        <a:pt x="138" y="1524"/>
                      </a:lnTo>
                      <a:lnTo>
                        <a:pt x="144" y="1530"/>
                      </a:lnTo>
                      <a:lnTo>
                        <a:pt x="156" y="1536"/>
                      </a:lnTo>
                      <a:lnTo>
                        <a:pt x="162" y="1542"/>
                      </a:lnTo>
                      <a:lnTo>
                        <a:pt x="144" y="1560"/>
                      </a:lnTo>
                      <a:lnTo>
                        <a:pt x="144" y="1572"/>
                      </a:lnTo>
                      <a:lnTo>
                        <a:pt x="150" y="1572"/>
                      </a:lnTo>
                      <a:lnTo>
                        <a:pt x="156" y="1566"/>
                      </a:lnTo>
                      <a:lnTo>
                        <a:pt x="168" y="1560"/>
                      </a:lnTo>
                      <a:lnTo>
                        <a:pt x="174" y="1554"/>
                      </a:lnTo>
                      <a:lnTo>
                        <a:pt x="180" y="1554"/>
                      </a:lnTo>
                      <a:lnTo>
                        <a:pt x="186" y="1548"/>
                      </a:lnTo>
                      <a:lnTo>
                        <a:pt x="198" y="1548"/>
                      </a:lnTo>
                      <a:lnTo>
                        <a:pt x="210" y="1542"/>
                      </a:lnTo>
                      <a:lnTo>
                        <a:pt x="222" y="1542"/>
                      </a:lnTo>
                      <a:lnTo>
                        <a:pt x="234" y="1536"/>
                      </a:lnTo>
                      <a:lnTo>
                        <a:pt x="240" y="1530"/>
                      </a:lnTo>
                      <a:lnTo>
                        <a:pt x="258" y="1530"/>
                      </a:lnTo>
                      <a:lnTo>
                        <a:pt x="258" y="1518"/>
                      </a:lnTo>
                      <a:lnTo>
                        <a:pt x="264" y="1518"/>
                      </a:lnTo>
                      <a:lnTo>
                        <a:pt x="270" y="1512"/>
                      </a:lnTo>
                      <a:lnTo>
                        <a:pt x="282" y="1512"/>
                      </a:lnTo>
                      <a:lnTo>
                        <a:pt x="300" y="1506"/>
                      </a:lnTo>
                      <a:lnTo>
                        <a:pt x="312" y="1506"/>
                      </a:lnTo>
                      <a:lnTo>
                        <a:pt x="330" y="1512"/>
                      </a:lnTo>
                      <a:lnTo>
                        <a:pt x="336" y="1518"/>
                      </a:lnTo>
                      <a:lnTo>
                        <a:pt x="330" y="1524"/>
                      </a:lnTo>
                      <a:lnTo>
                        <a:pt x="324" y="1524"/>
                      </a:lnTo>
                      <a:lnTo>
                        <a:pt x="318" y="1530"/>
                      </a:lnTo>
                      <a:lnTo>
                        <a:pt x="318" y="1560"/>
                      </a:lnTo>
                      <a:lnTo>
                        <a:pt x="306" y="1572"/>
                      </a:lnTo>
                      <a:lnTo>
                        <a:pt x="324" y="1590"/>
                      </a:lnTo>
                      <a:lnTo>
                        <a:pt x="330" y="1602"/>
                      </a:lnTo>
                      <a:lnTo>
                        <a:pt x="330" y="1620"/>
                      </a:lnTo>
                      <a:lnTo>
                        <a:pt x="312" y="1656"/>
                      </a:lnTo>
                      <a:lnTo>
                        <a:pt x="312" y="1698"/>
                      </a:lnTo>
                      <a:lnTo>
                        <a:pt x="306" y="1704"/>
                      </a:lnTo>
                      <a:lnTo>
                        <a:pt x="300" y="1716"/>
                      </a:lnTo>
                      <a:lnTo>
                        <a:pt x="300" y="1728"/>
                      </a:lnTo>
                      <a:lnTo>
                        <a:pt x="294" y="1740"/>
                      </a:lnTo>
                      <a:lnTo>
                        <a:pt x="294" y="1746"/>
                      </a:lnTo>
                      <a:lnTo>
                        <a:pt x="300" y="1752"/>
                      </a:lnTo>
                      <a:lnTo>
                        <a:pt x="312" y="1758"/>
                      </a:lnTo>
                      <a:lnTo>
                        <a:pt x="318" y="1764"/>
                      </a:lnTo>
                      <a:lnTo>
                        <a:pt x="324" y="1764"/>
                      </a:lnTo>
                      <a:lnTo>
                        <a:pt x="330" y="1770"/>
                      </a:lnTo>
                      <a:lnTo>
                        <a:pt x="330" y="1776"/>
                      </a:lnTo>
                      <a:lnTo>
                        <a:pt x="348" y="1776"/>
                      </a:lnTo>
                      <a:lnTo>
                        <a:pt x="354" y="1782"/>
                      </a:lnTo>
                      <a:lnTo>
                        <a:pt x="354" y="1794"/>
                      </a:lnTo>
                      <a:lnTo>
                        <a:pt x="342" y="1800"/>
                      </a:lnTo>
                      <a:lnTo>
                        <a:pt x="330" y="1812"/>
                      </a:lnTo>
                      <a:lnTo>
                        <a:pt x="318" y="1818"/>
                      </a:lnTo>
                      <a:lnTo>
                        <a:pt x="318" y="1830"/>
                      </a:lnTo>
                      <a:lnTo>
                        <a:pt x="312" y="1842"/>
                      </a:lnTo>
                      <a:lnTo>
                        <a:pt x="294" y="1860"/>
                      </a:lnTo>
                      <a:lnTo>
                        <a:pt x="282" y="1866"/>
                      </a:lnTo>
                      <a:lnTo>
                        <a:pt x="270" y="1878"/>
                      </a:lnTo>
                      <a:lnTo>
                        <a:pt x="252" y="1884"/>
                      </a:lnTo>
                      <a:lnTo>
                        <a:pt x="234" y="1896"/>
                      </a:lnTo>
                      <a:lnTo>
                        <a:pt x="228" y="1902"/>
                      </a:lnTo>
                      <a:lnTo>
                        <a:pt x="222" y="1914"/>
                      </a:lnTo>
                      <a:lnTo>
                        <a:pt x="222" y="1926"/>
                      </a:lnTo>
                      <a:lnTo>
                        <a:pt x="216" y="1932"/>
                      </a:lnTo>
                      <a:lnTo>
                        <a:pt x="216" y="1944"/>
                      </a:lnTo>
                      <a:lnTo>
                        <a:pt x="204" y="1956"/>
                      </a:lnTo>
                      <a:lnTo>
                        <a:pt x="210" y="1962"/>
                      </a:lnTo>
                      <a:lnTo>
                        <a:pt x="216" y="1962"/>
                      </a:lnTo>
                      <a:lnTo>
                        <a:pt x="216" y="1974"/>
                      </a:lnTo>
                      <a:lnTo>
                        <a:pt x="228" y="1986"/>
                      </a:lnTo>
                      <a:lnTo>
                        <a:pt x="240" y="1980"/>
                      </a:lnTo>
                      <a:lnTo>
                        <a:pt x="246" y="1968"/>
                      </a:lnTo>
                      <a:lnTo>
                        <a:pt x="258" y="1962"/>
                      </a:lnTo>
                      <a:lnTo>
                        <a:pt x="276" y="1956"/>
                      </a:lnTo>
                      <a:lnTo>
                        <a:pt x="294" y="1938"/>
                      </a:lnTo>
                      <a:lnTo>
                        <a:pt x="306" y="1938"/>
                      </a:lnTo>
                      <a:lnTo>
                        <a:pt x="306" y="1944"/>
                      </a:lnTo>
                      <a:lnTo>
                        <a:pt x="300" y="1950"/>
                      </a:lnTo>
                      <a:lnTo>
                        <a:pt x="288" y="1956"/>
                      </a:lnTo>
                      <a:lnTo>
                        <a:pt x="282" y="1956"/>
                      </a:lnTo>
                      <a:lnTo>
                        <a:pt x="276" y="1962"/>
                      </a:lnTo>
                      <a:lnTo>
                        <a:pt x="276" y="1974"/>
                      </a:lnTo>
                      <a:lnTo>
                        <a:pt x="282" y="1986"/>
                      </a:lnTo>
                      <a:lnTo>
                        <a:pt x="294" y="1998"/>
                      </a:lnTo>
                      <a:lnTo>
                        <a:pt x="252" y="1992"/>
                      </a:lnTo>
                      <a:lnTo>
                        <a:pt x="246" y="1998"/>
                      </a:lnTo>
                      <a:lnTo>
                        <a:pt x="240" y="2010"/>
                      </a:lnTo>
                      <a:lnTo>
                        <a:pt x="234" y="2016"/>
                      </a:lnTo>
                      <a:lnTo>
                        <a:pt x="228" y="2028"/>
                      </a:lnTo>
                      <a:lnTo>
                        <a:pt x="228" y="2034"/>
                      </a:lnTo>
                      <a:lnTo>
                        <a:pt x="234" y="2034"/>
                      </a:lnTo>
                      <a:lnTo>
                        <a:pt x="240" y="2040"/>
                      </a:lnTo>
                      <a:lnTo>
                        <a:pt x="252" y="2040"/>
                      </a:lnTo>
                      <a:lnTo>
                        <a:pt x="258" y="2046"/>
                      </a:lnTo>
                      <a:lnTo>
                        <a:pt x="252" y="2052"/>
                      </a:lnTo>
                      <a:lnTo>
                        <a:pt x="252" y="2058"/>
                      </a:lnTo>
                      <a:lnTo>
                        <a:pt x="246" y="2070"/>
                      </a:lnTo>
                      <a:lnTo>
                        <a:pt x="246" y="2076"/>
                      </a:lnTo>
                      <a:lnTo>
                        <a:pt x="252" y="2070"/>
                      </a:lnTo>
                      <a:lnTo>
                        <a:pt x="288" y="2052"/>
                      </a:lnTo>
                      <a:lnTo>
                        <a:pt x="306" y="2034"/>
                      </a:lnTo>
                      <a:lnTo>
                        <a:pt x="318" y="2028"/>
                      </a:lnTo>
                      <a:lnTo>
                        <a:pt x="318" y="2040"/>
                      </a:lnTo>
                      <a:lnTo>
                        <a:pt x="288" y="2058"/>
                      </a:lnTo>
                      <a:lnTo>
                        <a:pt x="312" y="2064"/>
                      </a:lnTo>
                      <a:lnTo>
                        <a:pt x="312" y="2076"/>
                      </a:lnTo>
                      <a:lnTo>
                        <a:pt x="294" y="2094"/>
                      </a:lnTo>
                      <a:lnTo>
                        <a:pt x="276" y="2076"/>
                      </a:lnTo>
                      <a:lnTo>
                        <a:pt x="270" y="2076"/>
                      </a:lnTo>
                      <a:lnTo>
                        <a:pt x="264" y="2082"/>
                      </a:lnTo>
                      <a:lnTo>
                        <a:pt x="240" y="2094"/>
                      </a:lnTo>
                      <a:lnTo>
                        <a:pt x="228" y="2094"/>
                      </a:lnTo>
                      <a:lnTo>
                        <a:pt x="216" y="2106"/>
                      </a:lnTo>
                      <a:lnTo>
                        <a:pt x="210" y="2118"/>
                      </a:lnTo>
                      <a:lnTo>
                        <a:pt x="204" y="2124"/>
                      </a:lnTo>
                      <a:lnTo>
                        <a:pt x="210" y="2118"/>
                      </a:lnTo>
                      <a:lnTo>
                        <a:pt x="222" y="2118"/>
                      </a:lnTo>
                      <a:lnTo>
                        <a:pt x="228" y="2112"/>
                      </a:lnTo>
                      <a:lnTo>
                        <a:pt x="276" y="2112"/>
                      </a:lnTo>
                      <a:lnTo>
                        <a:pt x="270" y="2112"/>
                      </a:lnTo>
                      <a:lnTo>
                        <a:pt x="264" y="2118"/>
                      </a:lnTo>
                      <a:lnTo>
                        <a:pt x="252" y="2118"/>
                      </a:lnTo>
                      <a:lnTo>
                        <a:pt x="240" y="2124"/>
                      </a:lnTo>
                      <a:lnTo>
                        <a:pt x="228" y="2124"/>
                      </a:lnTo>
                      <a:lnTo>
                        <a:pt x="216" y="2130"/>
                      </a:lnTo>
                      <a:lnTo>
                        <a:pt x="210" y="2130"/>
                      </a:lnTo>
                      <a:lnTo>
                        <a:pt x="210" y="2148"/>
                      </a:lnTo>
                      <a:lnTo>
                        <a:pt x="204" y="2148"/>
                      </a:lnTo>
                      <a:lnTo>
                        <a:pt x="198" y="2142"/>
                      </a:lnTo>
                      <a:lnTo>
                        <a:pt x="174" y="2142"/>
                      </a:lnTo>
                      <a:lnTo>
                        <a:pt x="174" y="2154"/>
                      </a:lnTo>
                      <a:lnTo>
                        <a:pt x="180" y="2166"/>
                      </a:lnTo>
                      <a:lnTo>
                        <a:pt x="192" y="2172"/>
                      </a:lnTo>
                      <a:lnTo>
                        <a:pt x="198" y="2178"/>
                      </a:lnTo>
                      <a:lnTo>
                        <a:pt x="246" y="2160"/>
                      </a:lnTo>
                      <a:lnTo>
                        <a:pt x="264" y="2184"/>
                      </a:lnTo>
                      <a:lnTo>
                        <a:pt x="300" y="2166"/>
                      </a:lnTo>
                      <a:lnTo>
                        <a:pt x="294" y="2172"/>
                      </a:lnTo>
                      <a:lnTo>
                        <a:pt x="288" y="2184"/>
                      </a:lnTo>
                      <a:lnTo>
                        <a:pt x="276" y="2190"/>
                      </a:lnTo>
                      <a:lnTo>
                        <a:pt x="270" y="2196"/>
                      </a:lnTo>
                      <a:lnTo>
                        <a:pt x="264" y="2208"/>
                      </a:lnTo>
                      <a:lnTo>
                        <a:pt x="264" y="2214"/>
                      </a:lnTo>
                      <a:lnTo>
                        <a:pt x="276" y="2214"/>
                      </a:lnTo>
                      <a:lnTo>
                        <a:pt x="282" y="2208"/>
                      </a:lnTo>
                      <a:lnTo>
                        <a:pt x="300" y="2202"/>
                      </a:lnTo>
                      <a:lnTo>
                        <a:pt x="318" y="2184"/>
                      </a:lnTo>
                      <a:lnTo>
                        <a:pt x="330" y="2178"/>
                      </a:lnTo>
                      <a:lnTo>
                        <a:pt x="306" y="2202"/>
                      </a:lnTo>
                      <a:lnTo>
                        <a:pt x="300" y="2214"/>
                      </a:lnTo>
                      <a:lnTo>
                        <a:pt x="294" y="2220"/>
                      </a:lnTo>
                      <a:lnTo>
                        <a:pt x="300" y="2220"/>
                      </a:lnTo>
                      <a:lnTo>
                        <a:pt x="312" y="2214"/>
                      </a:lnTo>
                      <a:lnTo>
                        <a:pt x="324" y="2214"/>
                      </a:lnTo>
                      <a:lnTo>
                        <a:pt x="318" y="2220"/>
                      </a:lnTo>
                      <a:lnTo>
                        <a:pt x="306" y="2226"/>
                      </a:lnTo>
                      <a:lnTo>
                        <a:pt x="300" y="2238"/>
                      </a:lnTo>
                      <a:lnTo>
                        <a:pt x="282" y="2256"/>
                      </a:lnTo>
                      <a:lnTo>
                        <a:pt x="288" y="2262"/>
                      </a:lnTo>
                      <a:lnTo>
                        <a:pt x="294" y="2262"/>
                      </a:lnTo>
                      <a:lnTo>
                        <a:pt x="342" y="2238"/>
                      </a:lnTo>
                      <a:lnTo>
                        <a:pt x="348" y="2232"/>
                      </a:lnTo>
                      <a:lnTo>
                        <a:pt x="324" y="2256"/>
                      </a:lnTo>
                      <a:lnTo>
                        <a:pt x="318" y="2268"/>
                      </a:lnTo>
                      <a:lnTo>
                        <a:pt x="318" y="2274"/>
                      </a:lnTo>
                      <a:lnTo>
                        <a:pt x="330" y="2280"/>
                      </a:lnTo>
                      <a:lnTo>
                        <a:pt x="342" y="2280"/>
                      </a:lnTo>
                      <a:lnTo>
                        <a:pt x="354" y="2292"/>
                      </a:lnTo>
                      <a:lnTo>
                        <a:pt x="354" y="2298"/>
                      </a:lnTo>
                      <a:lnTo>
                        <a:pt x="348" y="2304"/>
                      </a:lnTo>
                      <a:lnTo>
                        <a:pt x="348" y="2340"/>
                      </a:lnTo>
                      <a:lnTo>
                        <a:pt x="2058" y="2340"/>
                      </a:lnTo>
                      <a:lnTo>
                        <a:pt x="2064" y="2328"/>
                      </a:lnTo>
                      <a:lnTo>
                        <a:pt x="2064" y="2322"/>
                      </a:lnTo>
                      <a:lnTo>
                        <a:pt x="2070" y="2310"/>
                      </a:lnTo>
                      <a:lnTo>
                        <a:pt x="2076" y="2304"/>
                      </a:lnTo>
                      <a:lnTo>
                        <a:pt x="2088" y="2298"/>
                      </a:lnTo>
                      <a:lnTo>
                        <a:pt x="2100" y="2310"/>
                      </a:lnTo>
                      <a:lnTo>
                        <a:pt x="2088" y="2322"/>
                      </a:lnTo>
                      <a:lnTo>
                        <a:pt x="2082" y="2334"/>
                      </a:lnTo>
                      <a:lnTo>
                        <a:pt x="2082" y="2346"/>
                      </a:lnTo>
                      <a:lnTo>
                        <a:pt x="2094" y="2352"/>
                      </a:lnTo>
                      <a:lnTo>
                        <a:pt x="2112" y="2358"/>
                      </a:lnTo>
                      <a:lnTo>
                        <a:pt x="2124" y="2358"/>
                      </a:lnTo>
                      <a:lnTo>
                        <a:pt x="2142" y="2376"/>
                      </a:lnTo>
                      <a:lnTo>
                        <a:pt x="2154" y="2376"/>
                      </a:lnTo>
                      <a:lnTo>
                        <a:pt x="2154" y="2370"/>
                      </a:lnTo>
                      <a:lnTo>
                        <a:pt x="2166" y="2358"/>
                      </a:lnTo>
                      <a:lnTo>
                        <a:pt x="2178" y="2358"/>
                      </a:lnTo>
                      <a:lnTo>
                        <a:pt x="2190" y="2364"/>
                      </a:lnTo>
                      <a:lnTo>
                        <a:pt x="2202" y="2376"/>
                      </a:lnTo>
                      <a:lnTo>
                        <a:pt x="2202" y="2382"/>
                      </a:lnTo>
                      <a:lnTo>
                        <a:pt x="2208" y="2388"/>
                      </a:lnTo>
                      <a:lnTo>
                        <a:pt x="2238" y="2388"/>
                      </a:lnTo>
                      <a:lnTo>
                        <a:pt x="2256" y="2406"/>
                      </a:lnTo>
                      <a:lnTo>
                        <a:pt x="2268" y="2406"/>
                      </a:lnTo>
                      <a:lnTo>
                        <a:pt x="2280" y="2394"/>
                      </a:lnTo>
                      <a:lnTo>
                        <a:pt x="2292" y="2388"/>
                      </a:lnTo>
                      <a:lnTo>
                        <a:pt x="2298" y="2382"/>
                      </a:lnTo>
                      <a:lnTo>
                        <a:pt x="2298" y="2400"/>
                      </a:lnTo>
                      <a:lnTo>
                        <a:pt x="2346" y="2394"/>
                      </a:lnTo>
                      <a:lnTo>
                        <a:pt x="2346" y="2400"/>
                      </a:lnTo>
                      <a:lnTo>
                        <a:pt x="2352" y="2400"/>
                      </a:lnTo>
                      <a:lnTo>
                        <a:pt x="2364" y="2406"/>
                      </a:lnTo>
                      <a:lnTo>
                        <a:pt x="2382" y="2406"/>
                      </a:lnTo>
                      <a:lnTo>
                        <a:pt x="2394" y="2394"/>
                      </a:lnTo>
                      <a:lnTo>
                        <a:pt x="2406" y="2388"/>
                      </a:lnTo>
                      <a:lnTo>
                        <a:pt x="2412" y="2376"/>
                      </a:lnTo>
                      <a:lnTo>
                        <a:pt x="2412" y="2370"/>
                      </a:lnTo>
                      <a:lnTo>
                        <a:pt x="2430" y="2370"/>
                      </a:lnTo>
                      <a:lnTo>
                        <a:pt x="2436" y="2376"/>
                      </a:lnTo>
                      <a:lnTo>
                        <a:pt x="2442" y="2376"/>
                      </a:lnTo>
                      <a:lnTo>
                        <a:pt x="2454" y="2364"/>
                      </a:lnTo>
                      <a:lnTo>
                        <a:pt x="2460" y="2352"/>
                      </a:lnTo>
                      <a:lnTo>
                        <a:pt x="2466" y="2346"/>
                      </a:lnTo>
                      <a:lnTo>
                        <a:pt x="2472" y="2346"/>
                      </a:lnTo>
                      <a:lnTo>
                        <a:pt x="2472" y="2352"/>
                      </a:lnTo>
                      <a:lnTo>
                        <a:pt x="2478" y="2358"/>
                      </a:lnTo>
                      <a:lnTo>
                        <a:pt x="2502" y="2352"/>
                      </a:lnTo>
                      <a:lnTo>
                        <a:pt x="2496" y="2346"/>
                      </a:lnTo>
                      <a:lnTo>
                        <a:pt x="2496" y="2334"/>
                      </a:lnTo>
                      <a:lnTo>
                        <a:pt x="2502" y="2328"/>
                      </a:lnTo>
                      <a:lnTo>
                        <a:pt x="2514" y="2322"/>
                      </a:lnTo>
                      <a:lnTo>
                        <a:pt x="2532" y="2340"/>
                      </a:lnTo>
                      <a:lnTo>
                        <a:pt x="2556" y="2340"/>
                      </a:lnTo>
                      <a:lnTo>
                        <a:pt x="2562" y="2346"/>
                      </a:lnTo>
                      <a:lnTo>
                        <a:pt x="2580" y="2346"/>
                      </a:lnTo>
                      <a:lnTo>
                        <a:pt x="2604" y="2358"/>
                      </a:lnTo>
                      <a:lnTo>
                        <a:pt x="2604" y="2370"/>
                      </a:lnTo>
                      <a:lnTo>
                        <a:pt x="2598" y="2382"/>
                      </a:lnTo>
                      <a:lnTo>
                        <a:pt x="2598" y="2388"/>
                      </a:lnTo>
                      <a:lnTo>
                        <a:pt x="2592" y="2400"/>
                      </a:lnTo>
                      <a:lnTo>
                        <a:pt x="2604" y="2412"/>
                      </a:lnTo>
                      <a:lnTo>
                        <a:pt x="2592" y="2436"/>
                      </a:lnTo>
                      <a:lnTo>
                        <a:pt x="2598" y="2436"/>
                      </a:lnTo>
                      <a:lnTo>
                        <a:pt x="2604" y="2430"/>
                      </a:lnTo>
                      <a:lnTo>
                        <a:pt x="2616" y="2424"/>
                      </a:lnTo>
                      <a:lnTo>
                        <a:pt x="2634" y="2418"/>
                      </a:lnTo>
                      <a:lnTo>
                        <a:pt x="2646" y="2412"/>
                      </a:lnTo>
                      <a:lnTo>
                        <a:pt x="2670" y="2412"/>
                      </a:lnTo>
                      <a:lnTo>
                        <a:pt x="2670" y="2424"/>
                      </a:lnTo>
                      <a:lnTo>
                        <a:pt x="2658" y="2430"/>
                      </a:lnTo>
                      <a:lnTo>
                        <a:pt x="2652" y="2436"/>
                      </a:lnTo>
                      <a:lnTo>
                        <a:pt x="2646" y="2436"/>
                      </a:lnTo>
                      <a:lnTo>
                        <a:pt x="2640" y="2442"/>
                      </a:lnTo>
                      <a:lnTo>
                        <a:pt x="2646" y="2448"/>
                      </a:lnTo>
                      <a:lnTo>
                        <a:pt x="2652" y="2448"/>
                      </a:lnTo>
                      <a:lnTo>
                        <a:pt x="2664" y="2460"/>
                      </a:lnTo>
                      <a:lnTo>
                        <a:pt x="2640" y="2484"/>
                      </a:lnTo>
                      <a:lnTo>
                        <a:pt x="2640" y="2490"/>
                      </a:lnTo>
                      <a:lnTo>
                        <a:pt x="2652" y="2490"/>
                      </a:lnTo>
                      <a:lnTo>
                        <a:pt x="2652" y="2502"/>
                      </a:lnTo>
                      <a:lnTo>
                        <a:pt x="2640" y="2514"/>
                      </a:lnTo>
                      <a:lnTo>
                        <a:pt x="2640" y="2526"/>
                      </a:lnTo>
                      <a:lnTo>
                        <a:pt x="2658" y="2526"/>
                      </a:lnTo>
                      <a:lnTo>
                        <a:pt x="2652" y="2544"/>
                      </a:lnTo>
                      <a:lnTo>
                        <a:pt x="2658" y="2544"/>
                      </a:lnTo>
                      <a:lnTo>
                        <a:pt x="2670" y="2550"/>
                      </a:lnTo>
                      <a:lnTo>
                        <a:pt x="2754" y="2550"/>
                      </a:lnTo>
                      <a:lnTo>
                        <a:pt x="2766" y="2556"/>
                      </a:lnTo>
                      <a:lnTo>
                        <a:pt x="2784" y="2568"/>
                      </a:lnTo>
                      <a:lnTo>
                        <a:pt x="2838" y="2568"/>
                      </a:lnTo>
                      <a:lnTo>
                        <a:pt x="2850" y="2574"/>
                      </a:lnTo>
                      <a:lnTo>
                        <a:pt x="2856" y="2580"/>
                      </a:lnTo>
                      <a:lnTo>
                        <a:pt x="2856" y="2610"/>
                      </a:lnTo>
                      <a:lnTo>
                        <a:pt x="2874" y="2610"/>
                      </a:lnTo>
                      <a:lnTo>
                        <a:pt x="2874" y="2628"/>
                      </a:lnTo>
                      <a:lnTo>
                        <a:pt x="2862" y="2640"/>
                      </a:lnTo>
                      <a:lnTo>
                        <a:pt x="2862" y="2652"/>
                      </a:lnTo>
                      <a:lnTo>
                        <a:pt x="2874" y="2664"/>
                      </a:lnTo>
                      <a:lnTo>
                        <a:pt x="2880" y="2664"/>
                      </a:lnTo>
                      <a:lnTo>
                        <a:pt x="2856" y="2658"/>
                      </a:lnTo>
                      <a:lnTo>
                        <a:pt x="2856" y="2670"/>
                      </a:lnTo>
                      <a:lnTo>
                        <a:pt x="2850" y="2676"/>
                      </a:lnTo>
                      <a:lnTo>
                        <a:pt x="2844" y="2688"/>
                      </a:lnTo>
                      <a:lnTo>
                        <a:pt x="2838" y="2694"/>
                      </a:lnTo>
                      <a:lnTo>
                        <a:pt x="2832" y="2688"/>
                      </a:lnTo>
                      <a:lnTo>
                        <a:pt x="2820" y="2682"/>
                      </a:lnTo>
                      <a:lnTo>
                        <a:pt x="2802" y="2670"/>
                      </a:lnTo>
                      <a:lnTo>
                        <a:pt x="2790" y="2664"/>
                      </a:lnTo>
                      <a:lnTo>
                        <a:pt x="2784" y="2652"/>
                      </a:lnTo>
                      <a:lnTo>
                        <a:pt x="2784" y="2628"/>
                      </a:lnTo>
                      <a:lnTo>
                        <a:pt x="2766" y="2622"/>
                      </a:lnTo>
                      <a:lnTo>
                        <a:pt x="2772" y="2640"/>
                      </a:lnTo>
                      <a:lnTo>
                        <a:pt x="2772" y="2646"/>
                      </a:lnTo>
                      <a:lnTo>
                        <a:pt x="2778" y="2652"/>
                      </a:lnTo>
                      <a:lnTo>
                        <a:pt x="2778" y="2664"/>
                      </a:lnTo>
                      <a:lnTo>
                        <a:pt x="2772" y="2676"/>
                      </a:lnTo>
                      <a:lnTo>
                        <a:pt x="2760" y="2688"/>
                      </a:lnTo>
                      <a:lnTo>
                        <a:pt x="2754" y="2700"/>
                      </a:lnTo>
                      <a:lnTo>
                        <a:pt x="2736" y="2706"/>
                      </a:lnTo>
                      <a:lnTo>
                        <a:pt x="2718" y="2724"/>
                      </a:lnTo>
                      <a:lnTo>
                        <a:pt x="2712" y="2742"/>
                      </a:lnTo>
                      <a:lnTo>
                        <a:pt x="2700" y="2760"/>
                      </a:lnTo>
                      <a:lnTo>
                        <a:pt x="2694" y="2778"/>
                      </a:lnTo>
                      <a:lnTo>
                        <a:pt x="2688" y="2784"/>
                      </a:lnTo>
                      <a:lnTo>
                        <a:pt x="2664" y="2796"/>
                      </a:lnTo>
                      <a:lnTo>
                        <a:pt x="2652" y="2796"/>
                      </a:lnTo>
                      <a:lnTo>
                        <a:pt x="2646" y="2790"/>
                      </a:lnTo>
                      <a:lnTo>
                        <a:pt x="2640" y="2802"/>
                      </a:lnTo>
                      <a:lnTo>
                        <a:pt x="2634" y="2808"/>
                      </a:lnTo>
                      <a:lnTo>
                        <a:pt x="2634" y="2832"/>
                      </a:lnTo>
                      <a:lnTo>
                        <a:pt x="2628" y="2838"/>
                      </a:lnTo>
                      <a:lnTo>
                        <a:pt x="2622" y="2838"/>
                      </a:lnTo>
                      <a:lnTo>
                        <a:pt x="2586" y="2856"/>
                      </a:lnTo>
                      <a:lnTo>
                        <a:pt x="2562" y="2880"/>
                      </a:lnTo>
                      <a:lnTo>
                        <a:pt x="2562" y="2886"/>
                      </a:lnTo>
                      <a:lnTo>
                        <a:pt x="2568" y="2886"/>
                      </a:lnTo>
                      <a:lnTo>
                        <a:pt x="2580" y="2880"/>
                      </a:lnTo>
                      <a:lnTo>
                        <a:pt x="2592" y="2880"/>
                      </a:lnTo>
                      <a:lnTo>
                        <a:pt x="2598" y="2886"/>
                      </a:lnTo>
                      <a:lnTo>
                        <a:pt x="2610" y="2880"/>
                      </a:lnTo>
                      <a:lnTo>
                        <a:pt x="2616" y="2868"/>
                      </a:lnTo>
                      <a:lnTo>
                        <a:pt x="2628" y="2862"/>
                      </a:lnTo>
                      <a:lnTo>
                        <a:pt x="2658" y="2862"/>
                      </a:lnTo>
                      <a:lnTo>
                        <a:pt x="2658" y="2856"/>
                      </a:lnTo>
                      <a:lnTo>
                        <a:pt x="2664" y="2844"/>
                      </a:lnTo>
                      <a:lnTo>
                        <a:pt x="2676" y="2838"/>
                      </a:lnTo>
                      <a:lnTo>
                        <a:pt x="2682" y="2832"/>
                      </a:lnTo>
                      <a:lnTo>
                        <a:pt x="2754" y="2832"/>
                      </a:lnTo>
                      <a:lnTo>
                        <a:pt x="2766" y="2838"/>
                      </a:lnTo>
                      <a:lnTo>
                        <a:pt x="2790" y="2820"/>
                      </a:lnTo>
                      <a:lnTo>
                        <a:pt x="2856" y="2820"/>
                      </a:lnTo>
                      <a:lnTo>
                        <a:pt x="2862" y="2814"/>
                      </a:lnTo>
                      <a:lnTo>
                        <a:pt x="2862" y="2790"/>
                      </a:lnTo>
                      <a:lnTo>
                        <a:pt x="2844" y="2796"/>
                      </a:lnTo>
                      <a:lnTo>
                        <a:pt x="2832" y="2796"/>
                      </a:lnTo>
                      <a:lnTo>
                        <a:pt x="2826" y="2790"/>
                      </a:lnTo>
                      <a:lnTo>
                        <a:pt x="2826" y="2784"/>
                      </a:lnTo>
                      <a:lnTo>
                        <a:pt x="2832" y="2772"/>
                      </a:lnTo>
                      <a:lnTo>
                        <a:pt x="2850" y="2754"/>
                      </a:lnTo>
                      <a:lnTo>
                        <a:pt x="2868" y="2742"/>
                      </a:lnTo>
                      <a:lnTo>
                        <a:pt x="2880" y="2736"/>
                      </a:lnTo>
                      <a:lnTo>
                        <a:pt x="2910" y="2736"/>
                      </a:lnTo>
                      <a:lnTo>
                        <a:pt x="2928" y="2730"/>
                      </a:lnTo>
                      <a:lnTo>
                        <a:pt x="2952" y="2730"/>
                      </a:lnTo>
                      <a:lnTo>
                        <a:pt x="2964" y="2724"/>
                      </a:lnTo>
                      <a:lnTo>
                        <a:pt x="2970" y="2724"/>
                      </a:lnTo>
                      <a:lnTo>
                        <a:pt x="2976" y="2718"/>
                      </a:lnTo>
                      <a:lnTo>
                        <a:pt x="2982" y="2718"/>
                      </a:lnTo>
                      <a:lnTo>
                        <a:pt x="2994" y="2724"/>
                      </a:lnTo>
                      <a:lnTo>
                        <a:pt x="3000" y="2724"/>
                      </a:lnTo>
                      <a:lnTo>
                        <a:pt x="3012" y="2730"/>
                      </a:lnTo>
                      <a:lnTo>
                        <a:pt x="3018" y="2736"/>
                      </a:lnTo>
                      <a:lnTo>
                        <a:pt x="3024" y="2736"/>
                      </a:lnTo>
                      <a:lnTo>
                        <a:pt x="3030" y="2730"/>
                      </a:lnTo>
                      <a:lnTo>
                        <a:pt x="3030" y="2712"/>
                      </a:lnTo>
                      <a:lnTo>
                        <a:pt x="3036" y="2706"/>
                      </a:lnTo>
                      <a:lnTo>
                        <a:pt x="3048" y="2700"/>
                      </a:lnTo>
                      <a:lnTo>
                        <a:pt x="3060" y="2700"/>
                      </a:lnTo>
                      <a:lnTo>
                        <a:pt x="3066" y="2706"/>
                      </a:lnTo>
                      <a:lnTo>
                        <a:pt x="3072" y="2706"/>
                      </a:lnTo>
                      <a:lnTo>
                        <a:pt x="3072" y="2700"/>
                      </a:lnTo>
                      <a:lnTo>
                        <a:pt x="3102" y="2700"/>
                      </a:lnTo>
                      <a:lnTo>
                        <a:pt x="3114" y="2688"/>
                      </a:lnTo>
                      <a:lnTo>
                        <a:pt x="3126" y="2682"/>
                      </a:lnTo>
                      <a:lnTo>
                        <a:pt x="3150" y="2658"/>
                      </a:lnTo>
                      <a:lnTo>
                        <a:pt x="3162" y="2652"/>
                      </a:lnTo>
                      <a:lnTo>
                        <a:pt x="3174" y="2640"/>
                      </a:lnTo>
                      <a:lnTo>
                        <a:pt x="3408" y="2640"/>
                      </a:lnTo>
                      <a:lnTo>
                        <a:pt x="3408" y="2634"/>
                      </a:lnTo>
                      <a:lnTo>
                        <a:pt x="3420" y="2622"/>
                      </a:lnTo>
                      <a:lnTo>
                        <a:pt x="3438" y="2622"/>
                      </a:lnTo>
                      <a:lnTo>
                        <a:pt x="3450" y="2616"/>
                      </a:lnTo>
                      <a:lnTo>
                        <a:pt x="3456" y="2616"/>
                      </a:lnTo>
                      <a:lnTo>
                        <a:pt x="3456" y="2610"/>
                      </a:lnTo>
                      <a:lnTo>
                        <a:pt x="3468" y="2598"/>
                      </a:lnTo>
                      <a:lnTo>
                        <a:pt x="3480" y="2592"/>
                      </a:lnTo>
                      <a:lnTo>
                        <a:pt x="3486" y="2586"/>
                      </a:lnTo>
                      <a:lnTo>
                        <a:pt x="3498" y="2586"/>
                      </a:lnTo>
                      <a:lnTo>
                        <a:pt x="3504" y="2592"/>
                      </a:lnTo>
                      <a:lnTo>
                        <a:pt x="3510" y="2592"/>
                      </a:lnTo>
                      <a:lnTo>
                        <a:pt x="3510" y="2568"/>
                      </a:lnTo>
                      <a:lnTo>
                        <a:pt x="3516" y="2556"/>
                      </a:lnTo>
                      <a:lnTo>
                        <a:pt x="3528" y="2544"/>
                      </a:lnTo>
                      <a:lnTo>
                        <a:pt x="3534" y="2544"/>
                      </a:lnTo>
                      <a:lnTo>
                        <a:pt x="3546" y="2532"/>
                      </a:lnTo>
                      <a:lnTo>
                        <a:pt x="3546" y="2508"/>
                      </a:lnTo>
                      <a:lnTo>
                        <a:pt x="3588" y="2484"/>
                      </a:lnTo>
                      <a:lnTo>
                        <a:pt x="3594" y="2472"/>
                      </a:lnTo>
                      <a:lnTo>
                        <a:pt x="3618" y="2448"/>
                      </a:lnTo>
                      <a:lnTo>
                        <a:pt x="3630" y="2448"/>
                      </a:lnTo>
                      <a:lnTo>
                        <a:pt x="3636" y="2454"/>
                      </a:lnTo>
                      <a:lnTo>
                        <a:pt x="3636" y="2460"/>
                      </a:lnTo>
                      <a:lnTo>
                        <a:pt x="3642" y="2466"/>
                      </a:lnTo>
                      <a:lnTo>
                        <a:pt x="3654" y="2466"/>
                      </a:lnTo>
                      <a:lnTo>
                        <a:pt x="3666" y="2460"/>
                      </a:lnTo>
                      <a:lnTo>
                        <a:pt x="3702" y="2460"/>
                      </a:lnTo>
                      <a:lnTo>
                        <a:pt x="3708" y="2466"/>
                      </a:lnTo>
                      <a:lnTo>
                        <a:pt x="3708" y="2472"/>
                      </a:lnTo>
                      <a:lnTo>
                        <a:pt x="3702" y="2496"/>
                      </a:lnTo>
                      <a:lnTo>
                        <a:pt x="3690" y="2520"/>
                      </a:lnTo>
                      <a:lnTo>
                        <a:pt x="3678" y="2550"/>
                      </a:lnTo>
                      <a:lnTo>
                        <a:pt x="3666" y="2574"/>
                      </a:lnTo>
                      <a:lnTo>
                        <a:pt x="3666" y="2586"/>
                      </a:lnTo>
                      <a:lnTo>
                        <a:pt x="3672" y="2592"/>
                      </a:lnTo>
                      <a:lnTo>
                        <a:pt x="3678" y="2592"/>
                      </a:lnTo>
                      <a:lnTo>
                        <a:pt x="3684" y="2598"/>
                      </a:lnTo>
                      <a:lnTo>
                        <a:pt x="3672" y="2610"/>
                      </a:lnTo>
                      <a:lnTo>
                        <a:pt x="3666" y="2622"/>
                      </a:lnTo>
                      <a:lnTo>
                        <a:pt x="3666" y="2628"/>
                      </a:lnTo>
                      <a:lnTo>
                        <a:pt x="3690" y="2628"/>
                      </a:lnTo>
                      <a:lnTo>
                        <a:pt x="3690" y="2634"/>
                      </a:lnTo>
                      <a:lnTo>
                        <a:pt x="3696" y="2640"/>
                      </a:lnTo>
                      <a:lnTo>
                        <a:pt x="3714" y="2640"/>
                      </a:lnTo>
                      <a:lnTo>
                        <a:pt x="3750" y="2622"/>
                      </a:lnTo>
                      <a:lnTo>
                        <a:pt x="3768" y="2604"/>
                      </a:lnTo>
                      <a:lnTo>
                        <a:pt x="3780" y="2622"/>
                      </a:lnTo>
                      <a:lnTo>
                        <a:pt x="3786" y="2622"/>
                      </a:lnTo>
                      <a:lnTo>
                        <a:pt x="3792" y="2616"/>
                      </a:lnTo>
                      <a:lnTo>
                        <a:pt x="3816" y="2604"/>
                      </a:lnTo>
                      <a:lnTo>
                        <a:pt x="3828" y="2604"/>
                      </a:lnTo>
                      <a:lnTo>
                        <a:pt x="3840" y="2592"/>
                      </a:lnTo>
                      <a:lnTo>
                        <a:pt x="3852" y="2592"/>
                      </a:lnTo>
                      <a:lnTo>
                        <a:pt x="3864" y="2580"/>
                      </a:lnTo>
                      <a:lnTo>
                        <a:pt x="3870" y="2580"/>
                      </a:lnTo>
                      <a:lnTo>
                        <a:pt x="3888" y="2586"/>
                      </a:lnTo>
                      <a:lnTo>
                        <a:pt x="3846" y="2616"/>
                      </a:lnTo>
                      <a:lnTo>
                        <a:pt x="3936" y="2610"/>
                      </a:lnTo>
                      <a:lnTo>
                        <a:pt x="3918" y="2610"/>
                      </a:lnTo>
                      <a:lnTo>
                        <a:pt x="3906" y="2616"/>
                      </a:lnTo>
                      <a:lnTo>
                        <a:pt x="3894" y="2616"/>
                      </a:lnTo>
                      <a:lnTo>
                        <a:pt x="3888" y="2622"/>
                      </a:lnTo>
                      <a:lnTo>
                        <a:pt x="3888" y="2634"/>
                      </a:lnTo>
                      <a:lnTo>
                        <a:pt x="3882" y="2640"/>
                      </a:lnTo>
                      <a:lnTo>
                        <a:pt x="3876" y="2640"/>
                      </a:lnTo>
                      <a:lnTo>
                        <a:pt x="3870" y="2634"/>
                      </a:lnTo>
                      <a:lnTo>
                        <a:pt x="3864" y="2634"/>
                      </a:lnTo>
                      <a:lnTo>
                        <a:pt x="3852" y="2628"/>
                      </a:lnTo>
                      <a:lnTo>
                        <a:pt x="3846" y="2628"/>
                      </a:lnTo>
                      <a:lnTo>
                        <a:pt x="3828" y="2634"/>
                      </a:lnTo>
                      <a:lnTo>
                        <a:pt x="3738" y="2688"/>
                      </a:lnTo>
                      <a:lnTo>
                        <a:pt x="3726" y="2700"/>
                      </a:lnTo>
                      <a:lnTo>
                        <a:pt x="3720" y="2712"/>
                      </a:lnTo>
                      <a:lnTo>
                        <a:pt x="3720" y="2748"/>
                      </a:lnTo>
                      <a:lnTo>
                        <a:pt x="3726" y="2748"/>
                      </a:lnTo>
                      <a:lnTo>
                        <a:pt x="3732" y="2742"/>
                      </a:lnTo>
                      <a:lnTo>
                        <a:pt x="3738" y="2742"/>
                      </a:lnTo>
                      <a:lnTo>
                        <a:pt x="3738" y="2754"/>
                      </a:lnTo>
                      <a:lnTo>
                        <a:pt x="3744" y="2760"/>
                      </a:lnTo>
                      <a:lnTo>
                        <a:pt x="3756" y="2760"/>
                      </a:lnTo>
                      <a:lnTo>
                        <a:pt x="3762" y="2754"/>
                      </a:lnTo>
                      <a:lnTo>
                        <a:pt x="3768" y="2742"/>
                      </a:lnTo>
                      <a:lnTo>
                        <a:pt x="3774" y="2736"/>
                      </a:lnTo>
                      <a:lnTo>
                        <a:pt x="3786" y="2736"/>
                      </a:lnTo>
                      <a:lnTo>
                        <a:pt x="3804" y="2730"/>
                      </a:lnTo>
                      <a:lnTo>
                        <a:pt x="3816" y="2724"/>
                      </a:lnTo>
                      <a:lnTo>
                        <a:pt x="3834" y="2718"/>
                      </a:lnTo>
                      <a:lnTo>
                        <a:pt x="3846" y="2706"/>
                      </a:lnTo>
                      <a:lnTo>
                        <a:pt x="3852" y="2694"/>
                      </a:lnTo>
                      <a:lnTo>
                        <a:pt x="3870" y="2676"/>
                      </a:lnTo>
                      <a:lnTo>
                        <a:pt x="3876" y="2664"/>
                      </a:lnTo>
                      <a:lnTo>
                        <a:pt x="3876" y="2670"/>
                      </a:lnTo>
                      <a:lnTo>
                        <a:pt x="3882" y="2682"/>
                      </a:lnTo>
                      <a:lnTo>
                        <a:pt x="3888" y="2688"/>
                      </a:lnTo>
                      <a:lnTo>
                        <a:pt x="3894" y="2688"/>
                      </a:lnTo>
                      <a:lnTo>
                        <a:pt x="3930" y="2676"/>
                      </a:lnTo>
                      <a:lnTo>
                        <a:pt x="3954" y="2664"/>
                      </a:lnTo>
                      <a:lnTo>
                        <a:pt x="3972" y="2658"/>
                      </a:lnTo>
                      <a:lnTo>
                        <a:pt x="3984" y="2652"/>
                      </a:lnTo>
                      <a:lnTo>
                        <a:pt x="4008" y="2646"/>
                      </a:lnTo>
                      <a:lnTo>
                        <a:pt x="4068" y="2634"/>
                      </a:lnTo>
                      <a:lnTo>
                        <a:pt x="4080" y="2628"/>
                      </a:lnTo>
                      <a:lnTo>
                        <a:pt x="4068" y="2616"/>
                      </a:lnTo>
                      <a:lnTo>
                        <a:pt x="4074" y="2598"/>
                      </a:lnTo>
                      <a:lnTo>
                        <a:pt x="4038" y="2604"/>
                      </a:lnTo>
                      <a:lnTo>
                        <a:pt x="4038" y="2580"/>
                      </a:lnTo>
                      <a:lnTo>
                        <a:pt x="4026" y="2586"/>
                      </a:lnTo>
                      <a:lnTo>
                        <a:pt x="4020" y="2586"/>
                      </a:lnTo>
                      <a:lnTo>
                        <a:pt x="4008" y="2592"/>
                      </a:lnTo>
                      <a:lnTo>
                        <a:pt x="4002" y="2598"/>
                      </a:lnTo>
                      <a:lnTo>
                        <a:pt x="3990" y="2598"/>
                      </a:lnTo>
                      <a:lnTo>
                        <a:pt x="3990" y="2580"/>
                      </a:lnTo>
                      <a:lnTo>
                        <a:pt x="3930" y="2580"/>
                      </a:lnTo>
                      <a:lnTo>
                        <a:pt x="3924" y="2574"/>
                      </a:lnTo>
                      <a:lnTo>
                        <a:pt x="3924" y="2568"/>
                      </a:lnTo>
                      <a:lnTo>
                        <a:pt x="3918" y="2562"/>
                      </a:lnTo>
                      <a:lnTo>
                        <a:pt x="3918" y="2556"/>
                      </a:lnTo>
                      <a:lnTo>
                        <a:pt x="3930" y="2556"/>
                      </a:lnTo>
                      <a:lnTo>
                        <a:pt x="3918" y="2544"/>
                      </a:lnTo>
                      <a:lnTo>
                        <a:pt x="3888" y="2544"/>
                      </a:lnTo>
                      <a:lnTo>
                        <a:pt x="3882" y="2532"/>
                      </a:lnTo>
                      <a:lnTo>
                        <a:pt x="3882" y="2526"/>
                      </a:lnTo>
                      <a:lnTo>
                        <a:pt x="3876" y="2514"/>
                      </a:lnTo>
                      <a:lnTo>
                        <a:pt x="3876" y="2502"/>
                      </a:lnTo>
                      <a:lnTo>
                        <a:pt x="3894" y="2484"/>
                      </a:lnTo>
                      <a:lnTo>
                        <a:pt x="3870" y="2484"/>
                      </a:lnTo>
                      <a:lnTo>
                        <a:pt x="3876" y="2478"/>
                      </a:lnTo>
                      <a:lnTo>
                        <a:pt x="3888" y="2472"/>
                      </a:lnTo>
                      <a:lnTo>
                        <a:pt x="3894" y="2460"/>
                      </a:lnTo>
                      <a:lnTo>
                        <a:pt x="3906" y="2454"/>
                      </a:lnTo>
                      <a:lnTo>
                        <a:pt x="3918" y="2442"/>
                      </a:lnTo>
                      <a:lnTo>
                        <a:pt x="3924" y="2430"/>
                      </a:lnTo>
                      <a:lnTo>
                        <a:pt x="3936" y="2424"/>
                      </a:lnTo>
                      <a:lnTo>
                        <a:pt x="3942" y="2412"/>
                      </a:lnTo>
                      <a:lnTo>
                        <a:pt x="3948" y="2406"/>
                      </a:lnTo>
                      <a:lnTo>
                        <a:pt x="3936" y="2400"/>
                      </a:lnTo>
                      <a:lnTo>
                        <a:pt x="3912" y="2430"/>
                      </a:lnTo>
                      <a:lnTo>
                        <a:pt x="3894" y="2418"/>
                      </a:lnTo>
                      <a:lnTo>
                        <a:pt x="3864" y="2436"/>
                      </a:lnTo>
                      <a:lnTo>
                        <a:pt x="3858" y="2418"/>
                      </a:lnTo>
                      <a:lnTo>
                        <a:pt x="3828" y="2406"/>
                      </a:lnTo>
                      <a:lnTo>
                        <a:pt x="3810" y="2412"/>
                      </a:lnTo>
                      <a:lnTo>
                        <a:pt x="3864" y="2394"/>
                      </a:lnTo>
                      <a:lnTo>
                        <a:pt x="3870" y="2400"/>
                      </a:lnTo>
                      <a:lnTo>
                        <a:pt x="3882" y="2406"/>
                      </a:lnTo>
                      <a:lnTo>
                        <a:pt x="3900" y="2406"/>
                      </a:lnTo>
                      <a:lnTo>
                        <a:pt x="3918" y="2388"/>
                      </a:lnTo>
                      <a:lnTo>
                        <a:pt x="3930" y="2382"/>
                      </a:lnTo>
                      <a:lnTo>
                        <a:pt x="3936" y="2376"/>
                      </a:lnTo>
                      <a:lnTo>
                        <a:pt x="3978" y="2376"/>
                      </a:lnTo>
                      <a:lnTo>
                        <a:pt x="3978" y="2364"/>
                      </a:lnTo>
                      <a:lnTo>
                        <a:pt x="3972" y="2358"/>
                      </a:lnTo>
                      <a:lnTo>
                        <a:pt x="3966" y="2346"/>
                      </a:lnTo>
                      <a:lnTo>
                        <a:pt x="3990" y="2346"/>
                      </a:lnTo>
                      <a:lnTo>
                        <a:pt x="3978" y="2334"/>
                      </a:lnTo>
                      <a:lnTo>
                        <a:pt x="3972" y="2322"/>
                      </a:lnTo>
                      <a:lnTo>
                        <a:pt x="3960" y="2316"/>
                      </a:lnTo>
                      <a:lnTo>
                        <a:pt x="3942" y="2310"/>
                      </a:lnTo>
                      <a:lnTo>
                        <a:pt x="3918" y="2310"/>
                      </a:lnTo>
                      <a:lnTo>
                        <a:pt x="3852" y="2316"/>
                      </a:lnTo>
                      <a:lnTo>
                        <a:pt x="3792" y="2334"/>
                      </a:lnTo>
                      <a:lnTo>
                        <a:pt x="3744" y="2352"/>
                      </a:lnTo>
                      <a:lnTo>
                        <a:pt x="3684" y="2376"/>
                      </a:lnTo>
                      <a:lnTo>
                        <a:pt x="3660" y="2388"/>
                      </a:lnTo>
                      <a:lnTo>
                        <a:pt x="3642" y="2400"/>
                      </a:lnTo>
                      <a:lnTo>
                        <a:pt x="3624" y="2418"/>
                      </a:lnTo>
                      <a:lnTo>
                        <a:pt x="3606" y="2430"/>
                      </a:lnTo>
                      <a:lnTo>
                        <a:pt x="3594" y="2442"/>
                      </a:lnTo>
                      <a:lnTo>
                        <a:pt x="3576" y="2454"/>
                      </a:lnTo>
                      <a:lnTo>
                        <a:pt x="3564" y="2466"/>
                      </a:lnTo>
                      <a:lnTo>
                        <a:pt x="3528" y="2484"/>
                      </a:lnTo>
                      <a:lnTo>
                        <a:pt x="3516" y="2484"/>
                      </a:lnTo>
                      <a:lnTo>
                        <a:pt x="3498" y="2490"/>
                      </a:lnTo>
                      <a:lnTo>
                        <a:pt x="3486" y="2490"/>
                      </a:lnTo>
                      <a:lnTo>
                        <a:pt x="3492" y="2490"/>
                      </a:lnTo>
                      <a:lnTo>
                        <a:pt x="3498" y="2484"/>
                      </a:lnTo>
                      <a:lnTo>
                        <a:pt x="3510" y="2478"/>
                      </a:lnTo>
                      <a:lnTo>
                        <a:pt x="3522" y="2466"/>
                      </a:lnTo>
                      <a:lnTo>
                        <a:pt x="3540" y="2460"/>
                      </a:lnTo>
                      <a:lnTo>
                        <a:pt x="3552" y="2448"/>
                      </a:lnTo>
                      <a:lnTo>
                        <a:pt x="3576" y="2436"/>
                      </a:lnTo>
                      <a:lnTo>
                        <a:pt x="3600" y="2412"/>
                      </a:lnTo>
                      <a:lnTo>
                        <a:pt x="3606" y="2400"/>
                      </a:lnTo>
                      <a:lnTo>
                        <a:pt x="3582" y="2388"/>
                      </a:lnTo>
                      <a:lnTo>
                        <a:pt x="3588" y="2388"/>
                      </a:lnTo>
                      <a:lnTo>
                        <a:pt x="3594" y="2394"/>
                      </a:lnTo>
                      <a:lnTo>
                        <a:pt x="3624" y="2394"/>
                      </a:lnTo>
                      <a:lnTo>
                        <a:pt x="3642" y="2382"/>
                      </a:lnTo>
                      <a:lnTo>
                        <a:pt x="3702" y="2334"/>
                      </a:lnTo>
                      <a:lnTo>
                        <a:pt x="3750" y="2310"/>
                      </a:lnTo>
                      <a:lnTo>
                        <a:pt x="3768" y="2304"/>
                      </a:lnTo>
                      <a:lnTo>
                        <a:pt x="3804" y="2304"/>
                      </a:lnTo>
                      <a:lnTo>
                        <a:pt x="3852" y="2256"/>
                      </a:lnTo>
                      <a:lnTo>
                        <a:pt x="3870" y="2244"/>
                      </a:lnTo>
                      <a:lnTo>
                        <a:pt x="3888" y="2238"/>
                      </a:lnTo>
                      <a:lnTo>
                        <a:pt x="3936" y="2232"/>
                      </a:lnTo>
                      <a:lnTo>
                        <a:pt x="3990" y="2232"/>
                      </a:lnTo>
                      <a:lnTo>
                        <a:pt x="4044" y="2226"/>
                      </a:lnTo>
                      <a:lnTo>
                        <a:pt x="4074" y="2226"/>
                      </a:lnTo>
                      <a:lnTo>
                        <a:pt x="4104" y="2232"/>
                      </a:lnTo>
                      <a:lnTo>
                        <a:pt x="4176" y="2244"/>
                      </a:lnTo>
                      <a:lnTo>
                        <a:pt x="4200" y="2250"/>
                      </a:lnTo>
                      <a:lnTo>
                        <a:pt x="4212" y="2244"/>
                      </a:lnTo>
                      <a:lnTo>
                        <a:pt x="4248" y="2232"/>
                      </a:lnTo>
                      <a:lnTo>
                        <a:pt x="4260" y="2226"/>
                      </a:lnTo>
                      <a:lnTo>
                        <a:pt x="4278" y="2226"/>
                      </a:lnTo>
                      <a:lnTo>
                        <a:pt x="4296" y="2220"/>
                      </a:lnTo>
                      <a:lnTo>
                        <a:pt x="4320" y="2214"/>
                      </a:lnTo>
                      <a:lnTo>
                        <a:pt x="4338" y="2208"/>
                      </a:lnTo>
                      <a:lnTo>
                        <a:pt x="4374" y="2172"/>
                      </a:lnTo>
                      <a:lnTo>
                        <a:pt x="4392" y="2166"/>
                      </a:lnTo>
                      <a:lnTo>
                        <a:pt x="4404" y="2154"/>
                      </a:lnTo>
                      <a:lnTo>
                        <a:pt x="4410" y="2154"/>
                      </a:lnTo>
                      <a:lnTo>
                        <a:pt x="4422" y="2148"/>
                      </a:lnTo>
                      <a:lnTo>
                        <a:pt x="4452" y="2148"/>
                      </a:lnTo>
                      <a:lnTo>
                        <a:pt x="4458" y="2142"/>
                      </a:lnTo>
                      <a:lnTo>
                        <a:pt x="4470" y="2136"/>
                      </a:lnTo>
                      <a:lnTo>
                        <a:pt x="4476" y="2130"/>
                      </a:lnTo>
                      <a:lnTo>
                        <a:pt x="4494" y="2130"/>
                      </a:lnTo>
                      <a:lnTo>
                        <a:pt x="4500" y="2136"/>
                      </a:lnTo>
                      <a:lnTo>
                        <a:pt x="4518" y="2136"/>
                      </a:lnTo>
                      <a:lnTo>
                        <a:pt x="4530" y="2130"/>
                      </a:lnTo>
                      <a:lnTo>
                        <a:pt x="4536" y="2130"/>
                      </a:lnTo>
                      <a:lnTo>
                        <a:pt x="4542" y="2124"/>
                      </a:lnTo>
                      <a:lnTo>
                        <a:pt x="4596" y="2106"/>
                      </a:lnTo>
                      <a:lnTo>
                        <a:pt x="4620" y="2094"/>
                      </a:lnTo>
                      <a:lnTo>
                        <a:pt x="4620" y="2088"/>
                      </a:lnTo>
                      <a:lnTo>
                        <a:pt x="4614" y="2076"/>
                      </a:lnTo>
                      <a:lnTo>
                        <a:pt x="4602" y="2070"/>
                      </a:lnTo>
                      <a:lnTo>
                        <a:pt x="4584" y="2052"/>
                      </a:lnTo>
                      <a:lnTo>
                        <a:pt x="4578" y="2052"/>
                      </a:lnTo>
                      <a:lnTo>
                        <a:pt x="4602" y="2052"/>
                      </a:lnTo>
                      <a:lnTo>
                        <a:pt x="4614" y="2046"/>
                      </a:lnTo>
                      <a:lnTo>
                        <a:pt x="4614" y="2028"/>
                      </a:lnTo>
                      <a:lnTo>
                        <a:pt x="4608" y="2022"/>
                      </a:lnTo>
                      <a:lnTo>
                        <a:pt x="4608" y="2010"/>
                      </a:lnTo>
                      <a:lnTo>
                        <a:pt x="4632" y="2010"/>
                      </a:lnTo>
                      <a:lnTo>
                        <a:pt x="4644" y="1998"/>
                      </a:lnTo>
                      <a:lnTo>
                        <a:pt x="4644" y="1992"/>
                      </a:lnTo>
                      <a:lnTo>
                        <a:pt x="4632" y="1980"/>
                      </a:lnTo>
                      <a:lnTo>
                        <a:pt x="4626" y="1968"/>
                      </a:lnTo>
                      <a:lnTo>
                        <a:pt x="4608" y="1962"/>
                      </a:lnTo>
                      <a:lnTo>
                        <a:pt x="4602" y="1956"/>
                      </a:lnTo>
                      <a:lnTo>
                        <a:pt x="4590" y="1962"/>
                      </a:lnTo>
                      <a:close/>
                    </a:path>
                  </a:pathLst>
                </a:custGeom>
                <a:solidFill>
                  <a:schemeClr val="accent1"/>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666" name="Cameroon"/>
                <p:cNvSpPr>
                  <a:spLocks/>
                </p:cNvSpPr>
                <p:nvPr/>
              </p:nvSpPr>
              <p:spPr bwMode="gray">
                <a:xfrm>
                  <a:off x="2808" y="2039"/>
                  <a:ext cx="140" cy="237"/>
                </a:xfrm>
                <a:custGeom>
                  <a:avLst/>
                  <a:gdLst>
                    <a:gd name="T0" fmla="*/ 2147483647 w 546"/>
                    <a:gd name="T1" fmla="*/ 0 h 924"/>
                    <a:gd name="T2" fmla="*/ 2147483647 w 546"/>
                    <a:gd name="T3" fmla="*/ 2147483647 h 924"/>
                    <a:gd name="T4" fmla="*/ 2147483647 w 546"/>
                    <a:gd name="T5" fmla="*/ 2147483647 h 924"/>
                    <a:gd name="T6" fmla="*/ 2147483647 w 546"/>
                    <a:gd name="T7" fmla="*/ 2147483647 h 924"/>
                    <a:gd name="T8" fmla="*/ 2147483647 w 546"/>
                    <a:gd name="T9" fmla="*/ 2147483647 h 924"/>
                    <a:gd name="T10" fmla="*/ 2147483647 w 546"/>
                    <a:gd name="T11" fmla="*/ 2147483647 h 924"/>
                    <a:gd name="T12" fmla="*/ 2147483647 w 546"/>
                    <a:gd name="T13" fmla="*/ 2147483647 h 924"/>
                    <a:gd name="T14" fmla="*/ 2147483647 w 546"/>
                    <a:gd name="T15" fmla="*/ 2147483647 h 924"/>
                    <a:gd name="T16" fmla="*/ 2147483647 w 546"/>
                    <a:gd name="T17" fmla="*/ 2147483647 h 924"/>
                    <a:gd name="T18" fmla="*/ 2147483647 w 546"/>
                    <a:gd name="T19" fmla="*/ 2147483647 h 924"/>
                    <a:gd name="T20" fmla="*/ 2147483647 w 546"/>
                    <a:gd name="T21" fmla="*/ 2147483647 h 924"/>
                    <a:gd name="T22" fmla="*/ 2147483647 w 546"/>
                    <a:gd name="T23" fmla="*/ 2147483647 h 924"/>
                    <a:gd name="T24" fmla="*/ 2147483647 w 546"/>
                    <a:gd name="T25" fmla="*/ 2147483647 h 924"/>
                    <a:gd name="T26" fmla="*/ 2147483647 w 546"/>
                    <a:gd name="T27" fmla="*/ 2147483647 h 924"/>
                    <a:gd name="T28" fmla="*/ 2147483647 w 546"/>
                    <a:gd name="T29" fmla="*/ 2147483647 h 924"/>
                    <a:gd name="T30" fmla="*/ 2147483647 w 546"/>
                    <a:gd name="T31" fmla="*/ 2147483647 h 924"/>
                    <a:gd name="T32" fmla="*/ 2147483647 w 546"/>
                    <a:gd name="T33" fmla="*/ 2147483647 h 924"/>
                    <a:gd name="T34" fmla="*/ 2147483647 w 546"/>
                    <a:gd name="T35" fmla="*/ 2147483647 h 924"/>
                    <a:gd name="T36" fmla="*/ 2147483647 w 546"/>
                    <a:gd name="T37" fmla="*/ 2147483647 h 924"/>
                    <a:gd name="T38" fmla="*/ 2147483647 w 546"/>
                    <a:gd name="T39" fmla="*/ 2147483647 h 924"/>
                    <a:gd name="T40" fmla="*/ 2147483647 w 546"/>
                    <a:gd name="T41" fmla="*/ 2147483647 h 924"/>
                    <a:gd name="T42" fmla="*/ 2147483647 w 546"/>
                    <a:gd name="T43" fmla="*/ 2147483647 h 924"/>
                    <a:gd name="T44" fmla="*/ 2147483647 w 546"/>
                    <a:gd name="T45" fmla="*/ 2147483647 h 924"/>
                    <a:gd name="T46" fmla="*/ 2147483647 w 546"/>
                    <a:gd name="T47" fmla="*/ 2147483647 h 924"/>
                    <a:gd name="T48" fmla="*/ 2147483647 w 546"/>
                    <a:gd name="T49" fmla="*/ 2147483647 h 924"/>
                    <a:gd name="T50" fmla="*/ 2147483647 w 546"/>
                    <a:gd name="T51" fmla="*/ 2147483647 h 924"/>
                    <a:gd name="T52" fmla="*/ 2147483647 w 546"/>
                    <a:gd name="T53" fmla="*/ 2147483647 h 924"/>
                    <a:gd name="T54" fmla="*/ 2147483647 w 546"/>
                    <a:gd name="T55" fmla="*/ 2147483647 h 924"/>
                    <a:gd name="T56" fmla="*/ 2147483647 w 546"/>
                    <a:gd name="T57" fmla="*/ 2147483647 h 924"/>
                    <a:gd name="T58" fmla="*/ 2147483647 w 546"/>
                    <a:gd name="T59" fmla="*/ 2147483647 h 924"/>
                    <a:gd name="T60" fmla="*/ 2147483647 w 546"/>
                    <a:gd name="T61" fmla="*/ 2147483647 h 924"/>
                    <a:gd name="T62" fmla="*/ 2147483647 w 546"/>
                    <a:gd name="T63" fmla="*/ 2147483647 h 924"/>
                    <a:gd name="T64" fmla="*/ 2147483647 w 546"/>
                    <a:gd name="T65" fmla="*/ 2147483647 h 924"/>
                    <a:gd name="T66" fmla="*/ 2147483647 w 546"/>
                    <a:gd name="T67" fmla="*/ 2147483647 h 924"/>
                    <a:gd name="T68" fmla="*/ 2147483647 w 546"/>
                    <a:gd name="T69" fmla="*/ 2147483647 h 924"/>
                    <a:gd name="T70" fmla="*/ 2147483647 w 546"/>
                    <a:gd name="T71" fmla="*/ 2147483647 h 924"/>
                    <a:gd name="T72" fmla="*/ 2147483647 w 546"/>
                    <a:gd name="T73" fmla="*/ 2147483647 h 924"/>
                    <a:gd name="T74" fmla="*/ 2147483647 w 546"/>
                    <a:gd name="T75" fmla="*/ 2147483647 h 924"/>
                    <a:gd name="T76" fmla="*/ 2147483647 w 546"/>
                    <a:gd name="T77" fmla="*/ 2147483647 h 924"/>
                    <a:gd name="T78" fmla="*/ 2147483647 w 546"/>
                    <a:gd name="T79" fmla="*/ 2147483647 h 924"/>
                    <a:gd name="T80" fmla="*/ 2147483647 w 546"/>
                    <a:gd name="T81" fmla="*/ 2147483647 h 924"/>
                    <a:gd name="T82" fmla="*/ 2147483647 w 546"/>
                    <a:gd name="T83" fmla="*/ 2147483647 h 924"/>
                    <a:gd name="T84" fmla="*/ 2147483647 w 546"/>
                    <a:gd name="T85" fmla="*/ 2147483647 h 924"/>
                    <a:gd name="T86" fmla="*/ 2147483647 w 546"/>
                    <a:gd name="T87" fmla="*/ 2147483647 h 924"/>
                    <a:gd name="T88" fmla="*/ 2147483647 w 546"/>
                    <a:gd name="T89" fmla="*/ 2147483647 h 924"/>
                    <a:gd name="T90" fmla="*/ 2147483647 w 546"/>
                    <a:gd name="T91" fmla="*/ 2147483647 h 924"/>
                    <a:gd name="T92" fmla="*/ 2147483647 w 546"/>
                    <a:gd name="T93" fmla="*/ 2147483647 h 924"/>
                    <a:gd name="T94" fmla="*/ 2147483647 w 546"/>
                    <a:gd name="T95" fmla="*/ 2147483647 h 924"/>
                    <a:gd name="T96" fmla="*/ 2147483647 w 546"/>
                    <a:gd name="T97" fmla="*/ 2147483647 h 924"/>
                    <a:gd name="T98" fmla="*/ 2147483647 w 546"/>
                    <a:gd name="T99" fmla="*/ 2147483647 h 924"/>
                    <a:gd name="T100" fmla="*/ 2147483647 w 546"/>
                    <a:gd name="T101" fmla="*/ 2147483647 h 924"/>
                    <a:gd name="T102" fmla="*/ 2147483647 w 546"/>
                    <a:gd name="T103" fmla="*/ 2147483647 h 924"/>
                    <a:gd name="T104" fmla="*/ 2147483647 w 546"/>
                    <a:gd name="T105" fmla="*/ 2147483647 h 924"/>
                    <a:gd name="T106" fmla="*/ 2147483647 w 546"/>
                    <a:gd name="T107" fmla="*/ 2147483647 h 924"/>
                    <a:gd name="T108" fmla="*/ 2147483647 w 546"/>
                    <a:gd name="T109" fmla="*/ 2147483647 h 924"/>
                    <a:gd name="T110" fmla="*/ 2147483647 w 546"/>
                    <a:gd name="T111" fmla="*/ 2147483647 h 92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46"/>
                    <a:gd name="T169" fmla="*/ 0 h 924"/>
                    <a:gd name="T170" fmla="*/ 546 w 546"/>
                    <a:gd name="T171" fmla="*/ 924 h 92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46" h="924">
                      <a:moveTo>
                        <a:pt x="420" y="30"/>
                      </a:moveTo>
                      <a:lnTo>
                        <a:pt x="414" y="18"/>
                      </a:lnTo>
                      <a:lnTo>
                        <a:pt x="414" y="0"/>
                      </a:lnTo>
                      <a:lnTo>
                        <a:pt x="390" y="6"/>
                      </a:lnTo>
                      <a:lnTo>
                        <a:pt x="390" y="54"/>
                      </a:lnTo>
                      <a:lnTo>
                        <a:pt x="396" y="60"/>
                      </a:lnTo>
                      <a:lnTo>
                        <a:pt x="396" y="66"/>
                      </a:lnTo>
                      <a:lnTo>
                        <a:pt x="426" y="66"/>
                      </a:lnTo>
                      <a:lnTo>
                        <a:pt x="426" y="96"/>
                      </a:lnTo>
                      <a:lnTo>
                        <a:pt x="420" y="102"/>
                      </a:lnTo>
                      <a:lnTo>
                        <a:pt x="420" y="108"/>
                      </a:lnTo>
                      <a:lnTo>
                        <a:pt x="426" y="114"/>
                      </a:lnTo>
                      <a:lnTo>
                        <a:pt x="426" y="126"/>
                      </a:lnTo>
                      <a:lnTo>
                        <a:pt x="408" y="144"/>
                      </a:lnTo>
                      <a:lnTo>
                        <a:pt x="396" y="150"/>
                      </a:lnTo>
                      <a:lnTo>
                        <a:pt x="384" y="150"/>
                      </a:lnTo>
                      <a:lnTo>
                        <a:pt x="384" y="156"/>
                      </a:lnTo>
                      <a:lnTo>
                        <a:pt x="378" y="162"/>
                      </a:lnTo>
                      <a:lnTo>
                        <a:pt x="378" y="168"/>
                      </a:lnTo>
                      <a:lnTo>
                        <a:pt x="372" y="174"/>
                      </a:lnTo>
                      <a:lnTo>
                        <a:pt x="372" y="180"/>
                      </a:lnTo>
                      <a:lnTo>
                        <a:pt x="360" y="192"/>
                      </a:lnTo>
                      <a:lnTo>
                        <a:pt x="354" y="204"/>
                      </a:lnTo>
                      <a:lnTo>
                        <a:pt x="348" y="234"/>
                      </a:lnTo>
                      <a:lnTo>
                        <a:pt x="342" y="240"/>
                      </a:lnTo>
                      <a:lnTo>
                        <a:pt x="342" y="270"/>
                      </a:lnTo>
                      <a:lnTo>
                        <a:pt x="336" y="288"/>
                      </a:lnTo>
                      <a:lnTo>
                        <a:pt x="330" y="294"/>
                      </a:lnTo>
                      <a:lnTo>
                        <a:pt x="312" y="294"/>
                      </a:lnTo>
                      <a:lnTo>
                        <a:pt x="312" y="324"/>
                      </a:lnTo>
                      <a:lnTo>
                        <a:pt x="306" y="342"/>
                      </a:lnTo>
                      <a:lnTo>
                        <a:pt x="306" y="354"/>
                      </a:lnTo>
                      <a:lnTo>
                        <a:pt x="300" y="360"/>
                      </a:lnTo>
                      <a:lnTo>
                        <a:pt x="288" y="366"/>
                      </a:lnTo>
                      <a:lnTo>
                        <a:pt x="282" y="372"/>
                      </a:lnTo>
                      <a:lnTo>
                        <a:pt x="270" y="378"/>
                      </a:lnTo>
                      <a:lnTo>
                        <a:pt x="258" y="426"/>
                      </a:lnTo>
                      <a:lnTo>
                        <a:pt x="234" y="456"/>
                      </a:lnTo>
                      <a:lnTo>
                        <a:pt x="234" y="486"/>
                      </a:lnTo>
                      <a:lnTo>
                        <a:pt x="228" y="492"/>
                      </a:lnTo>
                      <a:lnTo>
                        <a:pt x="216" y="498"/>
                      </a:lnTo>
                      <a:lnTo>
                        <a:pt x="210" y="510"/>
                      </a:lnTo>
                      <a:lnTo>
                        <a:pt x="210" y="522"/>
                      </a:lnTo>
                      <a:lnTo>
                        <a:pt x="192" y="540"/>
                      </a:lnTo>
                      <a:lnTo>
                        <a:pt x="186" y="540"/>
                      </a:lnTo>
                      <a:lnTo>
                        <a:pt x="180" y="534"/>
                      </a:lnTo>
                      <a:lnTo>
                        <a:pt x="174" y="522"/>
                      </a:lnTo>
                      <a:lnTo>
                        <a:pt x="174" y="516"/>
                      </a:lnTo>
                      <a:lnTo>
                        <a:pt x="168" y="504"/>
                      </a:lnTo>
                      <a:lnTo>
                        <a:pt x="156" y="492"/>
                      </a:lnTo>
                      <a:lnTo>
                        <a:pt x="150" y="480"/>
                      </a:lnTo>
                      <a:lnTo>
                        <a:pt x="138" y="480"/>
                      </a:lnTo>
                      <a:lnTo>
                        <a:pt x="144" y="486"/>
                      </a:lnTo>
                      <a:lnTo>
                        <a:pt x="144" y="498"/>
                      </a:lnTo>
                      <a:lnTo>
                        <a:pt x="138" y="504"/>
                      </a:lnTo>
                      <a:lnTo>
                        <a:pt x="132" y="504"/>
                      </a:lnTo>
                      <a:lnTo>
                        <a:pt x="120" y="498"/>
                      </a:lnTo>
                      <a:lnTo>
                        <a:pt x="114" y="492"/>
                      </a:lnTo>
                      <a:lnTo>
                        <a:pt x="108" y="492"/>
                      </a:lnTo>
                      <a:lnTo>
                        <a:pt x="102" y="498"/>
                      </a:lnTo>
                      <a:lnTo>
                        <a:pt x="90" y="522"/>
                      </a:lnTo>
                      <a:lnTo>
                        <a:pt x="84" y="528"/>
                      </a:lnTo>
                      <a:lnTo>
                        <a:pt x="84" y="534"/>
                      </a:lnTo>
                      <a:lnTo>
                        <a:pt x="18" y="588"/>
                      </a:lnTo>
                      <a:lnTo>
                        <a:pt x="18" y="642"/>
                      </a:lnTo>
                      <a:lnTo>
                        <a:pt x="12" y="654"/>
                      </a:lnTo>
                      <a:lnTo>
                        <a:pt x="12" y="666"/>
                      </a:lnTo>
                      <a:lnTo>
                        <a:pt x="6" y="672"/>
                      </a:lnTo>
                      <a:lnTo>
                        <a:pt x="6" y="678"/>
                      </a:lnTo>
                      <a:lnTo>
                        <a:pt x="0" y="690"/>
                      </a:lnTo>
                      <a:lnTo>
                        <a:pt x="24" y="684"/>
                      </a:lnTo>
                      <a:lnTo>
                        <a:pt x="24" y="708"/>
                      </a:lnTo>
                      <a:lnTo>
                        <a:pt x="36" y="732"/>
                      </a:lnTo>
                      <a:lnTo>
                        <a:pt x="60" y="744"/>
                      </a:lnTo>
                      <a:lnTo>
                        <a:pt x="66" y="750"/>
                      </a:lnTo>
                      <a:lnTo>
                        <a:pt x="84" y="726"/>
                      </a:lnTo>
                      <a:lnTo>
                        <a:pt x="66" y="756"/>
                      </a:lnTo>
                      <a:lnTo>
                        <a:pt x="84" y="786"/>
                      </a:lnTo>
                      <a:lnTo>
                        <a:pt x="102" y="792"/>
                      </a:lnTo>
                      <a:lnTo>
                        <a:pt x="102" y="840"/>
                      </a:lnTo>
                      <a:lnTo>
                        <a:pt x="90" y="840"/>
                      </a:lnTo>
                      <a:lnTo>
                        <a:pt x="90" y="870"/>
                      </a:lnTo>
                      <a:lnTo>
                        <a:pt x="102" y="882"/>
                      </a:lnTo>
                      <a:lnTo>
                        <a:pt x="198" y="882"/>
                      </a:lnTo>
                      <a:lnTo>
                        <a:pt x="216" y="864"/>
                      </a:lnTo>
                      <a:lnTo>
                        <a:pt x="228" y="882"/>
                      </a:lnTo>
                      <a:lnTo>
                        <a:pt x="258" y="882"/>
                      </a:lnTo>
                      <a:lnTo>
                        <a:pt x="270" y="870"/>
                      </a:lnTo>
                      <a:lnTo>
                        <a:pt x="276" y="870"/>
                      </a:lnTo>
                      <a:lnTo>
                        <a:pt x="288" y="876"/>
                      </a:lnTo>
                      <a:lnTo>
                        <a:pt x="294" y="876"/>
                      </a:lnTo>
                      <a:lnTo>
                        <a:pt x="342" y="870"/>
                      </a:lnTo>
                      <a:lnTo>
                        <a:pt x="342" y="888"/>
                      </a:lnTo>
                      <a:lnTo>
                        <a:pt x="372" y="888"/>
                      </a:lnTo>
                      <a:lnTo>
                        <a:pt x="390" y="882"/>
                      </a:lnTo>
                      <a:lnTo>
                        <a:pt x="438" y="882"/>
                      </a:lnTo>
                      <a:lnTo>
                        <a:pt x="450" y="888"/>
                      </a:lnTo>
                      <a:lnTo>
                        <a:pt x="456" y="894"/>
                      </a:lnTo>
                      <a:lnTo>
                        <a:pt x="468" y="894"/>
                      </a:lnTo>
                      <a:lnTo>
                        <a:pt x="474" y="900"/>
                      </a:lnTo>
                      <a:lnTo>
                        <a:pt x="510" y="900"/>
                      </a:lnTo>
                      <a:lnTo>
                        <a:pt x="534" y="924"/>
                      </a:lnTo>
                      <a:lnTo>
                        <a:pt x="540" y="882"/>
                      </a:lnTo>
                      <a:lnTo>
                        <a:pt x="546" y="876"/>
                      </a:lnTo>
                      <a:lnTo>
                        <a:pt x="534" y="864"/>
                      </a:lnTo>
                      <a:lnTo>
                        <a:pt x="534" y="834"/>
                      </a:lnTo>
                      <a:lnTo>
                        <a:pt x="528" y="816"/>
                      </a:lnTo>
                      <a:lnTo>
                        <a:pt x="516" y="810"/>
                      </a:lnTo>
                      <a:lnTo>
                        <a:pt x="510" y="798"/>
                      </a:lnTo>
                      <a:lnTo>
                        <a:pt x="498" y="792"/>
                      </a:lnTo>
                      <a:lnTo>
                        <a:pt x="486" y="780"/>
                      </a:lnTo>
                      <a:lnTo>
                        <a:pt x="474" y="756"/>
                      </a:lnTo>
                      <a:lnTo>
                        <a:pt x="468" y="750"/>
                      </a:lnTo>
                      <a:lnTo>
                        <a:pt x="468" y="708"/>
                      </a:lnTo>
                      <a:lnTo>
                        <a:pt x="462" y="708"/>
                      </a:lnTo>
                      <a:lnTo>
                        <a:pt x="444" y="690"/>
                      </a:lnTo>
                      <a:lnTo>
                        <a:pt x="438" y="690"/>
                      </a:lnTo>
                      <a:lnTo>
                        <a:pt x="438" y="642"/>
                      </a:lnTo>
                      <a:lnTo>
                        <a:pt x="420" y="630"/>
                      </a:lnTo>
                      <a:lnTo>
                        <a:pt x="432" y="618"/>
                      </a:lnTo>
                      <a:lnTo>
                        <a:pt x="432" y="582"/>
                      </a:lnTo>
                      <a:lnTo>
                        <a:pt x="426" y="582"/>
                      </a:lnTo>
                      <a:lnTo>
                        <a:pt x="414" y="576"/>
                      </a:lnTo>
                      <a:lnTo>
                        <a:pt x="414" y="570"/>
                      </a:lnTo>
                      <a:lnTo>
                        <a:pt x="426" y="558"/>
                      </a:lnTo>
                      <a:lnTo>
                        <a:pt x="438" y="552"/>
                      </a:lnTo>
                      <a:lnTo>
                        <a:pt x="444" y="546"/>
                      </a:lnTo>
                      <a:lnTo>
                        <a:pt x="450" y="546"/>
                      </a:lnTo>
                      <a:lnTo>
                        <a:pt x="456" y="510"/>
                      </a:lnTo>
                      <a:lnTo>
                        <a:pt x="462" y="510"/>
                      </a:lnTo>
                      <a:lnTo>
                        <a:pt x="468" y="498"/>
                      </a:lnTo>
                      <a:lnTo>
                        <a:pt x="468" y="480"/>
                      </a:lnTo>
                      <a:lnTo>
                        <a:pt x="474" y="474"/>
                      </a:lnTo>
                      <a:lnTo>
                        <a:pt x="480" y="462"/>
                      </a:lnTo>
                      <a:lnTo>
                        <a:pt x="492" y="450"/>
                      </a:lnTo>
                      <a:lnTo>
                        <a:pt x="498" y="450"/>
                      </a:lnTo>
                      <a:lnTo>
                        <a:pt x="498" y="438"/>
                      </a:lnTo>
                      <a:lnTo>
                        <a:pt x="492" y="420"/>
                      </a:lnTo>
                      <a:lnTo>
                        <a:pt x="486" y="408"/>
                      </a:lnTo>
                      <a:lnTo>
                        <a:pt x="486" y="390"/>
                      </a:lnTo>
                      <a:lnTo>
                        <a:pt x="474" y="366"/>
                      </a:lnTo>
                      <a:lnTo>
                        <a:pt x="462" y="354"/>
                      </a:lnTo>
                      <a:lnTo>
                        <a:pt x="450" y="348"/>
                      </a:lnTo>
                      <a:lnTo>
                        <a:pt x="432" y="336"/>
                      </a:lnTo>
                      <a:lnTo>
                        <a:pt x="420" y="324"/>
                      </a:lnTo>
                      <a:lnTo>
                        <a:pt x="414" y="312"/>
                      </a:lnTo>
                      <a:lnTo>
                        <a:pt x="402" y="300"/>
                      </a:lnTo>
                      <a:lnTo>
                        <a:pt x="390" y="276"/>
                      </a:lnTo>
                      <a:lnTo>
                        <a:pt x="390" y="264"/>
                      </a:lnTo>
                      <a:lnTo>
                        <a:pt x="396" y="258"/>
                      </a:lnTo>
                      <a:lnTo>
                        <a:pt x="408" y="252"/>
                      </a:lnTo>
                      <a:lnTo>
                        <a:pt x="504" y="252"/>
                      </a:lnTo>
                      <a:lnTo>
                        <a:pt x="486" y="234"/>
                      </a:lnTo>
                      <a:lnTo>
                        <a:pt x="480" y="222"/>
                      </a:lnTo>
                      <a:lnTo>
                        <a:pt x="468" y="216"/>
                      </a:lnTo>
                      <a:lnTo>
                        <a:pt x="462" y="204"/>
                      </a:lnTo>
                      <a:lnTo>
                        <a:pt x="462" y="186"/>
                      </a:lnTo>
                      <a:lnTo>
                        <a:pt x="456" y="168"/>
                      </a:lnTo>
                      <a:lnTo>
                        <a:pt x="456" y="132"/>
                      </a:lnTo>
                      <a:lnTo>
                        <a:pt x="462" y="132"/>
                      </a:lnTo>
                      <a:lnTo>
                        <a:pt x="462" y="96"/>
                      </a:lnTo>
                      <a:lnTo>
                        <a:pt x="456" y="84"/>
                      </a:lnTo>
                      <a:lnTo>
                        <a:pt x="444" y="78"/>
                      </a:lnTo>
                      <a:lnTo>
                        <a:pt x="450" y="42"/>
                      </a:lnTo>
                      <a:lnTo>
                        <a:pt x="444" y="42"/>
                      </a:lnTo>
                      <a:lnTo>
                        <a:pt x="438" y="36"/>
                      </a:lnTo>
                      <a:lnTo>
                        <a:pt x="426" y="36"/>
                      </a:lnTo>
                      <a:lnTo>
                        <a:pt x="420" y="3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667" name="Cambodia"/>
                <p:cNvSpPr>
                  <a:spLocks/>
                </p:cNvSpPr>
                <p:nvPr/>
              </p:nvSpPr>
              <p:spPr bwMode="gray">
                <a:xfrm>
                  <a:off x="4504" y="2010"/>
                  <a:ext cx="97" cy="86"/>
                </a:xfrm>
                <a:custGeom>
                  <a:avLst/>
                  <a:gdLst>
                    <a:gd name="T0" fmla="*/ 2147483647 w 378"/>
                    <a:gd name="T1" fmla="*/ 2147483647 h 336"/>
                    <a:gd name="T2" fmla="*/ 2147483647 w 378"/>
                    <a:gd name="T3" fmla="*/ 2147483647 h 336"/>
                    <a:gd name="T4" fmla="*/ 2147483647 w 378"/>
                    <a:gd name="T5" fmla="*/ 2147483647 h 336"/>
                    <a:gd name="T6" fmla="*/ 2147483647 w 378"/>
                    <a:gd name="T7" fmla="*/ 2147483647 h 336"/>
                    <a:gd name="T8" fmla="*/ 2147483647 w 378"/>
                    <a:gd name="T9" fmla="*/ 2147483647 h 336"/>
                    <a:gd name="T10" fmla="*/ 2147483647 w 378"/>
                    <a:gd name="T11" fmla="*/ 2147483647 h 336"/>
                    <a:gd name="T12" fmla="*/ 2147483647 w 378"/>
                    <a:gd name="T13" fmla="*/ 2147483647 h 336"/>
                    <a:gd name="T14" fmla="*/ 2147483647 w 378"/>
                    <a:gd name="T15" fmla="*/ 2147483647 h 336"/>
                    <a:gd name="T16" fmla="*/ 2147483647 w 378"/>
                    <a:gd name="T17" fmla="*/ 2147483647 h 336"/>
                    <a:gd name="T18" fmla="*/ 2147483647 w 378"/>
                    <a:gd name="T19" fmla="*/ 2147483647 h 336"/>
                    <a:gd name="T20" fmla="*/ 2147483647 w 378"/>
                    <a:gd name="T21" fmla="*/ 2147483647 h 336"/>
                    <a:gd name="T22" fmla="*/ 2147483647 w 378"/>
                    <a:gd name="T23" fmla="*/ 2147483647 h 336"/>
                    <a:gd name="T24" fmla="*/ 2147483647 w 378"/>
                    <a:gd name="T25" fmla="*/ 2147483647 h 336"/>
                    <a:gd name="T26" fmla="*/ 2147483647 w 378"/>
                    <a:gd name="T27" fmla="*/ 2147483647 h 336"/>
                    <a:gd name="T28" fmla="*/ 0 w 378"/>
                    <a:gd name="T29" fmla="*/ 2147483647 h 336"/>
                    <a:gd name="T30" fmla="*/ 2147483647 w 378"/>
                    <a:gd name="T31" fmla="*/ 2147483647 h 336"/>
                    <a:gd name="T32" fmla="*/ 2147483647 w 378"/>
                    <a:gd name="T33" fmla="*/ 2147483647 h 336"/>
                    <a:gd name="T34" fmla="*/ 2147483647 w 378"/>
                    <a:gd name="T35" fmla="*/ 2147483647 h 336"/>
                    <a:gd name="T36" fmla="*/ 2147483647 w 378"/>
                    <a:gd name="T37" fmla="*/ 2147483647 h 336"/>
                    <a:gd name="T38" fmla="*/ 2147483647 w 378"/>
                    <a:gd name="T39" fmla="*/ 2147483647 h 336"/>
                    <a:gd name="T40" fmla="*/ 2147483647 w 378"/>
                    <a:gd name="T41" fmla="*/ 2147483647 h 336"/>
                    <a:gd name="T42" fmla="*/ 2147483647 w 378"/>
                    <a:gd name="T43" fmla="*/ 2147483647 h 336"/>
                    <a:gd name="T44" fmla="*/ 2147483647 w 378"/>
                    <a:gd name="T45" fmla="*/ 2147483647 h 336"/>
                    <a:gd name="T46" fmla="*/ 2147483647 w 378"/>
                    <a:gd name="T47" fmla="*/ 2147483647 h 336"/>
                    <a:gd name="T48" fmla="*/ 2147483647 w 378"/>
                    <a:gd name="T49" fmla="*/ 2147483647 h 336"/>
                    <a:gd name="T50" fmla="*/ 2147483647 w 378"/>
                    <a:gd name="T51" fmla="*/ 2147483647 h 336"/>
                    <a:gd name="T52" fmla="*/ 2147483647 w 378"/>
                    <a:gd name="T53" fmla="*/ 2147483647 h 336"/>
                    <a:gd name="T54" fmla="*/ 2147483647 w 378"/>
                    <a:gd name="T55" fmla="*/ 2147483647 h 336"/>
                    <a:gd name="T56" fmla="*/ 2147483647 w 378"/>
                    <a:gd name="T57" fmla="*/ 2147483647 h 336"/>
                    <a:gd name="T58" fmla="*/ 2147483647 w 378"/>
                    <a:gd name="T59" fmla="*/ 2147483647 h 336"/>
                    <a:gd name="T60" fmla="*/ 2147483647 w 378"/>
                    <a:gd name="T61" fmla="*/ 2147483647 h 336"/>
                    <a:gd name="T62" fmla="*/ 2147483647 w 378"/>
                    <a:gd name="T63" fmla="*/ 2147483647 h 336"/>
                    <a:gd name="T64" fmla="*/ 2147483647 w 378"/>
                    <a:gd name="T65" fmla="*/ 2147483647 h 336"/>
                    <a:gd name="T66" fmla="*/ 2147483647 w 378"/>
                    <a:gd name="T67" fmla="*/ 2147483647 h 336"/>
                    <a:gd name="T68" fmla="*/ 2147483647 w 378"/>
                    <a:gd name="T69" fmla="*/ 2147483647 h 336"/>
                    <a:gd name="T70" fmla="*/ 2147483647 w 378"/>
                    <a:gd name="T71" fmla="*/ 2147483647 h 336"/>
                    <a:gd name="T72" fmla="*/ 2147483647 w 378"/>
                    <a:gd name="T73" fmla="*/ 2147483647 h 336"/>
                    <a:gd name="T74" fmla="*/ 2147483647 w 378"/>
                    <a:gd name="T75" fmla="*/ 2147483647 h 336"/>
                    <a:gd name="T76" fmla="*/ 2147483647 w 378"/>
                    <a:gd name="T77" fmla="*/ 2147483647 h 336"/>
                    <a:gd name="T78" fmla="*/ 2147483647 w 378"/>
                    <a:gd name="T79" fmla="*/ 2147483647 h 336"/>
                    <a:gd name="T80" fmla="*/ 2147483647 w 378"/>
                    <a:gd name="T81" fmla="*/ 2147483647 h 336"/>
                    <a:gd name="T82" fmla="*/ 2147483647 w 378"/>
                    <a:gd name="T83" fmla="*/ 2147483647 h 336"/>
                    <a:gd name="T84" fmla="*/ 2147483647 w 378"/>
                    <a:gd name="T85" fmla="*/ 2147483647 h 336"/>
                    <a:gd name="T86" fmla="*/ 2147483647 w 378"/>
                    <a:gd name="T87" fmla="*/ 2147483647 h 336"/>
                    <a:gd name="T88" fmla="*/ 2147483647 w 378"/>
                    <a:gd name="T89" fmla="*/ 2147483647 h 336"/>
                    <a:gd name="T90" fmla="*/ 2147483647 w 378"/>
                    <a:gd name="T91" fmla="*/ 2147483647 h 336"/>
                    <a:gd name="T92" fmla="*/ 2147483647 w 378"/>
                    <a:gd name="T93" fmla="*/ 2147483647 h 336"/>
                    <a:gd name="T94" fmla="*/ 2147483647 w 378"/>
                    <a:gd name="T95" fmla="*/ 0 h 3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78"/>
                    <a:gd name="T145" fmla="*/ 0 h 336"/>
                    <a:gd name="T146" fmla="*/ 378 w 378"/>
                    <a:gd name="T147" fmla="*/ 336 h 3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78" h="336">
                      <a:moveTo>
                        <a:pt x="324" y="0"/>
                      </a:moveTo>
                      <a:lnTo>
                        <a:pt x="312" y="12"/>
                      </a:lnTo>
                      <a:lnTo>
                        <a:pt x="276" y="0"/>
                      </a:lnTo>
                      <a:lnTo>
                        <a:pt x="264" y="12"/>
                      </a:lnTo>
                      <a:lnTo>
                        <a:pt x="246" y="24"/>
                      </a:lnTo>
                      <a:lnTo>
                        <a:pt x="258" y="36"/>
                      </a:lnTo>
                      <a:lnTo>
                        <a:pt x="258" y="48"/>
                      </a:lnTo>
                      <a:lnTo>
                        <a:pt x="252" y="54"/>
                      </a:lnTo>
                      <a:lnTo>
                        <a:pt x="240" y="54"/>
                      </a:lnTo>
                      <a:lnTo>
                        <a:pt x="228" y="42"/>
                      </a:lnTo>
                      <a:lnTo>
                        <a:pt x="228" y="36"/>
                      </a:lnTo>
                      <a:lnTo>
                        <a:pt x="222" y="36"/>
                      </a:lnTo>
                      <a:lnTo>
                        <a:pt x="216" y="30"/>
                      </a:lnTo>
                      <a:lnTo>
                        <a:pt x="192" y="30"/>
                      </a:lnTo>
                      <a:lnTo>
                        <a:pt x="192" y="18"/>
                      </a:lnTo>
                      <a:lnTo>
                        <a:pt x="186" y="18"/>
                      </a:lnTo>
                      <a:lnTo>
                        <a:pt x="186" y="24"/>
                      </a:lnTo>
                      <a:lnTo>
                        <a:pt x="180" y="18"/>
                      </a:lnTo>
                      <a:lnTo>
                        <a:pt x="168" y="12"/>
                      </a:lnTo>
                      <a:lnTo>
                        <a:pt x="138" y="12"/>
                      </a:lnTo>
                      <a:lnTo>
                        <a:pt x="126" y="18"/>
                      </a:lnTo>
                      <a:lnTo>
                        <a:pt x="114" y="18"/>
                      </a:lnTo>
                      <a:lnTo>
                        <a:pt x="108" y="12"/>
                      </a:lnTo>
                      <a:lnTo>
                        <a:pt x="72" y="12"/>
                      </a:lnTo>
                      <a:lnTo>
                        <a:pt x="54" y="18"/>
                      </a:lnTo>
                      <a:lnTo>
                        <a:pt x="42" y="24"/>
                      </a:lnTo>
                      <a:lnTo>
                        <a:pt x="36" y="30"/>
                      </a:lnTo>
                      <a:lnTo>
                        <a:pt x="30" y="42"/>
                      </a:lnTo>
                      <a:lnTo>
                        <a:pt x="30" y="48"/>
                      </a:lnTo>
                      <a:lnTo>
                        <a:pt x="0" y="78"/>
                      </a:lnTo>
                      <a:lnTo>
                        <a:pt x="6" y="114"/>
                      </a:lnTo>
                      <a:lnTo>
                        <a:pt x="18" y="126"/>
                      </a:lnTo>
                      <a:lnTo>
                        <a:pt x="18" y="156"/>
                      </a:lnTo>
                      <a:lnTo>
                        <a:pt x="30" y="168"/>
                      </a:lnTo>
                      <a:lnTo>
                        <a:pt x="30" y="198"/>
                      </a:lnTo>
                      <a:lnTo>
                        <a:pt x="42" y="210"/>
                      </a:lnTo>
                      <a:lnTo>
                        <a:pt x="48" y="222"/>
                      </a:lnTo>
                      <a:lnTo>
                        <a:pt x="54" y="228"/>
                      </a:lnTo>
                      <a:lnTo>
                        <a:pt x="54" y="234"/>
                      </a:lnTo>
                      <a:lnTo>
                        <a:pt x="42" y="246"/>
                      </a:lnTo>
                      <a:lnTo>
                        <a:pt x="54" y="270"/>
                      </a:lnTo>
                      <a:lnTo>
                        <a:pt x="60" y="276"/>
                      </a:lnTo>
                      <a:lnTo>
                        <a:pt x="72" y="282"/>
                      </a:lnTo>
                      <a:lnTo>
                        <a:pt x="78" y="282"/>
                      </a:lnTo>
                      <a:lnTo>
                        <a:pt x="90" y="270"/>
                      </a:lnTo>
                      <a:lnTo>
                        <a:pt x="90" y="264"/>
                      </a:lnTo>
                      <a:lnTo>
                        <a:pt x="90" y="288"/>
                      </a:lnTo>
                      <a:lnTo>
                        <a:pt x="96" y="300"/>
                      </a:lnTo>
                      <a:lnTo>
                        <a:pt x="102" y="306"/>
                      </a:lnTo>
                      <a:lnTo>
                        <a:pt x="114" y="306"/>
                      </a:lnTo>
                      <a:lnTo>
                        <a:pt x="120" y="300"/>
                      </a:lnTo>
                      <a:lnTo>
                        <a:pt x="132" y="300"/>
                      </a:lnTo>
                      <a:lnTo>
                        <a:pt x="138" y="306"/>
                      </a:lnTo>
                      <a:lnTo>
                        <a:pt x="138" y="312"/>
                      </a:lnTo>
                      <a:lnTo>
                        <a:pt x="150" y="336"/>
                      </a:lnTo>
                      <a:lnTo>
                        <a:pt x="168" y="336"/>
                      </a:lnTo>
                      <a:lnTo>
                        <a:pt x="180" y="324"/>
                      </a:lnTo>
                      <a:lnTo>
                        <a:pt x="192" y="318"/>
                      </a:lnTo>
                      <a:lnTo>
                        <a:pt x="210" y="318"/>
                      </a:lnTo>
                      <a:lnTo>
                        <a:pt x="222" y="312"/>
                      </a:lnTo>
                      <a:lnTo>
                        <a:pt x="222" y="306"/>
                      </a:lnTo>
                      <a:lnTo>
                        <a:pt x="216" y="300"/>
                      </a:lnTo>
                      <a:lnTo>
                        <a:pt x="210" y="300"/>
                      </a:lnTo>
                      <a:lnTo>
                        <a:pt x="204" y="294"/>
                      </a:lnTo>
                      <a:lnTo>
                        <a:pt x="240" y="294"/>
                      </a:lnTo>
                      <a:lnTo>
                        <a:pt x="240" y="288"/>
                      </a:lnTo>
                      <a:lnTo>
                        <a:pt x="246" y="282"/>
                      </a:lnTo>
                      <a:lnTo>
                        <a:pt x="258" y="282"/>
                      </a:lnTo>
                      <a:lnTo>
                        <a:pt x="270" y="288"/>
                      </a:lnTo>
                      <a:lnTo>
                        <a:pt x="276" y="294"/>
                      </a:lnTo>
                      <a:lnTo>
                        <a:pt x="288" y="300"/>
                      </a:lnTo>
                      <a:lnTo>
                        <a:pt x="294" y="306"/>
                      </a:lnTo>
                      <a:lnTo>
                        <a:pt x="294" y="294"/>
                      </a:lnTo>
                      <a:lnTo>
                        <a:pt x="276" y="276"/>
                      </a:lnTo>
                      <a:lnTo>
                        <a:pt x="264" y="252"/>
                      </a:lnTo>
                      <a:lnTo>
                        <a:pt x="264" y="228"/>
                      </a:lnTo>
                      <a:lnTo>
                        <a:pt x="306" y="228"/>
                      </a:lnTo>
                      <a:lnTo>
                        <a:pt x="306" y="204"/>
                      </a:lnTo>
                      <a:lnTo>
                        <a:pt x="336" y="204"/>
                      </a:lnTo>
                      <a:lnTo>
                        <a:pt x="336" y="186"/>
                      </a:lnTo>
                      <a:lnTo>
                        <a:pt x="342" y="180"/>
                      </a:lnTo>
                      <a:lnTo>
                        <a:pt x="360" y="180"/>
                      </a:lnTo>
                      <a:lnTo>
                        <a:pt x="372" y="186"/>
                      </a:lnTo>
                      <a:lnTo>
                        <a:pt x="372" y="156"/>
                      </a:lnTo>
                      <a:lnTo>
                        <a:pt x="366" y="150"/>
                      </a:lnTo>
                      <a:lnTo>
                        <a:pt x="366" y="120"/>
                      </a:lnTo>
                      <a:lnTo>
                        <a:pt x="360" y="114"/>
                      </a:lnTo>
                      <a:lnTo>
                        <a:pt x="360" y="102"/>
                      </a:lnTo>
                      <a:lnTo>
                        <a:pt x="366" y="102"/>
                      </a:lnTo>
                      <a:lnTo>
                        <a:pt x="378" y="90"/>
                      </a:lnTo>
                      <a:lnTo>
                        <a:pt x="378" y="84"/>
                      </a:lnTo>
                      <a:lnTo>
                        <a:pt x="366" y="60"/>
                      </a:lnTo>
                      <a:lnTo>
                        <a:pt x="354" y="48"/>
                      </a:lnTo>
                      <a:lnTo>
                        <a:pt x="348" y="48"/>
                      </a:lnTo>
                      <a:lnTo>
                        <a:pt x="348" y="6"/>
                      </a:lnTo>
                      <a:lnTo>
                        <a:pt x="324" y="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668" name="Burundi"/>
                <p:cNvSpPr>
                  <a:spLocks/>
                </p:cNvSpPr>
                <p:nvPr/>
              </p:nvSpPr>
              <p:spPr bwMode="gray">
                <a:xfrm>
                  <a:off x="3180" y="2360"/>
                  <a:ext cx="34" cy="43"/>
                </a:xfrm>
                <a:custGeom>
                  <a:avLst/>
                  <a:gdLst>
                    <a:gd name="T0" fmla="*/ 2147483647 w 132"/>
                    <a:gd name="T1" fmla="*/ 2147483647 h 168"/>
                    <a:gd name="T2" fmla="*/ 2147483647 w 132"/>
                    <a:gd name="T3" fmla="*/ 2147483647 h 168"/>
                    <a:gd name="T4" fmla="*/ 2147483647 w 132"/>
                    <a:gd name="T5" fmla="*/ 2147483647 h 168"/>
                    <a:gd name="T6" fmla="*/ 2147483647 w 132"/>
                    <a:gd name="T7" fmla="*/ 2147483647 h 168"/>
                    <a:gd name="T8" fmla="*/ 2147483647 w 132"/>
                    <a:gd name="T9" fmla="*/ 2147483647 h 168"/>
                    <a:gd name="T10" fmla="*/ 2147483647 w 132"/>
                    <a:gd name="T11" fmla="*/ 2147483647 h 168"/>
                    <a:gd name="T12" fmla="*/ 2147483647 w 132"/>
                    <a:gd name="T13" fmla="*/ 2147483647 h 168"/>
                    <a:gd name="T14" fmla="*/ 2147483647 w 132"/>
                    <a:gd name="T15" fmla="*/ 2147483647 h 168"/>
                    <a:gd name="T16" fmla="*/ 2147483647 w 132"/>
                    <a:gd name="T17" fmla="*/ 2147483647 h 168"/>
                    <a:gd name="T18" fmla="*/ 2147483647 w 132"/>
                    <a:gd name="T19" fmla="*/ 2147483647 h 168"/>
                    <a:gd name="T20" fmla="*/ 2147483647 w 132"/>
                    <a:gd name="T21" fmla="*/ 2147483647 h 168"/>
                    <a:gd name="T22" fmla="*/ 2147483647 w 132"/>
                    <a:gd name="T23" fmla="*/ 2147483647 h 168"/>
                    <a:gd name="T24" fmla="*/ 2147483647 w 132"/>
                    <a:gd name="T25" fmla="*/ 2147483647 h 168"/>
                    <a:gd name="T26" fmla="*/ 2147483647 w 132"/>
                    <a:gd name="T27" fmla="*/ 2147483647 h 168"/>
                    <a:gd name="T28" fmla="*/ 2147483647 w 132"/>
                    <a:gd name="T29" fmla="*/ 2147483647 h 168"/>
                    <a:gd name="T30" fmla="*/ 2147483647 w 132"/>
                    <a:gd name="T31" fmla="*/ 2147483647 h 168"/>
                    <a:gd name="T32" fmla="*/ 2147483647 w 132"/>
                    <a:gd name="T33" fmla="*/ 2147483647 h 168"/>
                    <a:gd name="T34" fmla="*/ 2147483647 w 132"/>
                    <a:gd name="T35" fmla="*/ 2147483647 h 168"/>
                    <a:gd name="T36" fmla="*/ 2147483647 w 132"/>
                    <a:gd name="T37" fmla="*/ 2147483647 h 168"/>
                    <a:gd name="T38" fmla="*/ 2147483647 w 132"/>
                    <a:gd name="T39" fmla="*/ 2147483647 h 168"/>
                    <a:gd name="T40" fmla="*/ 2147483647 w 132"/>
                    <a:gd name="T41" fmla="*/ 2147483647 h 168"/>
                    <a:gd name="T42" fmla="*/ 2147483647 w 132"/>
                    <a:gd name="T43" fmla="*/ 2147483647 h 168"/>
                    <a:gd name="T44" fmla="*/ 2147483647 w 132"/>
                    <a:gd name="T45" fmla="*/ 2147483647 h 168"/>
                    <a:gd name="T46" fmla="*/ 2147483647 w 132"/>
                    <a:gd name="T47" fmla="*/ 0 h 168"/>
                    <a:gd name="T48" fmla="*/ 2147483647 w 132"/>
                    <a:gd name="T49" fmla="*/ 0 h 168"/>
                    <a:gd name="T50" fmla="*/ 2147483647 w 132"/>
                    <a:gd name="T51" fmla="*/ 0 h 168"/>
                    <a:gd name="T52" fmla="*/ 2147483647 w 132"/>
                    <a:gd name="T53" fmla="*/ 2147483647 h 168"/>
                    <a:gd name="T54" fmla="*/ 2147483647 w 132"/>
                    <a:gd name="T55" fmla="*/ 2147483647 h 168"/>
                    <a:gd name="T56" fmla="*/ 2147483647 w 132"/>
                    <a:gd name="T57" fmla="*/ 2147483647 h 168"/>
                    <a:gd name="T58" fmla="*/ 2147483647 w 132"/>
                    <a:gd name="T59" fmla="*/ 2147483647 h 168"/>
                    <a:gd name="T60" fmla="*/ 2147483647 w 132"/>
                    <a:gd name="T61" fmla="*/ 2147483647 h 168"/>
                    <a:gd name="T62" fmla="*/ 2147483647 w 132"/>
                    <a:gd name="T63" fmla="*/ 2147483647 h 168"/>
                    <a:gd name="T64" fmla="*/ 0 w 132"/>
                    <a:gd name="T65" fmla="*/ 2147483647 h 168"/>
                    <a:gd name="T66" fmla="*/ 2147483647 w 132"/>
                    <a:gd name="T67" fmla="*/ 2147483647 h 168"/>
                    <a:gd name="T68" fmla="*/ 2147483647 w 132"/>
                    <a:gd name="T69" fmla="*/ 2147483647 h 168"/>
                    <a:gd name="T70" fmla="*/ 2147483647 w 132"/>
                    <a:gd name="T71" fmla="*/ 2147483647 h 168"/>
                    <a:gd name="T72" fmla="*/ 2147483647 w 132"/>
                    <a:gd name="T73" fmla="*/ 2147483647 h 168"/>
                    <a:gd name="T74" fmla="*/ 2147483647 w 132"/>
                    <a:gd name="T75" fmla="*/ 2147483647 h 16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32"/>
                    <a:gd name="T115" fmla="*/ 0 h 168"/>
                    <a:gd name="T116" fmla="*/ 132 w 132"/>
                    <a:gd name="T117" fmla="*/ 168 h 168"/>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32" h="168">
                      <a:moveTo>
                        <a:pt x="36" y="72"/>
                      </a:moveTo>
                      <a:lnTo>
                        <a:pt x="36" y="96"/>
                      </a:lnTo>
                      <a:lnTo>
                        <a:pt x="30" y="102"/>
                      </a:lnTo>
                      <a:lnTo>
                        <a:pt x="30" y="138"/>
                      </a:lnTo>
                      <a:lnTo>
                        <a:pt x="36" y="156"/>
                      </a:lnTo>
                      <a:lnTo>
                        <a:pt x="42" y="168"/>
                      </a:lnTo>
                      <a:lnTo>
                        <a:pt x="54" y="168"/>
                      </a:lnTo>
                      <a:lnTo>
                        <a:pt x="60" y="162"/>
                      </a:lnTo>
                      <a:lnTo>
                        <a:pt x="72" y="156"/>
                      </a:lnTo>
                      <a:lnTo>
                        <a:pt x="84" y="144"/>
                      </a:lnTo>
                      <a:lnTo>
                        <a:pt x="90" y="132"/>
                      </a:lnTo>
                      <a:lnTo>
                        <a:pt x="90" y="114"/>
                      </a:lnTo>
                      <a:lnTo>
                        <a:pt x="96" y="102"/>
                      </a:lnTo>
                      <a:lnTo>
                        <a:pt x="114" y="84"/>
                      </a:lnTo>
                      <a:lnTo>
                        <a:pt x="126" y="84"/>
                      </a:lnTo>
                      <a:lnTo>
                        <a:pt x="120" y="72"/>
                      </a:lnTo>
                      <a:lnTo>
                        <a:pt x="132" y="66"/>
                      </a:lnTo>
                      <a:lnTo>
                        <a:pt x="132" y="48"/>
                      </a:lnTo>
                      <a:lnTo>
                        <a:pt x="114" y="48"/>
                      </a:lnTo>
                      <a:lnTo>
                        <a:pt x="108" y="42"/>
                      </a:lnTo>
                      <a:lnTo>
                        <a:pt x="102" y="42"/>
                      </a:lnTo>
                      <a:lnTo>
                        <a:pt x="102" y="24"/>
                      </a:lnTo>
                      <a:lnTo>
                        <a:pt x="108" y="12"/>
                      </a:lnTo>
                      <a:lnTo>
                        <a:pt x="108" y="0"/>
                      </a:lnTo>
                      <a:lnTo>
                        <a:pt x="120" y="0"/>
                      </a:lnTo>
                      <a:lnTo>
                        <a:pt x="66" y="0"/>
                      </a:lnTo>
                      <a:lnTo>
                        <a:pt x="60" y="24"/>
                      </a:lnTo>
                      <a:lnTo>
                        <a:pt x="48" y="30"/>
                      </a:lnTo>
                      <a:lnTo>
                        <a:pt x="42" y="36"/>
                      </a:lnTo>
                      <a:lnTo>
                        <a:pt x="30" y="36"/>
                      </a:lnTo>
                      <a:lnTo>
                        <a:pt x="24" y="30"/>
                      </a:lnTo>
                      <a:lnTo>
                        <a:pt x="18" y="18"/>
                      </a:lnTo>
                      <a:lnTo>
                        <a:pt x="0" y="18"/>
                      </a:lnTo>
                      <a:lnTo>
                        <a:pt x="12" y="48"/>
                      </a:lnTo>
                      <a:lnTo>
                        <a:pt x="18" y="54"/>
                      </a:lnTo>
                      <a:lnTo>
                        <a:pt x="30" y="60"/>
                      </a:lnTo>
                      <a:lnTo>
                        <a:pt x="36" y="66"/>
                      </a:lnTo>
                      <a:lnTo>
                        <a:pt x="36" y="72"/>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669" name="Burkina Faso"/>
                <p:cNvSpPr>
                  <a:spLocks/>
                </p:cNvSpPr>
                <p:nvPr/>
              </p:nvSpPr>
              <p:spPr bwMode="gray">
                <a:xfrm>
                  <a:off x="2552" y="2000"/>
                  <a:ext cx="146" cy="115"/>
                </a:xfrm>
                <a:custGeom>
                  <a:avLst/>
                  <a:gdLst>
                    <a:gd name="T0" fmla="*/ 2147483647 w 570"/>
                    <a:gd name="T1" fmla="*/ 2147483647 h 450"/>
                    <a:gd name="T2" fmla="*/ 2147483647 w 570"/>
                    <a:gd name="T3" fmla="*/ 2147483647 h 450"/>
                    <a:gd name="T4" fmla="*/ 2147483647 w 570"/>
                    <a:gd name="T5" fmla="*/ 2147483647 h 450"/>
                    <a:gd name="T6" fmla="*/ 2147483647 w 570"/>
                    <a:gd name="T7" fmla="*/ 2147483647 h 450"/>
                    <a:gd name="T8" fmla="*/ 2147483647 w 570"/>
                    <a:gd name="T9" fmla="*/ 2147483647 h 450"/>
                    <a:gd name="T10" fmla="*/ 2147483647 w 570"/>
                    <a:gd name="T11" fmla="*/ 2147483647 h 450"/>
                    <a:gd name="T12" fmla="*/ 2147483647 w 570"/>
                    <a:gd name="T13" fmla="*/ 2147483647 h 450"/>
                    <a:gd name="T14" fmla="*/ 2147483647 w 570"/>
                    <a:gd name="T15" fmla="*/ 2147483647 h 450"/>
                    <a:gd name="T16" fmla="*/ 2147483647 w 570"/>
                    <a:gd name="T17" fmla="*/ 2147483647 h 450"/>
                    <a:gd name="T18" fmla="*/ 2147483647 w 570"/>
                    <a:gd name="T19" fmla="*/ 2147483647 h 450"/>
                    <a:gd name="T20" fmla="*/ 2147483647 w 570"/>
                    <a:gd name="T21" fmla="*/ 2147483647 h 450"/>
                    <a:gd name="T22" fmla="*/ 2147483647 w 570"/>
                    <a:gd name="T23" fmla="*/ 2147483647 h 450"/>
                    <a:gd name="T24" fmla="*/ 2147483647 w 570"/>
                    <a:gd name="T25" fmla="*/ 2147483647 h 450"/>
                    <a:gd name="T26" fmla="*/ 2147483647 w 570"/>
                    <a:gd name="T27" fmla="*/ 2147483647 h 450"/>
                    <a:gd name="T28" fmla="*/ 2147483647 w 570"/>
                    <a:gd name="T29" fmla="*/ 2147483647 h 450"/>
                    <a:gd name="T30" fmla="*/ 2147483647 w 570"/>
                    <a:gd name="T31" fmla="*/ 2147483647 h 450"/>
                    <a:gd name="T32" fmla="*/ 2147483647 w 570"/>
                    <a:gd name="T33" fmla="*/ 2147483647 h 450"/>
                    <a:gd name="T34" fmla="*/ 2147483647 w 570"/>
                    <a:gd name="T35" fmla="*/ 2147483647 h 450"/>
                    <a:gd name="T36" fmla="*/ 2147483647 w 570"/>
                    <a:gd name="T37" fmla="*/ 2147483647 h 450"/>
                    <a:gd name="T38" fmla="*/ 2147483647 w 570"/>
                    <a:gd name="T39" fmla="*/ 2147483647 h 450"/>
                    <a:gd name="T40" fmla="*/ 2147483647 w 570"/>
                    <a:gd name="T41" fmla="*/ 2147483647 h 450"/>
                    <a:gd name="T42" fmla="*/ 2147483647 w 570"/>
                    <a:gd name="T43" fmla="*/ 2147483647 h 450"/>
                    <a:gd name="T44" fmla="*/ 2147483647 w 570"/>
                    <a:gd name="T45" fmla="*/ 2147483647 h 450"/>
                    <a:gd name="T46" fmla="*/ 2147483647 w 570"/>
                    <a:gd name="T47" fmla="*/ 2147483647 h 450"/>
                    <a:gd name="T48" fmla="*/ 2147483647 w 570"/>
                    <a:gd name="T49" fmla="*/ 2147483647 h 450"/>
                    <a:gd name="T50" fmla="*/ 2147483647 w 570"/>
                    <a:gd name="T51" fmla="*/ 2147483647 h 450"/>
                    <a:gd name="T52" fmla="*/ 2147483647 w 570"/>
                    <a:gd name="T53" fmla="*/ 2147483647 h 450"/>
                    <a:gd name="T54" fmla="*/ 2147483647 w 570"/>
                    <a:gd name="T55" fmla="*/ 2147483647 h 450"/>
                    <a:gd name="T56" fmla="*/ 2147483647 w 570"/>
                    <a:gd name="T57" fmla="*/ 2147483647 h 450"/>
                    <a:gd name="T58" fmla="*/ 2147483647 w 570"/>
                    <a:gd name="T59" fmla="*/ 2147483647 h 450"/>
                    <a:gd name="T60" fmla="*/ 2147483647 w 570"/>
                    <a:gd name="T61" fmla="*/ 2147483647 h 450"/>
                    <a:gd name="T62" fmla="*/ 2147483647 w 570"/>
                    <a:gd name="T63" fmla="*/ 2147483647 h 450"/>
                    <a:gd name="T64" fmla="*/ 2147483647 w 570"/>
                    <a:gd name="T65" fmla="*/ 2147483647 h 450"/>
                    <a:gd name="T66" fmla="*/ 2147483647 w 570"/>
                    <a:gd name="T67" fmla="*/ 0 h 450"/>
                    <a:gd name="T68" fmla="*/ 2147483647 w 570"/>
                    <a:gd name="T69" fmla="*/ 2147483647 h 450"/>
                    <a:gd name="T70" fmla="*/ 2147483647 w 570"/>
                    <a:gd name="T71" fmla="*/ 2147483647 h 450"/>
                    <a:gd name="T72" fmla="*/ 2147483647 w 570"/>
                    <a:gd name="T73" fmla="*/ 2147483647 h 450"/>
                    <a:gd name="T74" fmla="*/ 2147483647 w 570"/>
                    <a:gd name="T75" fmla="*/ 2147483647 h 450"/>
                    <a:gd name="T76" fmla="*/ 2147483647 w 570"/>
                    <a:gd name="T77" fmla="*/ 2147483647 h 450"/>
                    <a:gd name="T78" fmla="*/ 2147483647 w 570"/>
                    <a:gd name="T79" fmla="*/ 2147483647 h 450"/>
                    <a:gd name="T80" fmla="*/ 2147483647 w 570"/>
                    <a:gd name="T81" fmla="*/ 2147483647 h 450"/>
                    <a:gd name="T82" fmla="*/ 2147483647 w 570"/>
                    <a:gd name="T83" fmla="*/ 2147483647 h 450"/>
                    <a:gd name="T84" fmla="*/ 2147483647 w 570"/>
                    <a:gd name="T85" fmla="*/ 2147483647 h 450"/>
                    <a:gd name="T86" fmla="*/ 2147483647 w 570"/>
                    <a:gd name="T87" fmla="*/ 2147483647 h 450"/>
                    <a:gd name="T88" fmla="*/ 2147483647 w 570"/>
                    <a:gd name="T89" fmla="*/ 2147483647 h 450"/>
                    <a:gd name="T90" fmla="*/ 2147483647 w 570"/>
                    <a:gd name="T91" fmla="*/ 2147483647 h 450"/>
                    <a:gd name="T92" fmla="*/ 2147483647 w 570"/>
                    <a:gd name="T93" fmla="*/ 2147483647 h 450"/>
                    <a:gd name="T94" fmla="*/ 2147483647 w 570"/>
                    <a:gd name="T95" fmla="*/ 2147483647 h 450"/>
                    <a:gd name="T96" fmla="*/ 2147483647 w 570"/>
                    <a:gd name="T97" fmla="*/ 2147483647 h 450"/>
                    <a:gd name="T98" fmla="*/ 2147483647 w 570"/>
                    <a:gd name="T99" fmla="*/ 2147483647 h 450"/>
                    <a:gd name="T100" fmla="*/ 2147483647 w 570"/>
                    <a:gd name="T101" fmla="*/ 2147483647 h 450"/>
                    <a:gd name="T102" fmla="*/ 2147483647 w 570"/>
                    <a:gd name="T103" fmla="*/ 2147483647 h 45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70"/>
                    <a:gd name="T157" fmla="*/ 0 h 450"/>
                    <a:gd name="T158" fmla="*/ 570 w 570"/>
                    <a:gd name="T159" fmla="*/ 450 h 45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70" h="450">
                      <a:moveTo>
                        <a:pt x="0" y="312"/>
                      </a:moveTo>
                      <a:lnTo>
                        <a:pt x="6" y="366"/>
                      </a:lnTo>
                      <a:lnTo>
                        <a:pt x="6" y="390"/>
                      </a:lnTo>
                      <a:lnTo>
                        <a:pt x="30" y="384"/>
                      </a:lnTo>
                      <a:lnTo>
                        <a:pt x="30" y="390"/>
                      </a:lnTo>
                      <a:lnTo>
                        <a:pt x="36" y="396"/>
                      </a:lnTo>
                      <a:lnTo>
                        <a:pt x="36" y="408"/>
                      </a:lnTo>
                      <a:lnTo>
                        <a:pt x="42" y="420"/>
                      </a:lnTo>
                      <a:lnTo>
                        <a:pt x="54" y="426"/>
                      </a:lnTo>
                      <a:lnTo>
                        <a:pt x="60" y="432"/>
                      </a:lnTo>
                      <a:lnTo>
                        <a:pt x="72" y="432"/>
                      </a:lnTo>
                      <a:lnTo>
                        <a:pt x="78" y="438"/>
                      </a:lnTo>
                      <a:lnTo>
                        <a:pt x="90" y="438"/>
                      </a:lnTo>
                      <a:lnTo>
                        <a:pt x="96" y="432"/>
                      </a:lnTo>
                      <a:lnTo>
                        <a:pt x="96" y="426"/>
                      </a:lnTo>
                      <a:lnTo>
                        <a:pt x="120" y="414"/>
                      </a:lnTo>
                      <a:lnTo>
                        <a:pt x="150" y="414"/>
                      </a:lnTo>
                      <a:lnTo>
                        <a:pt x="168" y="420"/>
                      </a:lnTo>
                      <a:lnTo>
                        <a:pt x="186" y="438"/>
                      </a:lnTo>
                      <a:lnTo>
                        <a:pt x="186" y="450"/>
                      </a:lnTo>
                      <a:lnTo>
                        <a:pt x="204" y="444"/>
                      </a:lnTo>
                      <a:lnTo>
                        <a:pt x="198" y="450"/>
                      </a:lnTo>
                      <a:lnTo>
                        <a:pt x="198" y="396"/>
                      </a:lnTo>
                      <a:lnTo>
                        <a:pt x="192" y="366"/>
                      </a:lnTo>
                      <a:lnTo>
                        <a:pt x="186" y="366"/>
                      </a:lnTo>
                      <a:lnTo>
                        <a:pt x="186" y="348"/>
                      </a:lnTo>
                      <a:lnTo>
                        <a:pt x="192" y="336"/>
                      </a:lnTo>
                      <a:lnTo>
                        <a:pt x="198" y="330"/>
                      </a:lnTo>
                      <a:lnTo>
                        <a:pt x="354" y="330"/>
                      </a:lnTo>
                      <a:lnTo>
                        <a:pt x="378" y="318"/>
                      </a:lnTo>
                      <a:lnTo>
                        <a:pt x="396" y="324"/>
                      </a:lnTo>
                      <a:lnTo>
                        <a:pt x="414" y="324"/>
                      </a:lnTo>
                      <a:lnTo>
                        <a:pt x="438" y="330"/>
                      </a:lnTo>
                      <a:lnTo>
                        <a:pt x="456" y="330"/>
                      </a:lnTo>
                      <a:lnTo>
                        <a:pt x="462" y="318"/>
                      </a:lnTo>
                      <a:lnTo>
                        <a:pt x="474" y="318"/>
                      </a:lnTo>
                      <a:lnTo>
                        <a:pt x="480" y="306"/>
                      </a:lnTo>
                      <a:lnTo>
                        <a:pt x="498" y="288"/>
                      </a:lnTo>
                      <a:lnTo>
                        <a:pt x="528" y="288"/>
                      </a:lnTo>
                      <a:lnTo>
                        <a:pt x="534" y="294"/>
                      </a:lnTo>
                      <a:lnTo>
                        <a:pt x="534" y="282"/>
                      </a:lnTo>
                      <a:lnTo>
                        <a:pt x="540" y="282"/>
                      </a:lnTo>
                      <a:lnTo>
                        <a:pt x="546" y="276"/>
                      </a:lnTo>
                      <a:lnTo>
                        <a:pt x="558" y="276"/>
                      </a:lnTo>
                      <a:lnTo>
                        <a:pt x="564" y="258"/>
                      </a:lnTo>
                      <a:lnTo>
                        <a:pt x="570" y="252"/>
                      </a:lnTo>
                      <a:lnTo>
                        <a:pt x="564" y="252"/>
                      </a:lnTo>
                      <a:lnTo>
                        <a:pt x="540" y="216"/>
                      </a:lnTo>
                      <a:lnTo>
                        <a:pt x="564" y="210"/>
                      </a:lnTo>
                      <a:lnTo>
                        <a:pt x="558" y="198"/>
                      </a:lnTo>
                      <a:lnTo>
                        <a:pt x="546" y="186"/>
                      </a:lnTo>
                      <a:lnTo>
                        <a:pt x="534" y="186"/>
                      </a:lnTo>
                      <a:lnTo>
                        <a:pt x="522" y="198"/>
                      </a:lnTo>
                      <a:lnTo>
                        <a:pt x="504" y="198"/>
                      </a:lnTo>
                      <a:lnTo>
                        <a:pt x="498" y="186"/>
                      </a:lnTo>
                      <a:lnTo>
                        <a:pt x="486" y="180"/>
                      </a:lnTo>
                      <a:lnTo>
                        <a:pt x="462" y="156"/>
                      </a:lnTo>
                      <a:lnTo>
                        <a:pt x="462" y="150"/>
                      </a:lnTo>
                      <a:lnTo>
                        <a:pt x="480" y="132"/>
                      </a:lnTo>
                      <a:lnTo>
                        <a:pt x="468" y="132"/>
                      </a:lnTo>
                      <a:lnTo>
                        <a:pt x="468" y="114"/>
                      </a:lnTo>
                      <a:lnTo>
                        <a:pt x="444" y="114"/>
                      </a:lnTo>
                      <a:lnTo>
                        <a:pt x="432" y="108"/>
                      </a:lnTo>
                      <a:lnTo>
                        <a:pt x="420" y="84"/>
                      </a:lnTo>
                      <a:lnTo>
                        <a:pt x="420" y="60"/>
                      </a:lnTo>
                      <a:lnTo>
                        <a:pt x="414" y="48"/>
                      </a:lnTo>
                      <a:lnTo>
                        <a:pt x="414" y="12"/>
                      </a:lnTo>
                      <a:lnTo>
                        <a:pt x="390" y="0"/>
                      </a:lnTo>
                      <a:lnTo>
                        <a:pt x="342" y="0"/>
                      </a:lnTo>
                      <a:lnTo>
                        <a:pt x="324" y="18"/>
                      </a:lnTo>
                      <a:lnTo>
                        <a:pt x="300" y="18"/>
                      </a:lnTo>
                      <a:lnTo>
                        <a:pt x="282" y="42"/>
                      </a:lnTo>
                      <a:lnTo>
                        <a:pt x="258" y="42"/>
                      </a:lnTo>
                      <a:lnTo>
                        <a:pt x="258" y="60"/>
                      </a:lnTo>
                      <a:lnTo>
                        <a:pt x="252" y="66"/>
                      </a:lnTo>
                      <a:lnTo>
                        <a:pt x="252" y="72"/>
                      </a:lnTo>
                      <a:lnTo>
                        <a:pt x="240" y="72"/>
                      </a:lnTo>
                      <a:lnTo>
                        <a:pt x="228" y="60"/>
                      </a:lnTo>
                      <a:lnTo>
                        <a:pt x="222" y="60"/>
                      </a:lnTo>
                      <a:lnTo>
                        <a:pt x="216" y="66"/>
                      </a:lnTo>
                      <a:lnTo>
                        <a:pt x="210" y="78"/>
                      </a:lnTo>
                      <a:lnTo>
                        <a:pt x="198" y="84"/>
                      </a:lnTo>
                      <a:lnTo>
                        <a:pt x="192" y="96"/>
                      </a:lnTo>
                      <a:lnTo>
                        <a:pt x="186" y="102"/>
                      </a:lnTo>
                      <a:lnTo>
                        <a:pt x="186" y="108"/>
                      </a:lnTo>
                      <a:lnTo>
                        <a:pt x="168" y="108"/>
                      </a:lnTo>
                      <a:lnTo>
                        <a:pt x="168" y="144"/>
                      </a:lnTo>
                      <a:lnTo>
                        <a:pt x="144" y="150"/>
                      </a:lnTo>
                      <a:lnTo>
                        <a:pt x="114" y="120"/>
                      </a:lnTo>
                      <a:lnTo>
                        <a:pt x="96" y="150"/>
                      </a:lnTo>
                      <a:lnTo>
                        <a:pt x="102" y="156"/>
                      </a:lnTo>
                      <a:lnTo>
                        <a:pt x="102" y="186"/>
                      </a:lnTo>
                      <a:lnTo>
                        <a:pt x="84" y="186"/>
                      </a:lnTo>
                      <a:lnTo>
                        <a:pt x="84" y="216"/>
                      </a:lnTo>
                      <a:lnTo>
                        <a:pt x="78" y="222"/>
                      </a:lnTo>
                      <a:lnTo>
                        <a:pt x="72" y="222"/>
                      </a:lnTo>
                      <a:lnTo>
                        <a:pt x="78" y="228"/>
                      </a:lnTo>
                      <a:lnTo>
                        <a:pt x="78" y="240"/>
                      </a:lnTo>
                      <a:lnTo>
                        <a:pt x="42" y="240"/>
                      </a:lnTo>
                      <a:lnTo>
                        <a:pt x="36" y="246"/>
                      </a:lnTo>
                      <a:lnTo>
                        <a:pt x="30" y="246"/>
                      </a:lnTo>
                      <a:lnTo>
                        <a:pt x="12" y="258"/>
                      </a:lnTo>
                      <a:lnTo>
                        <a:pt x="36" y="288"/>
                      </a:lnTo>
                      <a:lnTo>
                        <a:pt x="24" y="312"/>
                      </a:lnTo>
                      <a:lnTo>
                        <a:pt x="0" y="312"/>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670" name="Bulgaria"/>
                <p:cNvSpPr>
                  <a:spLocks/>
                </p:cNvSpPr>
                <p:nvPr/>
              </p:nvSpPr>
              <p:spPr bwMode="gray">
                <a:xfrm>
                  <a:off x="3039" y="1401"/>
                  <a:ext cx="101" cy="58"/>
                </a:xfrm>
                <a:custGeom>
                  <a:avLst/>
                  <a:gdLst>
                    <a:gd name="T0" fmla="*/ 2147483647 w 396"/>
                    <a:gd name="T1" fmla="*/ 2147483647 h 228"/>
                    <a:gd name="T2" fmla="*/ 2147483647 w 396"/>
                    <a:gd name="T3" fmla="*/ 2147483647 h 228"/>
                    <a:gd name="T4" fmla="*/ 2147483647 w 396"/>
                    <a:gd name="T5" fmla="*/ 2147483647 h 228"/>
                    <a:gd name="T6" fmla="*/ 2147483647 w 396"/>
                    <a:gd name="T7" fmla="*/ 2147483647 h 228"/>
                    <a:gd name="T8" fmla="*/ 2147483647 w 396"/>
                    <a:gd name="T9" fmla="*/ 2147483647 h 228"/>
                    <a:gd name="T10" fmla="*/ 2147483647 w 396"/>
                    <a:gd name="T11" fmla="*/ 2147483647 h 228"/>
                    <a:gd name="T12" fmla="*/ 2147483647 w 396"/>
                    <a:gd name="T13" fmla="*/ 2147483647 h 228"/>
                    <a:gd name="T14" fmla="*/ 2147483647 w 396"/>
                    <a:gd name="T15" fmla="*/ 0 h 228"/>
                    <a:gd name="T16" fmla="*/ 2147483647 w 396"/>
                    <a:gd name="T17" fmla="*/ 2147483647 h 228"/>
                    <a:gd name="T18" fmla="*/ 2147483647 w 396"/>
                    <a:gd name="T19" fmla="*/ 2147483647 h 228"/>
                    <a:gd name="T20" fmla="*/ 2147483647 w 396"/>
                    <a:gd name="T21" fmla="*/ 2147483647 h 228"/>
                    <a:gd name="T22" fmla="*/ 2147483647 w 396"/>
                    <a:gd name="T23" fmla="*/ 2147483647 h 228"/>
                    <a:gd name="T24" fmla="*/ 2147483647 w 396"/>
                    <a:gd name="T25" fmla="*/ 2147483647 h 228"/>
                    <a:gd name="T26" fmla="*/ 2147483647 w 396"/>
                    <a:gd name="T27" fmla="*/ 2147483647 h 228"/>
                    <a:gd name="T28" fmla="*/ 2147483647 w 396"/>
                    <a:gd name="T29" fmla="*/ 2147483647 h 228"/>
                    <a:gd name="T30" fmla="*/ 2147483647 w 396"/>
                    <a:gd name="T31" fmla="*/ 2147483647 h 228"/>
                    <a:gd name="T32" fmla="*/ 2147483647 w 396"/>
                    <a:gd name="T33" fmla="*/ 2147483647 h 228"/>
                    <a:gd name="T34" fmla="*/ 2147483647 w 396"/>
                    <a:gd name="T35" fmla="*/ 2147483647 h 228"/>
                    <a:gd name="T36" fmla="*/ 2147483647 w 396"/>
                    <a:gd name="T37" fmla="*/ 2147483647 h 228"/>
                    <a:gd name="T38" fmla="*/ 2147483647 w 396"/>
                    <a:gd name="T39" fmla="*/ 2147483647 h 228"/>
                    <a:gd name="T40" fmla="*/ 2147483647 w 396"/>
                    <a:gd name="T41" fmla="*/ 2147483647 h 228"/>
                    <a:gd name="T42" fmla="*/ 2147483647 w 396"/>
                    <a:gd name="T43" fmla="*/ 0 h 228"/>
                    <a:gd name="T44" fmla="*/ 0 w 396"/>
                    <a:gd name="T45" fmla="*/ 2147483647 h 228"/>
                    <a:gd name="T46" fmla="*/ 2147483647 w 396"/>
                    <a:gd name="T47" fmla="*/ 2147483647 h 228"/>
                    <a:gd name="T48" fmla="*/ 2147483647 w 396"/>
                    <a:gd name="T49" fmla="*/ 2147483647 h 228"/>
                    <a:gd name="T50" fmla="*/ 2147483647 w 396"/>
                    <a:gd name="T51" fmla="*/ 2147483647 h 228"/>
                    <a:gd name="T52" fmla="*/ 2147483647 w 396"/>
                    <a:gd name="T53" fmla="*/ 2147483647 h 228"/>
                    <a:gd name="T54" fmla="*/ 2147483647 w 396"/>
                    <a:gd name="T55" fmla="*/ 2147483647 h 228"/>
                    <a:gd name="T56" fmla="*/ 0 w 396"/>
                    <a:gd name="T57" fmla="*/ 2147483647 h 228"/>
                    <a:gd name="T58" fmla="*/ 2147483647 w 396"/>
                    <a:gd name="T59" fmla="*/ 2147483647 h 228"/>
                    <a:gd name="T60" fmla="*/ 2147483647 w 396"/>
                    <a:gd name="T61" fmla="*/ 2147483647 h 228"/>
                    <a:gd name="T62" fmla="*/ 2147483647 w 396"/>
                    <a:gd name="T63" fmla="*/ 2147483647 h 228"/>
                    <a:gd name="T64" fmla="*/ 2147483647 w 396"/>
                    <a:gd name="T65" fmla="*/ 2147483647 h 228"/>
                    <a:gd name="T66" fmla="*/ 2147483647 w 396"/>
                    <a:gd name="T67" fmla="*/ 2147483647 h 228"/>
                    <a:gd name="T68" fmla="*/ 2147483647 w 396"/>
                    <a:gd name="T69" fmla="*/ 2147483647 h 228"/>
                    <a:gd name="T70" fmla="*/ 2147483647 w 396"/>
                    <a:gd name="T71" fmla="*/ 2147483647 h 228"/>
                    <a:gd name="T72" fmla="*/ 2147483647 w 396"/>
                    <a:gd name="T73" fmla="*/ 2147483647 h 228"/>
                    <a:gd name="T74" fmla="*/ 2147483647 w 396"/>
                    <a:gd name="T75" fmla="*/ 2147483647 h 228"/>
                    <a:gd name="T76" fmla="*/ 2147483647 w 396"/>
                    <a:gd name="T77" fmla="*/ 2147483647 h 228"/>
                    <a:gd name="T78" fmla="*/ 2147483647 w 396"/>
                    <a:gd name="T79" fmla="*/ 2147483647 h 228"/>
                    <a:gd name="T80" fmla="*/ 2147483647 w 396"/>
                    <a:gd name="T81" fmla="*/ 2147483647 h 228"/>
                    <a:gd name="T82" fmla="*/ 2147483647 w 396"/>
                    <a:gd name="T83" fmla="*/ 2147483647 h 228"/>
                    <a:gd name="T84" fmla="*/ 2147483647 w 396"/>
                    <a:gd name="T85" fmla="*/ 2147483647 h 228"/>
                    <a:gd name="T86" fmla="*/ 2147483647 w 396"/>
                    <a:gd name="T87" fmla="*/ 2147483647 h 228"/>
                    <a:gd name="T88" fmla="*/ 2147483647 w 396"/>
                    <a:gd name="T89" fmla="*/ 2147483647 h 228"/>
                    <a:gd name="T90" fmla="*/ 2147483647 w 396"/>
                    <a:gd name="T91" fmla="*/ 2147483647 h 228"/>
                    <a:gd name="T92" fmla="*/ 2147483647 w 396"/>
                    <a:gd name="T93" fmla="*/ 2147483647 h 22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396"/>
                    <a:gd name="T142" fmla="*/ 0 h 228"/>
                    <a:gd name="T143" fmla="*/ 396 w 396"/>
                    <a:gd name="T144" fmla="*/ 228 h 22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396" h="228">
                      <a:moveTo>
                        <a:pt x="372" y="168"/>
                      </a:moveTo>
                      <a:lnTo>
                        <a:pt x="336" y="126"/>
                      </a:lnTo>
                      <a:lnTo>
                        <a:pt x="354" y="108"/>
                      </a:lnTo>
                      <a:lnTo>
                        <a:pt x="354" y="78"/>
                      </a:lnTo>
                      <a:lnTo>
                        <a:pt x="360" y="72"/>
                      </a:lnTo>
                      <a:lnTo>
                        <a:pt x="372" y="66"/>
                      </a:lnTo>
                      <a:lnTo>
                        <a:pt x="396" y="66"/>
                      </a:lnTo>
                      <a:lnTo>
                        <a:pt x="396" y="48"/>
                      </a:lnTo>
                      <a:lnTo>
                        <a:pt x="390" y="36"/>
                      </a:lnTo>
                      <a:lnTo>
                        <a:pt x="372" y="36"/>
                      </a:lnTo>
                      <a:lnTo>
                        <a:pt x="348" y="12"/>
                      </a:lnTo>
                      <a:lnTo>
                        <a:pt x="324" y="12"/>
                      </a:lnTo>
                      <a:lnTo>
                        <a:pt x="312" y="6"/>
                      </a:lnTo>
                      <a:lnTo>
                        <a:pt x="300" y="6"/>
                      </a:lnTo>
                      <a:lnTo>
                        <a:pt x="288" y="0"/>
                      </a:lnTo>
                      <a:lnTo>
                        <a:pt x="282" y="0"/>
                      </a:lnTo>
                      <a:lnTo>
                        <a:pt x="282" y="12"/>
                      </a:lnTo>
                      <a:lnTo>
                        <a:pt x="252" y="6"/>
                      </a:lnTo>
                      <a:lnTo>
                        <a:pt x="252" y="12"/>
                      </a:lnTo>
                      <a:lnTo>
                        <a:pt x="246" y="12"/>
                      </a:lnTo>
                      <a:lnTo>
                        <a:pt x="234" y="18"/>
                      </a:lnTo>
                      <a:lnTo>
                        <a:pt x="228" y="18"/>
                      </a:lnTo>
                      <a:lnTo>
                        <a:pt x="222" y="24"/>
                      </a:lnTo>
                      <a:lnTo>
                        <a:pt x="222" y="36"/>
                      </a:lnTo>
                      <a:lnTo>
                        <a:pt x="216" y="42"/>
                      </a:lnTo>
                      <a:lnTo>
                        <a:pt x="198" y="42"/>
                      </a:lnTo>
                      <a:lnTo>
                        <a:pt x="186" y="36"/>
                      </a:lnTo>
                      <a:lnTo>
                        <a:pt x="180" y="30"/>
                      </a:lnTo>
                      <a:lnTo>
                        <a:pt x="156" y="30"/>
                      </a:lnTo>
                      <a:lnTo>
                        <a:pt x="138" y="24"/>
                      </a:lnTo>
                      <a:lnTo>
                        <a:pt x="138" y="30"/>
                      </a:lnTo>
                      <a:lnTo>
                        <a:pt x="132" y="36"/>
                      </a:lnTo>
                      <a:lnTo>
                        <a:pt x="108" y="36"/>
                      </a:lnTo>
                      <a:lnTo>
                        <a:pt x="102" y="30"/>
                      </a:lnTo>
                      <a:lnTo>
                        <a:pt x="90" y="30"/>
                      </a:lnTo>
                      <a:lnTo>
                        <a:pt x="66" y="18"/>
                      </a:lnTo>
                      <a:lnTo>
                        <a:pt x="54" y="30"/>
                      </a:lnTo>
                      <a:lnTo>
                        <a:pt x="36" y="30"/>
                      </a:lnTo>
                      <a:lnTo>
                        <a:pt x="30" y="24"/>
                      </a:lnTo>
                      <a:lnTo>
                        <a:pt x="36" y="18"/>
                      </a:lnTo>
                      <a:lnTo>
                        <a:pt x="36" y="12"/>
                      </a:lnTo>
                      <a:lnTo>
                        <a:pt x="42" y="6"/>
                      </a:lnTo>
                      <a:lnTo>
                        <a:pt x="36" y="0"/>
                      </a:lnTo>
                      <a:lnTo>
                        <a:pt x="12" y="0"/>
                      </a:lnTo>
                      <a:lnTo>
                        <a:pt x="12" y="12"/>
                      </a:lnTo>
                      <a:lnTo>
                        <a:pt x="0" y="24"/>
                      </a:lnTo>
                      <a:lnTo>
                        <a:pt x="0" y="42"/>
                      </a:lnTo>
                      <a:lnTo>
                        <a:pt x="18" y="48"/>
                      </a:lnTo>
                      <a:lnTo>
                        <a:pt x="12" y="60"/>
                      </a:lnTo>
                      <a:lnTo>
                        <a:pt x="30" y="66"/>
                      </a:lnTo>
                      <a:lnTo>
                        <a:pt x="36" y="72"/>
                      </a:lnTo>
                      <a:lnTo>
                        <a:pt x="36" y="96"/>
                      </a:lnTo>
                      <a:lnTo>
                        <a:pt x="30" y="102"/>
                      </a:lnTo>
                      <a:lnTo>
                        <a:pt x="6" y="102"/>
                      </a:lnTo>
                      <a:lnTo>
                        <a:pt x="6" y="108"/>
                      </a:lnTo>
                      <a:lnTo>
                        <a:pt x="12" y="114"/>
                      </a:lnTo>
                      <a:lnTo>
                        <a:pt x="12" y="138"/>
                      </a:lnTo>
                      <a:lnTo>
                        <a:pt x="0" y="138"/>
                      </a:lnTo>
                      <a:lnTo>
                        <a:pt x="12" y="156"/>
                      </a:lnTo>
                      <a:lnTo>
                        <a:pt x="18" y="156"/>
                      </a:lnTo>
                      <a:lnTo>
                        <a:pt x="18" y="168"/>
                      </a:lnTo>
                      <a:lnTo>
                        <a:pt x="36" y="180"/>
                      </a:lnTo>
                      <a:lnTo>
                        <a:pt x="42" y="186"/>
                      </a:lnTo>
                      <a:lnTo>
                        <a:pt x="48" y="198"/>
                      </a:lnTo>
                      <a:lnTo>
                        <a:pt x="48" y="210"/>
                      </a:lnTo>
                      <a:lnTo>
                        <a:pt x="42" y="222"/>
                      </a:lnTo>
                      <a:lnTo>
                        <a:pt x="48" y="222"/>
                      </a:lnTo>
                      <a:lnTo>
                        <a:pt x="54" y="228"/>
                      </a:lnTo>
                      <a:lnTo>
                        <a:pt x="66" y="228"/>
                      </a:lnTo>
                      <a:lnTo>
                        <a:pt x="78" y="222"/>
                      </a:lnTo>
                      <a:lnTo>
                        <a:pt x="84" y="216"/>
                      </a:lnTo>
                      <a:lnTo>
                        <a:pt x="108" y="222"/>
                      </a:lnTo>
                      <a:lnTo>
                        <a:pt x="114" y="204"/>
                      </a:lnTo>
                      <a:lnTo>
                        <a:pt x="144" y="198"/>
                      </a:lnTo>
                      <a:lnTo>
                        <a:pt x="144" y="204"/>
                      </a:lnTo>
                      <a:lnTo>
                        <a:pt x="162" y="222"/>
                      </a:lnTo>
                      <a:lnTo>
                        <a:pt x="174" y="222"/>
                      </a:lnTo>
                      <a:lnTo>
                        <a:pt x="180" y="216"/>
                      </a:lnTo>
                      <a:lnTo>
                        <a:pt x="192" y="228"/>
                      </a:lnTo>
                      <a:lnTo>
                        <a:pt x="204" y="228"/>
                      </a:lnTo>
                      <a:lnTo>
                        <a:pt x="216" y="216"/>
                      </a:lnTo>
                      <a:lnTo>
                        <a:pt x="228" y="228"/>
                      </a:lnTo>
                      <a:lnTo>
                        <a:pt x="246" y="228"/>
                      </a:lnTo>
                      <a:lnTo>
                        <a:pt x="252" y="222"/>
                      </a:lnTo>
                      <a:lnTo>
                        <a:pt x="252" y="204"/>
                      </a:lnTo>
                      <a:lnTo>
                        <a:pt x="246" y="198"/>
                      </a:lnTo>
                      <a:lnTo>
                        <a:pt x="264" y="192"/>
                      </a:lnTo>
                      <a:lnTo>
                        <a:pt x="282" y="168"/>
                      </a:lnTo>
                      <a:lnTo>
                        <a:pt x="312" y="174"/>
                      </a:lnTo>
                      <a:lnTo>
                        <a:pt x="324" y="156"/>
                      </a:lnTo>
                      <a:lnTo>
                        <a:pt x="336" y="174"/>
                      </a:lnTo>
                      <a:lnTo>
                        <a:pt x="348" y="174"/>
                      </a:lnTo>
                      <a:lnTo>
                        <a:pt x="360" y="180"/>
                      </a:lnTo>
                      <a:lnTo>
                        <a:pt x="372" y="180"/>
                      </a:lnTo>
                      <a:lnTo>
                        <a:pt x="372" y="168"/>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671" name="Brazil"/>
                <p:cNvSpPr>
                  <a:spLocks noEditPoints="1"/>
                </p:cNvSpPr>
                <p:nvPr/>
              </p:nvSpPr>
              <p:spPr bwMode="gray">
                <a:xfrm>
                  <a:off x="1309" y="2201"/>
                  <a:ext cx="712" cy="805"/>
                </a:xfrm>
                <a:custGeom>
                  <a:avLst/>
                  <a:gdLst>
                    <a:gd name="T0" fmla="*/ 2147483647 w 2784"/>
                    <a:gd name="T1" fmla="*/ 2147483647 h 3150"/>
                    <a:gd name="T2" fmla="*/ 2147483647 w 2784"/>
                    <a:gd name="T3" fmla="*/ 2147483647 h 3150"/>
                    <a:gd name="T4" fmla="*/ 2147483647 w 2784"/>
                    <a:gd name="T5" fmla="*/ 2147483647 h 3150"/>
                    <a:gd name="T6" fmla="*/ 2147483647 w 2784"/>
                    <a:gd name="T7" fmla="*/ 2147483647 h 3150"/>
                    <a:gd name="T8" fmla="*/ 2147483647 w 2784"/>
                    <a:gd name="T9" fmla="*/ 2147483647 h 3150"/>
                    <a:gd name="T10" fmla="*/ 2147483647 w 2784"/>
                    <a:gd name="T11" fmla="*/ 2147483647 h 3150"/>
                    <a:gd name="T12" fmla="*/ 2147483647 w 2784"/>
                    <a:gd name="T13" fmla="*/ 2147483647 h 3150"/>
                    <a:gd name="T14" fmla="*/ 2147483647 w 2784"/>
                    <a:gd name="T15" fmla="*/ 2147483647 h 3150"/>
                    <a:gd name="T16" fmla="*/ 2147483647 w 2784"/>
                    <a:gd name="T17" fmla="*/ 2147483647 h 3150"/>
                    <a:gd name="T18" fmla="*/ 2147483647 w 2784"/>
                    <a:gd name="T19" fmla="*/ 2147483647 h 3150"/>
                    <a:gd name="T20" fmla="*/ 2147483647 w 2784"/>
                    <a:gd name="T21" fmla="*/ 2147483647 h 3150"/>
                    <a:gd name="T22" fmla="*/ 2147483647 w 2784"/>
                    <a:gd name="T23" fmla="*/ 2147483647 h 3150"/>
                    <a:gd name="T24" fmla="*/ 2147483647 w 2784"/>
                    <a:gd name="T25" fmla="*/ 2147483647 h 3150"/>
                    <a:gd name="T26" fmla="*/ 2147483647 w 2784"/>
                    <a:gd name="T27" fmla="*/ 2147483647 h 3150"/>
                    <a:gd name="T28" fmla="*/ 2147483647 w 2784"/>
                    <a:gd name="T29" fmla="*/ 2147483647 h 3150"/>
                    <a:gd name="T30" fmla="*/ 2147483647 w 2784"/>
                    <a:gd name="T31" fmla="*/ 2147483647 h 3150"/>
                    <a:gd name="T32" fmla="*/ 2147483647 w 2784"/>
                    <a:gd name="T33" fmla="*/ 2147483647 h 3150"/>
                    <a:gd name="T34" fmla="*/ 2147483647 w 2784"/>
                    <a:gd name="T35" fmla="*/ 2147483647 h 3150"/>
                    <a:gd name="T36" fmla="*/ 2147483647 w 2784"/>
                    <a:gd name="T37" fmla="*/ 2147483647 h 3150"/>
                    <a:gd name="T38" fmla="*/ 2147483647 w 2784"/>
                    <a:gd name="T39" fmla="*/ 2147483647 h 3150"/>
                    <a:gd name="T40" fmla="*/ 2147483647 w 2784"/>
                    <a:gd name="T41" fmla="*/ 2147483647 h 3150"/>
                    <a:gd name="T42" fmla="*/ 2147483647 w 2784"/>
                    <a:gd name="T43" fmla="*/ 2147483647 h 3150"/>
                    <a:gd name="T44" fmla="*/ 2147483647 w 2784"/>
                    <a:gd name="T45" fmla="*/ 2147483647 h 3150"/>
                    <a:gd name="T46" fmla="*/ 2147483647 w 2784"/>
                    <a:gd name="T47" fmla="*/ 2147483647 h 3150"/>
                    <a:gd name="T48" fmla="*/ 2147483647 w 2784"/>
                    <a:gd name="T49" fmla="*/ 2147483647 h 3150"/>
                    <a:gd name="T50" fmla="*/ 2147483647 w 2784"/>
                    <a:gd name="T51" fmla="*/ 2147483647 h 3150"/>
                    <a:gd name="T52" fmla="*/ 2147483647 w 2784"/>
                    <a:gd name="T53" fmla="*/ 2147483647 h 3150"/>
                    <a:gd name="T54" fmla="*/ 2147483647 w 2784"/>
                    <a:gd name="T55" fmla="*/ 2147483647 h 3150"/>
                    <a:gd name="T56" fmla="*/ 2147483647 w 2784"/>
                    <a:gd name="T57" fmla="*/ 2147483647 h 3150"/>
                    <a:gd name="T58" fmla="*/ 2147483647 w 2784"/>
                    <a:gd name="T59" fmla="*/ 2147483647 h 3150"/>
                    <a:gd name="T60" fmla="*/ 2147483647 w 2784"/>
                    <a:gd name="T61" fmla="*/ 2147483647 h 3150"/>
                    <a:gd name="T62" fmla="*/ 2147483647 w 2784"/>
                    <a:gd name="T63" fmla="*/ 2147483647 h 3150"/>
                    <a:gd name="T64" fmla="*/ 2147483647 w 2784"/>
                    <a:gd name="T65" fmla="*/ 2147483647 h 3150"/>
                    <a:gd name="T66" fmla="*/ 2147483647 w 2784"/>
                    <a:gd name="T67" fmla="*/ 2147483647 h 3150"/>
                    <a:gd name="T68" fmla="*/ 2147483647 w 2784"/>
                    <a:gd name="T69" fmla="*/ 2147483647 h 3150"/>
                    <a:gd name="T70" fmla="*/ 2147483647 w 2784"/>
                    <a:gd name="T71" fmla="*/ 2147483647 h 3150"/>
                    <a:gd name="T72" fmla="*/ 2147483647 w 2784"/>
                    <a:gd name="T73" fmla="*/ 2147483647 h 3150"/>
                    <a:gd name="T74" fmla="*/ 2147483647 w 2784"/>
                    <a:gd name="T75" fmla="*/ 2147483647 h 3150"/>
                    <a:gd name="T76" fmla="*/ 2147483647 w 2784"/>
                    <a:gd name="T77" fmla="*/ 2147483647 h 3150"/>
                    <a:gd name="T78" fmla="*/ 2147483647 w 2784"/>
                    <a:gd name="T79" fmla="*/ 2147483647 h 3150"/>
                    <a:gd name="T80" fmla="*/ 2147483647 w 2784"/>
                    <a:gd name="T81" fmla="*/ 2147483647 h 3150"/>
                    <a:gd name="T82" fmla="*/ 2147483647 w 2784"/>
                    <a:gd name="T83" fmla="*/ 2147483647 h 3150"/>
                    <a:gd name="T84" fmla="*/ 2147483647 w 2784"/>
                    <a:gd name="T85" fmla="*/ 2147483647 h 3150"/>
                    <a:gd name="T86" fmla="*/ 2147483647 w 2784"/>
                    <a:gd name="T87" fmla="*/ 2147483647 h 3150"/>
                    <a:gd name="T88" fmla="*/ 2147483647 w 2784"/>
                    <a:gd name="T89" fmla="*/ 2147483647 h 3150"/>
                    <a:gd name="T90" fmla="*/ 2147483647 w 2784"/>
                    <a:gd name="T91" fmla="*/ 2147483647 h 3150"/>
                    <a:gd name="T92" fmla="*/ 2147483647 w 2784"/>
                    <a:gd name="T93" fmla="*/ 2147483647 h 3150"/>
                    <a:gd name="T94" fmla="*/ 2147483647 w 2784"/>
                    <a:gd name="T95" fmla="*/ 2147483647 h 3150"/>
                    <a:gd name="T96" fmla="*/ 2147483647 w 2784"/>
                    <a:gd name="T97" fmla="*/ 2147483647 h 3150"/>
                    <a:gd name="T98" fmla="*/ 2147483647 w 2784"/>
                    <a:gd name="T99" fmla="*/ 2147483647 h 3150"/>
                    <a:gd name="T100" fmla="*/ 2147483647 w 2784"/>
                    <a:gd name="T101" fmla="*/ 2147483647 h 3150"/>
                    <a:gd name="T102" fmla="*/ 2147483647 w 2784"/>
                    <a:gd name="T103" fmla="*/ 2147483647 h 3150"/>
                    <a:gd name="T104" fmla="*/ 2147483647 w 2784"/>
                    <a:gd name="T105" fmla="*/ 2147483647 h 3150"/>
                    <a:gd name="T106" fmla="*/ 2147483647 w 2784"/>
                    <a:gd name="T107" fmla="*/ 2147483647 h 3150"/>
                    <a:gd name="T108" fmla="*/ 2147483647 w 2784"/>
                    <a:gd name="T109" fmla="*/ 2147483647 h 3150"/>
                    <a:gd name="T110" fmla="*/ 2147483647 w 2784"/>
                    <a:gd name="T111" fmla="*/ 2147483647 h 3150"/>
                    <a:gd name="T112" fmla="*/ 2147483647 w 2784"/>
                    <a:gd name="T113" fmla="*/ 2147483647 h 3150"/>
                    <a:gd name="T114" fmla="*/ 2147483647 w 2784"/>
                    <a:gd name="T115" fmla="*/ 2147483647 h 3150"/>
                    <a:gd name="T116" fmla="*/ 2147483647 w 2784"/>
                    <a:gd name="T117" fmla="*/ 2147483647 h 3150"/>
                    <a:gd name="T118" fmla="*/ 2147483647 w 2784"/>
                    <a:gd name="T119" fmla="*/ 2147483647 h 315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784"/>
                    <a:gd name="T181" fmla="*/ 0 h 3150"/>
                    <a:gd name="T182" fmla="*/ 2784 w 2784"/>
                    <a:gd name="T183" fmla="*/ 3150 h 315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784" h="3150">
                      <a:moveTo>
                        <a:pt x="1716" y="450"/>
                      </a:moveTo>
                      <a:lnTo>
                        <a:pt x="1710" y="450"/>
                      </a:lnTo>
                      <a:lnTo>
                        <a:pt x="1698" y="444"/>
                      </a:lnTo>
                      <a:lnTo>
                        <a:pt x="1680" y="444"/>
                      </a:lnTo>
                      <a:lnTo>
                        <a:pt x="1662" y="438"/>
                      </a:lnTo>
                      <a:lnTo>
                        <a:pt x="1650" y="438"/>
                      </a:lnTo>
                      <a:lnTo>
                        <a:pt x="1644" y="444"/>
                      </a:lnTo>
                      <a:lnTo>
                        <a:pt x="1644" y="450"/>
                      </a:lnTo>
                      <a:lnTo>
                        <a:pt x="1650" y="462"/>
                      </a:lnTo>
                      <a:lnTo>
                        <a:pt x="1650" y="468"/>
                      </a:lnTo>
                      <a:lnTo>
                        <a:pt x="1656" y="480"/>
                      </a:lnTo>
                      <a:lnTo>
                        <a:pt x="1638" y="480"/>
                      </a:lnTo>
                      <a:lnTo>
                        <a:pt x="1638" y="504"/>
                      </a:lnTo>
                      <a:lnTo>
                        <a:pt x="1656" y="516"/>
                      </a:lnTo>
                      <a:lnTo>
                        <a:pt x="1644" y="528"/>
                      </a:lnTo>
                      <a:lnTo>
                        <a:pt x="1644" y="540"/>
                      </a:lnTo>
                      <a:lnTo>
                        <a:pt x="1656" y="564"/>
                      </a:lnTo>
                      <a:lnTo>
                        <a:pt x="1668" y="570"/>
                      </a:lnTo>
                      <a:lnTo>
                        <a:pt x="1674" y="576"/>
                      </a:lnTo>
                      <a:lnTo>
                        <a:pt x="1686" y="576"/>
                      </a:lnTo>
                      <a:lnTo>
                        <a:pt x="1698" y="570"/>
                      </a:lnTo>
                      <a:lnTo>
                        <a:pt x="1710" y="570"/>
                      </a:lnTo>
                      <a:lnTo>
                        <a:pt x="1716" y="564"/>
                      </a:lnTo>
                      <a:lnTo>
                        <a:pt x="1716" y="558"/>
                      </a:lnTo>
                      <a:lnTo>
                        <a:pt x="1728" y="558"/>
                      </a:lnTo>
                      <a:lnTo>
                        <a:pt x="1740" y="552"/>
                      </a:lnTo>
                      <a:lnTo>
                        <a:pt x="1758" y="552"/>
                      </a:lnTo>
                      <a:lnTo>
                        <a:pt x="1770" y="546"/>
                      </a:lnTo>
                      <a:lnTo>
                        <a:pt x="1776" y="534"/>
                      </a:lnTo>
                      <a:lnTo>
                        <a:pt x="1788" y="492"/>
                      </a:lnTo>
                      <a:lnTo>
                        <a:pt x="1794" y="480"/>
                      </a:lnTo>
                      <a:lnTo>
                        <a:pt x="1794" y="474"/>
                      </a:lnTo>
                      <a:lnTo>
                        <a:pt x="1800" y="462"/>
                      </a:lnTo>
                      <a:lnTo>
                        <a:pt x="1800" y="444"/>
                      </a:lnTo>
                      <a:lnTo>
                        <a:pt x="1794" y="438"/>
                      </a:lnTo>
                      <a:lnTo>
                        <a:pt x="1752" y="438"/>
                      </a:lnTo>
                      <a:lnTo>
                        <a:pt x="1740" y="444"/>
                      </a:lnTo>
                      <a:lnTo>
                        <a:pt x="1734" y="444"/>
                      </a:lnTo>
                      <a:lnTo>
                        <a:pt x="1722" y="450"/>
                      </a:lnTo>
                      <a:lnTo>
                        <a:pt x="1716" y="450"/>
                      </a:lnTo>
                      <a:close/>
                      <a:moveTo>
                        <a:pt x="1716" y="438"/>
                      </a:moveTo>
                      <a:lnTo>
                        <a:pt x="1740" y="432"/>
                      </a:lnTo>
                      <a:lnTo>
                        <a:pt x="1722" y="414"/>
                      </a:lnTo>
                      <a:lnTo>
                        <a:pt x="1698" y="438"/>
                      </a:lnTo>
                      <a:lnTo>
                        <a:pt x="1716" y="438"/>
                      </a:lnTo>
                      <a:close/>
                      <a:moveTo>
                        <a:pt x="1686" y="408"/>
                      </a:moveTo>
                      <a:lnTo>
                        <a:pt x="1662" y="408"/>
                      </a:lnTo>
                      <a:lnTo>
                        <a:pt x="1662" y="426"/>
                      </a:lnTo>
                      <a:lnTo>
                        <a:pt x="1698" y="426"/>
                      </a:lnTo>
                      <a:lnTo>
                        <a:pt x="1716" y="402"/>
                      </a:lnTo>
                      <a:lnTo>
                        <a:pt x="1698" y="384"/>
                      </a:lnTo>
                      <a:lnTo>
                        <a:pt x="1686" y="408"/>
                      </a:lnTo>
                      <a:close/>
                      <a:moveTo>
                        <a:pt x="1572" y="492"/>
                      </a:moveTo>
                      <a:lnTo>
                        <a:pt x="1572" y="510"/>
                      </a:lnTo>
                      <a:lnTo>
                        <a:pt x="1554" y="546"/>
                      </a:lnTo>
                      <a:lnTo>
                        <a:pt x="1584" y="528"/>
                      </a:lnTo>
                      <a:lnTo>
                        <a:pt x="1590" y="516"/>
                      </a:lnTo>
                      <a:lnTo>
                        <a:pt x="1596" y="510"/>
                      </a:lnTo>
                      <a:lnTo>
                        <a:pt x="1608" y="486"/>
                      </a:lnTo>
                      <a:lnTo>
                        <a:pt x="1608" y="480"/>
                      </a:lnTo>
                      <a:lnTo>
                        <a:pt x="1602" y="474"/>
                      </a:lnTo>
                      <a:lnTo>
                        <a:pt x="1596" y="474"/>
                      </a:lnTo>
                      <a:lnTo>
                        <a:pt x="1584" y="480"/>
                      </a:lnTo>
                      <a:lnTo>
                        <a:pt x="1572" y="492"/>
                      </a:lnTo>
                      <a:close/>
                      <a:moveTo>
                        <a:pt x="1632" y="426"/>
                      </a:moveTo>
                      <a:lnTo>
                        <a:pt x="1608" y="450"/>
                      </a:lnTo>
                      <a:lnTo>
                        <a:pt x="1626" y="456"/>
                      </a:lnTo>
                      <a:lnTo>
                        <a:pt x="1644" y="432"/>
                      </a:lnTo>
                      <a:lnTo>
                        <a:pt x="1632" y="426"/>
                      </a:lnTo>
                      <a:close/>
                      <a:moveTo>
                        <a:pt x="2778" y="1002"/>
                      </a:moveTo>
                      <a:lnTo>
                        <a:pt x="2778" y="984"/>
                      </a:lnTo>
                      <a:lnTo>
                        <a:pt x="2772" y="972"/>
                      </a:lnTo>
                      <a:lnTo>
                        <a:pt x="2760" y="954"/>
                      </a:lnTo>
                      <a:lnTo>
                        <a:pt x="2754" y="936"/>
                      </a:lnTo>
                      <a:lnTo>
                        <a:pt x="2754" y="870"/>
                      </a:lnTo>
                      <a:lnTo>
                        <a:pt x="2724" y="840"/>
                      </a:lnTo>
                      <a:lnTo>
                        <a:pt x="2694" y="834"/>
                      </a:lnTo>
                      <a:lnTo>
                        <a:pt x="2646" y="840"/>
                      </a:lnTo>
                      <a:lnTo>
                        <a:pt x="2628" y="822"/>
                      </a:lnTo>
                      <a:lnTo>
                        <a:pt x="2610" y="822"/>
                      </a:lnTo>
                      <a:lnTo>
                        <a:pt x="2592" y="798"/>
                      </a:lnTo>
                      <a:lnTo>
                        <a:pt x="2568" y="798"/>
                      </a:lnTo>
                      <a:lnTo>
                        <a:pt x="2538" y="768"/>
                      </a:lnTo>
                      <a:lnTo>
                        <a:pt x="2526" y="750"/>
                      </a:lnTo>
                      <a:lnTo>
                        <a:pt x="2490" y="714"/>
                      </a:lnTo>
                      <a:lnTo>
                        <a:pt x="2418" y="666"/>
                      </a:lnTo>
                      <a:lnTo>
                        <a:pt x="2394" y="660"/>
                      </a:lnTo>
                      <a:lnTo>
                        <a:pt x="2316" y="660"/>
                      </a:lnTo>
                      <a:lnTo>
                        <a:pt x="2316" y="672"/>
                      </a:lnTo>
                      <a:lnTo>
                        <a:pt x="2310" y="672"/>
                      </a:lnTo>
                      <a:lnTo>
                        <a:pt x="2298" y="660"/>
                      </a:lnTo>
                      <a:lnTo>
                        <a:pt x="2286" y="654"/>
                      </a:lnTo>
                      <a:lnTo>
                        <a:pt x="2274" y="654"/>
                      </a:lnTo>
                      <a:lnTo>
                        <a:pt x="2262" y="648"/>
                      </a:lnTo>
                      <a:lnTo>
                        <a:pt x="2232" y="648"/>
                      </a:lnTo>
                      <a:lnTo>
                        <a:pt x="2226" y="642"/>
                      </a:lnTo>
                      <a:lnTo>
                        <a:pt x="2214" y="636"/>
                      </a:lnTo>
                      <a:lnTo>
                        <a:pt x="2196" y="630"/>
                      </a:lnTo>
                      <a:lnTo>
                        <a:pt x="2184" y="624"/>
                      </a:lnTo>
                      <a:lnTo>
                        <a:pt x="2166" y="618"/>
                      </a:lnTo>
                      <a:lnTo>
                        <a:pt x="2154" y="618"/>
                      </a:lnTo>
                      <a:lnTo>
                        <a:pt x="2142" y="624"/>
                      </a:lnTo>
                      <a:lnTo>
                        <a:pt x="2112" y="654"/>
                      </a:lnTo>
                      <a:lnTo>
                        <a:pt x="2106" y="666"/>
                      </a:lnTo>
                      <a:lnTo>
                        <a:pt x="2088" y="642"/>
                      </a:lnTo>
                      <a:lnTo>
                        <a:pt x="2088" y="678"/>
                      </a:lnTo>
                      <a:lnTo>
                        <a:pt x="2058" y="702"/>
                      </a:lnTo>
                      <a:lnTo>
                        <a:pt x="2076" y="636"/>
                      </a:lnTo>
                      <a:lnTo>
                        <a:pt x="2082" y="636"/>
                      </a:lnTo>
                      <a:lnTo>
                        <a:pt x="2094" y="624"/>
                      </a:lnTo>
                      <a:lnTo>
                        <a:pt x="2094" y="606"/>
                      </a:lnTo>
                      <a:lnTo>
                        <a:pt x="2088" y="600"/>
                      </a:lnTo>
                      <a:lnTo>
                        <a:pt x="2082" y="600"/>
                      </a:lnTo>
                      <a:lnTo>
                        <a:pt x="2064" y="618"/>
                      </a:lnTo>
                      <a:lnTo>
                        <a:pt x="2076" y="582"/>
                      </a:lnTo>
                      <a:lnTo>
                        <a:pt x="2070" y="582"/>
                      </a:lnTo>
                      <a:lnTo>
                        <a:pt x="2064" y="576"/>
                      </a:lnTo>
                      <a:lnTo>
                        <a:pt x="2064" y="570"/>
                      </a:lnTo>
                      <a:lnTo>
                        <a:pt x="2040" y="546"/>
                      </a:lnTo>
                      <a:lnTo>
                        <a:pt x="2034" y="546"/>
                      </a:lnTo>
                      <a:lnTo>
                        <a:pt x="2022" y="564"/>
                      </a:lnTo>
                      <a:lnTo>
                        <a:pt x="2016" y="552"/>
                      </a:lnTo>
                      <a:lnTo>
                        <a:pt x="2004" y="546"/>
                      </a:lnTo>
                      <a:lnTo>
                        <a:pt x="1998" y="534"/>
                      </a:lnTo>
                      <a:lnTo>
                        <a:pt x="1986" y="528"/>
                      </a:lnTo>
                      <a:lnTo>
                        <a:pt x="1980" y="522"/>
                      </a:lnTo>
                      <a:lnTo>
                        <a:pt x="1968" y="516"/>
                      </a:lnTo>
                      <a:lnTo>
                        <a:pt x="1944" y="516"/>
                      </a:lnTo>
                      <a:lnTo>
                        <a:pt x="1932" y="510"/>
                      </a:lnTo>
                      <a:lnTo>
                        <a:pt x="1926" y="510"/>
                      </a:lnTo>
                      <a:lnTo>
                        <a:pt x="1914" y="498"/>
                      </a:lnTo>
                      <a:lnTo>
                        <a:pt x="1902" y="492"/>
                      </a:lnTo>
                      <a:lnTo>
                        <a:pt x="1896" y="480"/>
                      </a:lnTo>
                      <a:lnTo>
                        <a:pt x="1884" y="474"/>
                      </a:lnTo>
                      <a:lnTo>
                        <a:pt x="1878" y="486"/>
                      </a:lnTo>
                      <a:lnTo>
                        <a:pt x="1824" y="486"/>
                      </a:lnTo>
                      <a:lnTo>
                        <a:pt x="1812" y="498"/>
                      </a:lnTo>
                      <a:lnTo>
                        <a:pt x="1806" y="510"/>
                      </a:lnTo>
                      <a:lnTo>
                        <a:pt x="1806" y="522"/>
                      </a:lnTo>
                      <a:lnTo>
                        <a:pt x="1800" y="528"/>
                      </a:lnTo>
                      <a:lnTo>
                        <a:pt x="1800" y="534"/>
                      </a:lnTo>
                      <a:lnTo>
                        <a:pt x="1812" y="552"/>
                      </a:lnTo>
                      <a:lnTo>
                        <a:pt x="1776" y="552"/>
                      </a:lnTo>
                      <a:lnTo>
                        <a:pt x="1770" y="564"/>
                      </a:lnTo>
                      <a:lnTo>
                        <a:pt x="1758" y="576"/>
                      </a:lnTo>
                      <a:lnTo>
                        <a:pt x="1752" y="588"/>
                      </a:lnTo>
                      <a:lnTo>
                        <a:pt x="1752" y="594"/>
                      </a:lnTo>
                      <a:lnTo>
                        <a:pt x="1746" y="600"/>
                      </a:lnTo>
                      <a:lnTo>
                        <a:pt x="1746" y="612"/>
                      </a:lnTo>
                      <a:lnTo>
                        <a:pt x="1740" y="624"/>
                      </a:lnTo>
                      <a:lnTo>
                        <a:pt x="1728" y="636"/>
                      </a:lnTo>
                      <a:lnTo>
                        <a:pt x="1722" y="636"/>
                      </a:lnTo>
                      <a:lnTo>
                        <a:pt x="1728" y="630"/>
                      </a:lnTo>
                      <a:lnTo>
                        <a:pt x="1728" y="618"/>
                      </a:lnTo>
                      <a:lnTo>
                        <a:pt x="1734" y="606"/>
                      </a:lnTo>
                      <a:lnTo>
                        <a:pt x="1734" y="600"/>
                      </a:lnTo>
                      <a:lnTo>
                        <a:pt x="1740" y="588"/>
                      </a:lnTo>
                      <a:lnTo>
                        <a:pt x="1740" y="582"/>
                      </a:lnTo>
                      <a:lnTo>
                        <a:pt x="1734" y="576"/>
                      </a:lnTo>
                      <a:lnTo>
                        <a:pt x="1728" y="576"/>
                      </a:lnTo>
                      <a:lnTo>
                        <a:pt x="1722" y="582"/>
                      </a:lnTo>
                      <a:lnTo>
                        <a:pt x="1716" y="582"/>
                      </a:lnTo>
                      <a:lnTo>
                        <a:pt x="1704" y="594"/>
                      </a:lnTo>
                      <a:lnTo>
                        <a:pt x="1692" y="588"/>
                      </a:lnTo>
                      <a:lnTo>
                        <a:pt x="1656" y="588"/>
                      </a:lnTo>
                      <a:lnTo>
                        <a:pt x="1644" y="582"/>
                      </a:lnTo>
                      <a:lnTo>
                        <a:pt x="1632" y="570"/>
                      </a:lnTo>
                      <a:lnTo>
                        <a:pt x="1632" y="522"/>
                      </a:lnTo>
                      <a:lnTo>
                        <a:pt x="1626" y="516"/>
                      </a:lnTo>
                      <a:lnTo>
                        <a:pt x="1626" y="504"/>
                      </a:lnTo>
                      <a:lnTo>
                        <a:pt x="1620" y="504"/>
                      </a:lnTo>
                      <a:lnTo>
                        <a:pt x="1614" y="510"/>
                      </a:lnTo>
                      <a:lnTo>
                        <a:pt x="1602" y="516"/>
                      </a:lnTo>
                      <a:lnTo>
                        <a:pt x="1596" y="522"/>
                      </a:lnTo>
                      <a:lnTo>
                        <a:pt x="1590" y="534"/>
                      </a:lnTo>
                      <a:lnTo>
                        <a:pt x="1584" y="540"/>
                      </a:lnTo>
                      <a:lnTo>
                        <a:pt x="1560" y="552"/>
                      </a:lnTo>
                      <a:lnTo>
                        <a:pt x="1554" y="558"/>
                      </a:lnTo>
                      <a:lnTo>
                        <a:pt x="1512" y="558"/>
                      </a:lnTo>
                      <a:lnTo>
                        <a:pt x="1500" y="552"/>
                      </a:lnTo>
                      <a:lnTo>
                        <a:pt x="1542" y="540"/>
                      </a:lnTo>
                      <a:lnTo>
                        <a:pt x="1548" y="528"/>
                      </a:lnTo>
                      <a:lnTo>
                        <a:pt x="1566" y="510"/>
                      </a:lnTo>
                      <a:lnTo>
                        <a:pt x="1566" y="492"/>
                      </a:lnTo>
                      <a:lnTo>
                        <a:pt x="1572" y="486"/>
                      </a:lnTo>
                      <a:lnTo>
                        <a:pt x="1590" y="450"/>
                      </a:lnTo>
                      <a:lnTo>
                        <a:pt x="1626" y="414"/>
                      </a:lnTo>
                      <a:lnTo>
                        <a:pt x="1638" y="408"/>
                      </a:lnTo>
                      <a:lnTo>
                        <a:pt x="1656" y="390"/>
                      </a:lnTo>
                      <a:lnTo>
                        <a:pt x="1656" y="378"/>
                      </a:lnTo>
                      <a:lnTo>
                        <a:pt x="1662" y="366"/>
                      </a:lnTo>
                      <a:lnTo>
                        <a:pt x="1674" y="354"/>
                      </a:lnTo>
                      <a:lnTo>
                        <a:pt x="1686" y="348"/>
                      </a:lnTo>
                      <a:lnTo>
                        <a:pt x="1692" y="342"/>
                      </a:lnTo>
                      <a:lnTo>
                        <a:pt x="1704" y="336"/>
                      </a:lnTo>
                      <a:lnTo>
                        <a:pt x="1680" y="330"/>
                      </a:lnTo>
                      <a:lnTo>
                        <a:pt x="1698" y="312"/>
                      </a:lnTo>
                      <a:lnTo>
                        <a:pt x="1698" y="294"/>
                      </a:lnTo>
                      <a:lnTo>
                        <a:pt x="1692" y="288"/>
                      </a:lnTo>
                      <a:lnTo>
                        <a:pt x="1680" y="282"/>
                      </a:lnTo>
                      <a:lnTo>
                        <a:pt x="1662" y="282"/>
                      </a:lnTo>
                      <a:lnTo>
                        <a:pt x="1650" y="276"/>
                      </a:lnTo>
                      <a:lnTo>
                        <a:pt x="1644" y="270"/>
                      </a:lnTo>
                      <a:lnTo>
                        <a:pt x="1638" y="252"/>
                      </a:lnTo>
                      <a:lnTo>
                        <a:pt x="1632" y="216"/>
                      </a:lnTo>
                      <a:lnTo>
                        <a:pt x="1626" y="168"/>
                      </a:lnTo>
                      <a:lnTo>
                        <a:pt x="1620" y="138"/>
                      </a:lnTo>
                      <a:lnTo>
                        <a:pt x="1614" y="114"/>
                      </a:lnTo>
                      <a:lnTo>
                        <a:pt x="1608" y="96"/>
                      </a:lnTo>
                      <a:lnTo>
                        <a:pt x="1602" y="84"/>
                      </a:lnTo>
                      <a:lnTo>
                        <a:pt x="1590" y="78"/>
                      </a:lnTo>
                      <a:lnTo>
                        <a:pt x="1584" y="78"/>
                      </a:lnTo>
                      <a:lnTo>
                        <a:pt x="1584" y="90"/>
                      </a:lnTo>
                      <a:lnTo>
                        <a:pt x="1590" y="96"/>
                      </a:lnTo>
                      <a:lnTo>
                        <a:pt x="1590" y="108"/>
                      </a:lnTo>
                      <a:lnTo>
                        <a:pt x="1572" y="108"/>
                      </a:lnTo>
                      <a:lnTo>
                        <a:pt x="1572" y="102"/>
                      </a:lnTo>
                      <a:lnTo>
                        <a:pt x="1566" y="108"/>
                      </a:lnTo>
                      <a:lnTo>
                        <a:pt x="1560" y="120"/>
                      </a:lnTo>
                      <a:lnTo>
                        <a:pt x="1560" y="126"/>
                      </a:lnTo>
                      <a:lnTo>
                        <a:pt x="1554" y="132"/>
                      </a:lnTo>
                      <a:lnTo>
                        <a:pt x="1548" y="144"/>
                      </a:lnTo>
                      <a:lnTo>
                        <a:pt x="1536" y="156"/>
                      </a:lnTo>
                      <a:lnTo>
                        <a:pt x="1518" y="192"/>
                      </a:lnTo>
                      <a:lnTo>
                        <a:pt x="1518" y="210"/>
                      </a:lnTo>
                      <a:lnTo>
                        <a:pt x="1494" y="246"/>
                      </a:lnTo>
                      <a:lnTo>
                        <a:pt x="1488" y="246"/>
                      </a:lnTo>
                      <a:lnTo>
                        <a:pt x="1482" y="252"/>
                      </a:lnTo>
                      <a:lnTo>
                        <a:pt x="1464" y="252"/>
                      </a:lnTo>
                      <a:lnTo>
                        <a:pt x="1452" y="240"/>
                      </a:lnTo>
                      <a:lnTo>
                        <a:pt x="1446" y="246"/>
                      </a:lnTo>
                      <a:lnTo>
                        <a:pt x="1434" y="246"/>
                      </a:lnTo>
                      <a:lnTo>
                        <a:pt x="1428" y="240"/>
                      </a:lnTo>
                      <a:lnTo>
                        <a:pt x="1416" y="240"/>
                      </a:lnTo>
                      <a:lnTo>
                        <a:pt x="1410" y="246"/>
                      </a:lnTo>
                      <a:lnTo>
                        <a:pt x="1410" y="252"/>
                      </a:lnTo>
                      <a:lnTo>
                        <a:pt x="1404" y="258"/>
                      </a:lnTo>
                      <a:lnTo>
                        <a:pt x="1380" y="258"/>
                      </a:lnTo>
                      <a:lnTo>
                        <a:pt x="1368" y="246"/>
                      </a:lnTo>
                      <a:lnTo>
                        <a:pt x="1368" y="240"/>
                      </a:lnTo>
                      <a:lnTo>
                        <a:pt x="1350" y="234"/>
                      </a:lnTo>
                      <a:lnTo>
                        <a:pt x="1344" y="228"/>
                      </a:lnTo>
                      <a:lnTo>
                        <a:pt x="1338" y="216"/>
                      </a:lnTo>
                      <a:lnTo>
                        <a:pt x="1332" y="216"/>
                      </a:lnTo>
                      <a:lnTo>
                        <a:pt x="1320" y="222"/>
                      </a:lnTo>
                      <a:lnTo>
                        <a:pt x="1314" y="228"/>
                      </a:lnTo>
                      <a:lnTo>
                        <a:pt x="1302" y="234"/>
                      </a:lnTo>
                      <a:lnTo>
                        <a:pt x="1278" y="234"/>
                      </a:lnTo>
                      <a:lnTo>
                        <a:pt x="1278" y="222"/>
                      </a:lnTo>
                      <a:lnTo>
                        <a:pt x="1272" y="222"/>
                      </a:lnTo>
                      <a:lnTo>
                        <a:pt x="1260" y="228"/>
                      </a:lnTo>
                      <a:lnTo>
                        <a:pt x="1260" y="252"/>
                      </a:lnTo>
                      <a:lnTo>
                        <a:pt x="1272" y="264"/>
                      </a:lnTo>
                      <a:lnTo>
                        <a:pt x="1272" y="270"/>
                      </a:lnTo>
                      <a:lnTo>
                        <a:pt x="1278" y="276"/>
                      </a:lnTo>
                      <a:lnTo>
                        <a:pt x="1272" y="282"/>
                      </a:lnTo>
                      <a:lnTo>
                        <a:pt x="1254" y="282"/>
                      </a:lnTo>
                      <a:lnTo>
                        <a:pt x="1230" y="270"/>
                      </a:lnTo>
                      <a:lnTo>
                        <a:pt x="1224" y="270"/>
                      </a:lnTo>
                      <a:lnTo>
                        <a:pt x="1212" y="264"/>
                      </a:lnTo>
                      <a:lnTo>
                        <a:pt x="1212" y="270"/>
                      </a:lnTo>
                      <a:lnTo>
                        <a:pt x="1206" y="276"/>
                      </a:lnTo>
                      <a:lnTo>
                        <a:pt x="1200" y="276"/>
                      </a:lnTo>
                      <a:lnTo>
                        <a:pt x="1188" y="264"/>
                      </a:lnTo>
                      <a:lnTo>
                        <a:pt x="1176" y="264"/>
                      </a:lnTo>
                      <a:lnTo>
                        <a:pt x="1158" y="282"/>
                      </a:lnTo>
                      <a:lnTo>
                        <a:pt x="1158" y="288"/>
                      </a:lnTo>
                      <a:lnTo>
                        <a:pt x="1128" y="288"/>
                      </a:lnTo>
                      <a:lnTo>
                        <a:pt x="1122" y="300"/>
                      </a:lnTo>
                      <a:lnTo>
                        <a:pt x="1104" y="300"/>
                      </a:lnTo>
                      <a:lnTo>
                        <a:pt x="1092" y="312"/>
                      </a:lnTo>
                      <a:lnTo>
                        <a:pt x="1092" y="324"/>
                      </a:lnTo>
                      <a:lnTo>
                        <a:pt x="1086" y="330"/>
                      </a:lnTo>
                      <a:lnTo>
                        <a:pt x="1050" y="330"/>
                      </a:lnTo>
                      <a:lnTo>
                        <a:pt x="1044" y="318"/>
                      </a:lnTo>
                      <a:lnTo>
                        <a:pt x="1032" y="318"/>
                      </a:lnTo>
                      <a:lnTo>
                        <a:pt x="1002" y="282"/>
                      </a:lnTo>
                      <a:lnTo>
                        <a:pt x="1002" y="252"/>
                      </a:lnTo>
                      <a:lnTo>
                        <a:pt x="978" y="228"/>
                      </a:lnTo>
                      <a:lnTo>
                        <a:pt x="972" y="216"/>
                      </a:lnTo>
                      <a:lnTo>
                        <a:pt x="972" y="210"/>
                      </a:lnTo>
                      <a:lnTo>
                        <a:pt x="978" y="198"/>
                      </a:lnTo>
                      <a:lnTo>
                        <a:pt x="978" y="192"/>
                      </a:lnTo>
                      <a:lnTo>
                        <a:pt x="984" y="180"/>
                      </a:lnTo>
                      <a:lnTo>
                        <a:pt x="996" y="138"/>
                      </a:lnTo>
                      <a:lnTo>
                        <a:pt x="1008" y="126"/>
                      </a:lnTo>
                      <a:lnTo>
                        <a:pt x="1014" y="114"/>
                      </a:lnTo>
                      <a:lnTo>
                        <a:pt x="1014" y="102"/>
                      </a:lnTo>
                      <a:lnTo>
                        <a:pt x="1008" y="102"/>
                      </a:lnTo>
                      <a:lnTo>
                        <a:pt x="1002" y="96"/>
                      </a:lnTo>
                      <a:lnTo>
                        <a:pt x="1002" y="66"/>
                      </a:lnTo>
                      <a:lnTo>
                        <a:pt x="996" y="66"/>
                      </a:lnTo>
                      <a:lnTo>
                        <a:pt x="984" y="72"/>
                      </a:lnTo>
                      <a:lnTo>
                        <a:pt x="978" y="72"/>
                      </a:lnTo>
                      <a:lnTo>
                        <a:pt x="972" y="66"/>
                      </a:lnTo>
                      <a:lnTo>
                        <a:pt x="972" y="60"/>
                      </a:lnTo>
                      <a:lnTo>
                        <a:pt x="978" y="54"/>
                      </a:lnTo>
                      <a:lnTo>
                        <a:pt x="984" y="42"/>
                      </a:lnTo>
                      <a:lnTo>
                        <a:pt x="984" y="24"/>
                      </a:lnTo>
                      <a:lnTo>
                        <a:pt x="978" y="12"/>
                      </a:lnTo>
                      <a:lnTo>
                        <a:pt x="966" y="0"/>
                      </a:lnTo>
                      <a:lnTo>
                        <a:pt x="960" y="12"/>
                      </a:lnTo>
                      <a:lnTo>
                        <a:pt x="936" y="6"/>
                      </a:lnTo>
                      <a:lnTo>
                        <a:pt x="936" y="42"/>
                      </a:lnTo>
                      <a:lnTo>
                        <a:pt x="930" y="48"/>
                      </a:lnTo>
                      <a:lnTo>
                        <a:pt x="918" y="48"/>
                      </a:lnTo>
                      <a:lnTo>
                        <a:pt x="918" y="60"/>
                      </a:lnTo>
                      <a:lnTo>
                        <a:pt x="894" y="60"/>
                      </a:lnTo>
                      <a:lnTo>
                        <a:pt x="882" y="66"/>
                      </a:lnTo>
                      <a:lnTo>
                        <a:pt x="858" y="90"/>
                      </a:lnTo>
                      <a:lnTo>
                        <a:pt x="846" y="96"/>
                      </a:lnTo>
                      <a:lnTo>
                        <a:pt x="828" y="96"/>
                      </a:lnTo>
                      <a:lnTo>
                        <a:pt x="822" y="90"/>
                      </a:lnTo>
                      <a:lnTo>
                        <a:pt x="804" y="90"/>
                      </a:lnTo>
                      <a:lnTo>
                        <a:pt x="798" y="96"/>
                      </a:lnTo>
                      <a:lnTo>
                        <a:pt x="798" y="108"/>
                      </a:lnTo>
                      <a:lnTo>
                        <a:pt x="792" y="120"/>
                      </a:lnTo>
                      <a:lnTo>
                        <a:pt x="792" y="138"/>
                      </a:lnTo>
                      <a:lnTo>
                        <a:pt x="786" y="144"/>
                      </a:lnTo>
                      <a:lnTo>
                        <a:pt x="774" y="138"/>
                      </a:lnTo>
                      <a:lnTo>
                        <a:pt x="762" y="126"/>
                      </a:lnTo>
                      <a:lnTo>
                        <a:pt x="756" y="114"/>
                      </a:lnTo>
                      <a:lnTo>
                        <a:pt x="750" y="108"/>
                      </a:lnTo>
                      <a:lnTo>
                        <a:pt x="738" y="108"/>
                      </a:lnTo>
                      <a:lnTo>
                        <a:pt x="732" y="114"/>
                      </a:lnTo>
                      <a:lnTo>
                        <a:pt x="720" y="108"/>
                      </a:lnTo>
                      <a:lnTo>
                        <a:pt x="708" y="114"/>
                      </a:lnTo>
                      <a:lnTo>
                        <a:pt x="696" y="114"/>
                      </a:lnTo>
                      <a:lnTo>
                        <a:pt x="696" y="96"/>
                      </a:lnTo>
                      <a:lnTo>
                        <a:pt x="690" y="90"/>
                      </a:lnTo>
                      <a:lnTo>
                        <a:pt x="648" y="90"/>
                      </a:lnTo>
                      <a:lnTo>
                        <a:pt x="648" y="84"/>
                      </a:lnTo>
                      <a:lnTo>
                        <a:pt x="642" y="78"/>
                      </a:lnTo>
                      <a:lnTo>
                        <a:pt x="642" y="108"/>
                      </a:lnTo>
                      <a:lnTo>
                        <a:pt x="660" y="126"/>
                      </a:lnTo>
                      <a:lnTo>
                        <a:pt x="672" y="132"/>
                      </a:lnTo>
                      <a:lnTo>
                        <a:pt x="678" y="138"/>
                      </a:lnTo>
                      <a:lnTo>
                        <a:pt x="678" y="168"/>
                      </a:lnTo>
                      <a:lnTo>
                        <a:pt x="672" y="174"/>
                      </a:lnTo>
                      <a:lnTo>
                        <a:pt x="684" y="186"/>
                      </a:lnTo>
                      <a:lnTo>
                        <a:pt x="690" y="198"/>
                      </a:lnTo>
                      <a:lnTo>
                        <a:pt x="690" y="228"/>
                      </a:lnTo>
                      <a:lnTo>
                        <a:pt x="738" y="234"/>
                      </a:lnTo>
                      <a:lnTo>
                        <a:pt x="744" y="240"/>
                      </a:lnTo>
                      <a:lnTo>
                        <a:pt x="744" y="246"/>
                      </a:lnTo>
                      <a:lnTo>
                        <a:pt x="738" y="258"/>
                      </a:lnTo>
                      <a:lnTo>
                        <a:pt x="732" y="264"/>
                      </a:lnTo>
                      <a:lnTo>
                        <a:pt x="690" y="264"/>
                      </a:lnTo>
                      <a:lnTo>
                        <a:pt x="690" y="294"/>
                      </a:lnTo>
                      <a:lnTo>
                        <a:pt x="684" y="306"/>
                      </a:lnTo>
                      <a:lnTo>
                        <a:pt x="648" y="324"/>
                      </a:lnTo>
                      <a:lnTo>
                        <a:pt x="642" y="330"/>
                      </a:lnTo>
                      <a:lnTo>
                        <a:pt x="624" y="330"/>
                      </a:lnTo>
                      <a:lnTo>
                        <a:pt x="612" y="342"/>
                      </a:lnTo>
                      <a:lnTo>
                        <a:pt x="600" y="366"/>
                      </a:lnTo>
                      <a:lnTo>
                        <a:pt x="588" y="378"/>
                      </a:lnTo>
                      <a:lnTo>
                        <a:pt x="582" y="378"/>
                      </a:lnTo>
                      <a:lnTo>
                        <a:pt x="582" y="354"/>
                      </a:lnTo>
                      <a:lnTo>
                        <a:pt x="576" y="348"/>
                      </a:lnTo>
                      <a:lnTo>
                        <a:pt x="570" y="354"/>
                      </a:lnTo>
                      <a:lnTo>
                        <a:pt x="558" y="360"/>
                      </a:lnTo>
                      <a:lnTo>
                        <a:pt x="552" y="366"/>
                      </a:lnTo>
                      <a:lnTo>
                        <a:pt x="540" y="372"/>
                      </a:lnTo>
                      <a:lnTo>
                        <a:pt x="534" y="372"/>
                      </a:lnTo>
                      <a:lnTo>
                        <a:pt x="522" y="366"/>
                      </a:lnTo>
                      <a:lnTo>
                        <a:pt x="516" y="366"/>
                      </a:lnTo>
                      <a:lnTo>
                        <a:pt x="504" y="354"/>
                      </a:lnTo>
                      <a:lnTo>
                        <a:pt x="504" y="348"/>
                      </a:lnTo>
                      <a:lnTo>
                        <a:pt x="498" y="336"/>
                      </a:lnTo>
                      <a:lnTo>
                        <a:pt x="492" y="330"/>
                      </a:lnTo>
                      <a:lnTo>
                        <a:pt x="468" y="330"/>
                      </a:lnTo>
                      <a:lnTo>
                        <a:pt x="468" y="300"/>
                      </a:lnTo>
                      <a:lnTo>
                        <a:pt x="462" y="288"/>
                      </a:lnTo>
                      <a:lnTo>
                        <a:pt x="462" y="276"/>
                      </a:lnTo>
                      <a:lnTo>
                        <a:pt x="456" y="270"/>
                      </a:lnTo>
                      <a:lnTo>
                        <a:pt x="456" y="258"/>
                      </a:lnTo>
                      <a:lnTo>
                        <a:pt x="450" y="258"/>
                      </a:lnTo>
                      <a:lnTo>
                        <a:pt x="420" y="288"/>
                      </a:lnTo>
                      <a:lnTo>
                        <a:pt x="396" y="264"/>
                      </a:lnTo>
                      <a:lnTo>
                        <a:pt x="390" y="264"/>
                      </a:lnTo>
                      <a:lnTo>
                        <a:pt x="384" y="270"/>
                      </a:lnTo>
                      <a:lnTo>
                        <a:pt x="384" y="288"/>
                      </a:lnTo>
                      <a:lnTo>
                        <a:pt x="318" y="294"/>
                      </a:lnTo>
                      <a:lnTo>
                        <a:pt x="306" y="282"/>
                      </a:lnTo>
                      <a:lnTo>
                        <a:pt x="288" y="282"/>
                      </a:lnTo>
                      <a:lnTo>
                        <a:pt x="282" y="288"/>
                      </a:lnTo>
                      <a:lnTo>
                        <a:pt x="276" y="300"/>
                      </a:lnTo>
                      <a:lnTo>
                        <a:pt x="276" y="312"/>
                      </a:lnTo>
                      <a:lnTo>
                        <a:pt x="282" y="324"/>
                      </a:lnTo>
                      <a:lnTo>
                        <a:pt x="282" y="336"/>
                      </a:lnTo>
                      <a:lnTo>
                        <a:pt x="306" y="348"/>
                      </a:lnTo>
                      <a:lnTo>
                        <a:pt x="318" y="342"/>
                      </a:lnTo>
                      <a:lnTo>
                        <a:pt x="330" y="354"/>
                      </a:lnTo>
                      <a:lnTo>
                        <a:pt x="330" y="360"/>
                      </a:lnTo>
                      <a:lnTo>
                        <a:pt x="336" y="366"/>
                      </a:lnTo>
                      <a:lnTo>
                        <a:pt x="336" y="372"/>
                      </a:lnTo>
                      <a:lnTo>
                        <a:pt x="330" y="378"/>
                      </a:lnTo>
                      <a:lnTo>
                        <a:pt x="300" y="378"/>
                      </a:lnTo>
                      <a:lnTo>
                        <a:pt x="294" y="372"/>
                      </a:lnTo>
                      <a:lnTo>
                        <a:pt x="264" y="378"/>
                      </a:lnTo>
                      <a:lnTo>
                        <a:pt x="258" y="444"/>
                      </a:lnTo>
                      <a:lnTo>
                        <a:pt x="264" y="444"/>
                      </a:lnTo>
                      <a:lnTo>
                        <a:pt x="276" y="456"/>
                      </a:lnTo>
                      <a:lnTo>
                        <a:pt x="288" y="462"/>
                      </a:lnTo>
                      <a:lnTo>
                        <a:pt x="294" y="468"/>
                      </a:lnTo>
                      <a:lnTo>
                        <a:pt x="294" y="492"/>
                      </a:lnTo>
                      <a:lnTo>
                        <a:pt x="300" y="498"/>
                      </a:lnTo>
                      <a:lnTo>
                        <a:pt x="300" y="504"/>
                      </a:lnTo>
                      <a:lnTo>
                        <a:pt x="312" y="516"/>
                      </a:lnTo>
                      <a:lnTo>
                        <a:pt x="318" y="528"/>
                      </a:lnTo>
                      <a:lnTo>
                        <a:pt x="318" y="540"/>
                      </a:lnTo>
                      <a:lnTo>
                        <a:pt x="312" y="552"/>
                      </a:lnTo>
                      <a:lnTo>
                        <a:pt x="300" y="564"/>
                      </a:lnTo>
                      <a:lnTo>
                        <a:pt x="306" y="612"/>
                      </a:lnTo>
                      <a:lnTo>
                        <a:pt x="288" y="660"/>
                      </a:lnTo>
                      <a:lnTo>
                        <a:pt x="282" y="732"/>
                      </a:lnTo>
                      <a:lnTo>
                        <a:pt x="282" y="762"/>
                      </a:lnTo>
                      <a:lnTo>
                        <a:pt x="276" y="774"/>
                      </a:lnTo>
                      <a:lnTo>
                        <a:pt x="270" y="780"/>
                      </a:lnTo>
                      <a:lnTo>
                        <a:pt x="252" y="780"/>
                      </a:lnTo>
                      <a:lnTo>
                        <a:pt x="252" y="774"/>
                      </a:lnTo>
                      <a:lnTo>
                        <a:pt x="240" y="762"/>
                      </a:lnTo>
                      <a:lnTo>
                        <a:pt x="222" y="762"/>
                      </a:lnTo>
                      <a:lnTo>
                        <a:pt x="216" y="768"/>
                      </a:lnTo>
                      <a:lnTo>
                        <a:pt x="210" y="780"/>
                      </a:lnTo>
                      <a:lnTo>
                        <a:pt x="204" y="786"/>
                      </a:lnTo>
                      <a:lnTo>
                        <a:pt x="174" y="780"/>
                      </a:lnTo>
                      <a:lnTo>
                        <a:pt x="168" y="792"/>
                      </a:lnTo>
                      <a:lnTo>
                        <a:pt x="138" y="792"/>
                      </a:lnTo>
                      <a:lnTo>
                        <a:pt x="126" y="798"/>
                      </a:lnTo>
                      <a:lnTo>
                        <a:pt x="120" y="804"/>
                      </a:lnTo>
                      <a:lnTo>
                        <a:pt x="108" y="810"/>
                      </a:lnTo>
                      <a:lnTo>
                        <a:pt x="96" y="822"/>
                      </a:lnTo>
                      <a:lnTo>
                        <a:pt x="96" y="828"/>
                      </a:lnTo>
                      <a:lnTo>
                        <a:pt x="90" y="834"/>
                      </a:lnTo>
                      <a:lnTo>
                        <a:pt x="90" y="840"/>
                      </a:lnTo>
                      <a:lnTo>
                        <a:pt x="66" y="840"/>
                      </a:lnTo>
                      <a:lnTo>
                        <a:pt x="66" y="894"/>
                      </a:lnTo>
                      <a:lnTo>
                        <a:pt x="48" y="912"/>
                      </a:lnTo>
                      <a:lnTo>
                        <a:pt x="48" y="924"/>
                      </a:lnTo>
                      <a:lnTo>
                        <a:pt x="54" y="930"/>
                      </a:lnTo>
                      <a:lnTo>
                        <a:pt x="54" y="948"/>
                      </a:lnTo>
                      <a:lnTo>
                        <a:pt x="60" y="954"/>
                      </a:lnTo>
                      <a:lnTo>
                        <a:pt x="54" y="954"/>
                      </a:lnTo>
                      <a:lnTo>
                        <a:pt x="48" y="948"/>
                      </a:lnTo>
                      <a:lnTo>
                        <a:pt x="18" y="978"/>
                      </a:lnTo>
                      <a:lnTo>
                        <a:pt x="12" y="990"/>
                      </a:lnTo>
                      <a:lnTo>
                        <a:pt x="12" y="1014"/>
                      </a:lnTo>
                      <a:lnTo>
                        <a:pt x="18" y="1020"/>
                      </a:lnTo>
                      <a:lnTo>
                        <a:pt x="6" y="1026"/>
                      </a:lnTo>
                      <a:lnTo>
                        <a:pt x="0" y="1032"/>
                      </a:lnTo>
                      <a:lnTo>
                        <a:pt x="0" y="1044"/>
                      </a:lnTo>
                      <a:lnTo>
                        <a:pt x="6" y="1050"/>
                      </a:lnTo>
                      <a:lnTo>
                        <a:pt x="18" y="1056"/>
                      </a:lnTo>
                      <a:lnTo>
                        <a:pt x="24" y="1080"/>
                      </a:lnTo>
                      <a:lnTo>
                        <a:pt x="24" y="1086"/>
                      </a:lnTo>
                      <a:lnTo>
                        <a:pt x="30" y="1092"/>
                      </a:lnTo>
                      <a:lnTo>
                        <a:pt x="42" y="1116"/>
                      </a:lnTo>
                      <a:lnTo>
                        <a:pt x="54" y="1128"/>
                      </a:lnTo>
                      <a:lnTo>
                        <a:pt x="66" y="1134"/>
                      </a:lnTo>
                      <a:lnTo>
                        <a:pt x="90" y="1158"/>
                      </a:lnTo>
                      <a:lnTo>
                        <a:pt x="84" y="1164"/>
                      </a:lnTo>
                      <a:lnTo>
                        <a:pt x="78" y="1176"/>
                      </a:lnTo>
                      <a:lnTo>
                        <a:pt x="66" y="1182"/>
                      </a:lnTo>
                      <a:lnTo>
                        <a:pt x="60" y="1188"/>
                      </a:lnTo>
                      <a:lnTo>
                        <a:pt x="102" y="1188"/>
                      </a:lnTo>
                      <a:lnTo>
                        <a:pt x="114" y="1194"/>
                      </a:lnTo>
                      <a:lnTo>
                        <a:pt x="120" y="1194"/>
                      </a:lnTo>
                      <a:lnTo>
                        <a:pt x="126" y="1200"/>
                      </a:lnTo>
                      <a:lnTo>
                        <a:pt x="126" y="1212"/>
                      </a:lnTo>
                      <a:lnTo>
                        <a:pt x="132" y="1224"/>
                      </a:lnTo>
                      <a:lnTo>
                        <a:pt x="138" y="1230"/>
                      </a:lnTo>
                      <a:lnTo>
                        <a:pt x="138" y="1236"/>
                      </a:lnTo>
                      <a:lnTo>
                        <a:pt x="198" y="1230"/>
                      </a:lnTo>
                      <a:lnTo>
                        <a:pt x="252" y="1182"/>
                      </a:lnTo>
                      <a:lnTo>
                        <a:pt x="252" y="1194"/>
                      </a:lnTo>
                      <a:lnTo>
                        <a:pt x="258" y="1206"/>
                      </a:lnTo>
                      <a:lnTo>
                        <a:pt x="258" y="1224"/>
                      </a:lnTo>
                      <a:lnTo>
                        <a:pt x="252" y="1230"/>
                      </a:lnTo>
                      <a:lnTo>
                        <a:pt x="252" y="1242"/>
                      </a:lnTo>
                      <a:lnTo>
                        <a:pt x="246" y="1254"/>
                      </a:lnTo>
                      <a:lnTo>
                        <a:pt x="246" y="1266"/>
                      </a:lnTo>
                      <a:lnTo>
                        <a:pt x="252" y="1284"/>
                      </a:lnTo>
                      <a:lnTo>
                        <a:pt x="252" y="1314"/>
                      </a:lnTo>
                      <a:lnTo>
                        <a:pt x="264" y="1308"/>
                      </a:lnTo>
                      <a:lnTo>
                        <a:pt x="264" y="1314"/>
                      </a:lnTo>
                      <a:lnTo>
                        <a:pt x="270" y="1320"/>
                      </a:lnTo>
                      <a:lnTo>
                        <a:pt x="282" y="1320"/>
                      </a:lnTo>
                      <a:lnTo>
                        <a:pt x="282" y="1314"/>
                      </a:lnTo>
                      <a:lnTo>
                        <a:pt x="288" y="1314"/>
                      </a:lnTo>
                      <a:lnTo>
                        <a:pt x="294" y="1308"/>
                      </a:lnTo>
                      <a:lnTo>
                        <a:pt x="324" y="1308"/>
                      </a:lnTo>
                      <a:lnTo>
                        <a:pt x="336" y="1314"/>
                      </a:lnTo>
                      <a:lnTo>
                        <a:pt x="366" y="1314"/>
                      </a:lnTo>
                      <a:lnTo>
                        <a:pt x="372" y="1320"/>
                      </a:lnTo>
                      <a:lnTo>
                        <a:pt x="372" y="1326"/>
                      </a:lnTo>
                      <a:lnTo>
                        <a:pt x="390" y="1326"/>
                      </a:lnTo>
                      <a:lnTo>
                        <a:pt x="414" y="1314"/>
                      </a:lnTo>
                      <a:lnTo>
                        <a:pt x="420" y="1308"/>
                      </a:lnTo>
                      <a:lnTo>
                        <a:pt x="432" y="1290"/>
                      </a:lnTo>
                      <a:lnTo>
                        <a:pt x="468" y="1290"/>
                      </a:lnTo>
                      <a:lnTo>
                        <a:pt x="474" y="1260"/>
                      </a:lnTo>
                      <a:lnTo>
                        <a:pt x="510" y="1260"/>
                      </a:lnTo>
                      <a:lnTo>
                        <a:pt x="510" y="1254"/>
                      </a:lnTo>
                      <a:lnTo>
                        <a:pt x="516" y="1248"/>
                      </a:lnTo>
                      <a:lnTo>
                        <a:pt x="522" y="1236"/>
                      </a:lnTo>
                      <a:lnTo>
                        <a:pt x="528" y="1230"/>
                      </a:lnTo>
                      <a:lnTo>
                        <a:pt x="540" y="1224"/>
                      </a:lnTo>
                      <a:lnTo>
                        <a:pt x="576" y="1224"/>
                      </a:lnTo>
                      <a:lnTo>
                        <a:pt x="588" y="1212"/>
                      </a:lnTo>
                      <a:lnTo>
                        <a:pt x="600" y="1224"/>
                      </a:lnTo>
                      <a:lnTo>
                        <a:pt x="606" y="1224"/>
                      </a:lnTo>
                      <a:lnTo>
                        <a:pt x="606" y="1218"/>
                      </a:lnTo>
                      <a:lnTo>
                        <a:pt x="618" y="1212"/>
                      </a:lnTo>
                      <a:lnTo>
                        <a:pt x="630" y="1212"/>
                      </a:lnTo>
                      <a:lnTo>
                        <a:pt x="630" y="1242"/>
                      </a:lnTo>
                      <a:lnTo>
                        <a:pt x="624" y="1248"/>
                      </a:lnTo>
                      <a:lnTo>
                        <a:pt x="624" y="1254"/>
                      </a:lnTo>
                      <a:lnTo>
                        <a:pt x="618" y="1260"/>
                      </a:lnTo>
                      <a:lnTo>
                        <a:pt x="618" y="1290"/>
                      </a:lnTo>
                      <a:lnTo>
                        <a:pt x="624" y="1296"/>
                      </a:lnTo>
                      <a:lnTo>
                        <a:pt x="630" y="1308"/>
                      </a:lnTo>
                      <a:lnTo>
                        <a:pt x="630" y="1326"/>
                      </a:lnTo>
                      <a:lnTo>
                        <a:pt x="624" y="1332"/>
                      </a:lnTo>
                      <a:lnTo>
                        <a:pt x="624" y="1344"/>
                      </a:lnTo>
                      <a:lnTo>
                        <a:pt x="636" y="1356"/>
                      </a:lnTo>
                      <a:lnTo>
                        <a:pt x="648" y="1362"/>
                      </a:lnTo>
                      <a:lnTo>
                        <a:pt x="654" y="1368"/>
                      </a:lnTo>
                      <a:lnTo>
                        <a:pt x="660" y="1398"/>
                      </a:lnTo>
                      <a:lnTo>
                        <a:pt x="684" y="1398"/>
                      </a:lnTo>
                      <a:lnTo>
                        <a:pt x="690" y="1404"/>
                      </a:lnTo>
                      <a:lnTo>
                        <a:pt x="690" y="1410"/>
                      </a:lnTo>
                      <a:lnTo>
                        <a:pt x="696" y="1422"/>
                      </a:lnTo>
                      <a:lnTo>
                        <a:pt x="696" y="1428"/>
                      </a:lnTo>
                      <a:lnTo>
                        <a:pt x="702" y="1434"/>
                      </a:lnTo>
                      <a:lnTo>
                        <a:pt x="714" y="1440"/>
                      </a:lnTo>
                      <a:lnTo>
                        <a:pt x="744" y="1440"/>
                      </a:lnTo>
                      <a:lnTo>
                        <a:pt x="750" y="1434"/>
                      </a:lnTo>
                      <a:lnTo>
                        <a:pt x="756" y="1446"/>
                      </a:lnTo>
                      <a:lnTo>
                        <a:pt x="768" y="1452"/>
                      </a:lnTo>
                      <a:lnTo>
                        <a:pt x="780" y="1452"/>
                      </a:lnTo>
                      <a:lnTo>
                        <a:pt x="786" y="1446"/>
                      </a:lnTo>
                      <a:lnTo>
                        <a:pt x="798" y="1446"/>
                      </a:lnTo>
                      <a:lnTo>
                        <a:pt x="798" y="1452"/>
                      </a:lnTo>
                      <a:lnTo>
                        <a:pt x="804" y="1464"/>
                      </a:lnTo>
                      <a:lnTo>
                        <a:pt x="816" y="1470"/>
                      </a:lnTo>
                      <a:lnTo>
                        <a:pt x="828" y="1482"/>
                      </a:lnTo>
                      <a:lnTo>
                        <a:pt x="840" y="1488"/>
                      </a:lnTo>
                      <a:lnTo>
                        <a:pt x="864" y="1488"/>
                      </a:lnTo>
                      <a:lnTo>
                        <a:pt x="864" y="1494"/>
                      </a:lnTo>
                      <a:lnTo>
                        <a:pt x="876" y="1506"/>
                      </a:lnTo>
                      <a:lnTo>
                        <a:pt x="888" y="1512"/>
                      </a:lnTo>
                      <a:lnTo>
                        <a:pt x="894" y="1518"/>
                      </a:lnTo>
                      <a:lnTo>
                        <a:pt x="954" y="1518"/>
                      </a:lnTo>
                      <a:lnTo>
                        <a:pt x="978" y="1530"/>
                      </a:lnTo>
                      <a:lnTo>
                        <a:pt x="984" y="1542"/>
                      </a:lnTo>
                      <a:lnTo>
                        <a:pt x="990" y="1548"/>
                      </a:lnTo>
                      <a:lnTo>
                        <a:pt x="990" y="1578"/>
                      </a:lnTo>
                      <a:lnTo>
                        <a:pt x="996" y="1590"/>
                      </a:lnTo>
                      <a:lnTo>
                        <a:pt x="1002" y="1596"/>
                      </a:lnTo>
                      <a:lnTo>
                        <a:pt x="1008" y="1608"/>
                      </a:lnTo>
                      <a:lnTo>
                        <a:pt x="1008" y="1638"/>
                      </a:lnTo>
                      <a:lnTo>
                        <a:pt x="990" y="1638"/>
                      </a:lnTo>
                      <a:lnTo>
                        <a:pt x="990" y="1644"/>
                      </a:lnTo>
                      <a:lnTo>
                        <a:pt x="996" y="1650"/>
                      </a:lnTo>
                      <a:lnTo>
                        <a:pt x="1002" y="1662"/>
                      </a:lnTo>
                      <a:lnTo>
                        <a:pt x="1014" y="1668"/>
                      </a:lnTo>
                      <a:lnTo>
                        <a:pt x="1020" y="1674"/>
                      </a:lnTo>
                      <a:lnTo>
                        <a:pt x="1014" y="1686"/>
                      </a:lnTo>
                      <a:lnTo>
                        <a:pt x="1014" y="1728"/>
                      </a:lnTo>
                      <a:lnTo>
                        <a:pt x="1020" y="1734"/>
                      </a:lnTo>
                      <a:lnTo>
                        <a:pt x="1050" y="1740"/>
                      </a:lnTo>
                      <a:lnTo>
                        <a:pt x="1098" y="1746"/>
                      </a:lnTo>
                      <a:lnTo>
                        <a:pt x="1158" y="1746"/>
                      </a:lnTo>
                      <a:lnTo>
                        <a:pt x="1158" y="1752"/>
                      </a:lnTo>
                      <a:lnTo>
                        <a:pt x="1152" y="1758"/>
                      </a:lnTo>
                      <a:lnTo>
                        <a:pt x="1152" y="1770"/>
                      </a:lnTo>
                      <a:lnTo>
                        <a:pt x="1146" y="1788"/>
                      </a:lnTo>
                      <a:lnTo>
                        <a:pt x="1146" y="1800"/>
                      </a:lnTo>
                      <a:lnTo>
                        <a:pt x="1152" y="1812"/>
                      </a:lnTo>
                      <a:lnTo>
                        <a:pt x="1164" y="1818"/>
                      </a:lnTo>
                      <a:lnTo>
                        <a:pt x="1170" y="1824"/>
                      </a:lnTo>
                      <a:lnTo>
                        <a:pt x="1194" y="1836"/>
                      </a:lnTo>
                      <a:lnTo>
                        <a:pt x="1206" y="1848"/>
                      </a:lnTo>
                      <a:lnTo>
                        <a:pt x="1212" y="1860"/>
                      </a:lnTo>
                      <a:lnTo>
                        <a:pt x="1224" y="1896"/>
                      </a:lnTo>
                      <a:lnTo>
                        <a:pt x="1224" y="1908"/>
                      </a:lnTo>
                      <a:lnTo>
                        <a:pt x="1218" y="1920"/>
                      </a:lnTo>
                      <a:lnTo>
                        <a:pt x="1218" y="1944"/>
                      </a:lnTo>
                      <a:lnTo>
                        <a:pt x="1212" y="1950"/>
                      </a:lnTo>
                      <a:lnTo>
                        <a:pt x="1212" y="1956"/>
                      </a:lnTo>
                      <a:lnTo>
                        <a:pt x="1218" y="1968"/>
                      </a:lnTo>
                      <a:lnTo>
                        <a:pt x="1212" y="1980"/>
                      </a:lnTo>
                      <a:lnTo>
                        <a:pt x="1206" y="1986"/>
                      </a:lnTo>
                      <a:lnTo>
                        <a:pt x="1200" y="1998"/>
                      </a:lnTo>
                      <a:lnTo>
                        <a:pt x="1200" y="2022"/>
                      </a:lnTo>
                      <a:lnTo>
                        <a:pt x="1206" y="2028"/>
                      </a:lnTo>
                      <a:lnTo>
                        <a:pt x="1218" y="2034"/>
                      </a:lnTo>
                      <a:lnTo>
                        <a:pt x="1212" y="2040"/>
                      </a:lnTo>
                      <a:lnTo>
                        <a:pt x="1200" y="2046"/>
                      </a:lnTo>
                      <a:lnTo>
                        <a:pt x="1194" y="2052"/>
                      </a:lnTo>
                      <a:lnTo>
                        <a:pt x="1194" y="2064"/>
                      </a:lnTo>
                      <a:lnTo>
                        <a:pt x="1200" y="2070"/>
                      </a:lnTo>
                      <a:lnTo>
                        <a:pt x="1212" y="2076"/>
                      </a:lnTo>
                      <a:lnTo>
                        <a:pt x="1212" y="2112"/>
                      </a:lnTo>
                      <a:lnTo>
                        <a:pt x="1224" y="2112"/>
                      </a:lnTo>
                      <a:lnTo>
                        <a:pt x="1224" y="2130"/>
                      </a:lnTo>
                      <a:lnTo>
                        <a:pt x="1218" y="2142"/>
                      </a:lnTo>
                      <a:lnTo>
                        <a:pt x="1218" y="2184"/>
                      </a:lnTo>
                      <a:lnTo>
                        <a:pt x="1224" y="2196"/>
                      </a:lnTo>
                      <a:lnTo>
                        <a:pt x="1230" y="2202"/>
                      </a:lnTo>
                      <a:lnTo>
                        <a:pt x="1266" y="2214"/>
                      </a:lnTo>
                      <a:lnTo>
                        <a:pt x="1308" y="2220"/>
                      </a:lnTo>
                      <a:lnTo>
                        <a:pt x="1380" y="2220"/>
                      </a:lnTo>
                      <a:lnTo>
                        <a:pt x="1392" y="2226"/>
                      </a:lnTo>
                      <a:lnTo>
                        <a:pt x="1398" y="2232"/>
                      </a:lnTo>
                      <a:lnTo>
                        <a:pt x="1398" y="2256"/>
                      </a:lnTo>
                      <a:lnTo>
                        <a:pt x="1404" y="2274"/>
                      </a:lnTo>
                      <a:lnTo>
                        <a:pt x="1404" y="2298"/>
                      </a:lnTo>
                      <a:lnTo>
                        <a:pt x="1410" y="2316"/>
                      </a:lnTo>
                      <a:lnTo>
                        <a:pt x="1410" y="2334"/>
                      </a:lnTo>
                      <a:lnTo>
                        <a:pt x="1422" y="2358"/>
                      </a:lnTo>
                      <a:lnTo>
                        <a:pt x="1434" y="2364"/>
                      </a:lnTo>
                      <a:lnTo>
                        <a:pt x="1446" y="2364"/>
                      </a:lnTo>
                      <a:lnTo>
                        <a:pt x="1464" y="2346"/>
                      </a:lnTo>
                      <a:lnTo>
                        <a:pt x="1476" y="2346"/>
                      </a:lnTo>
                      <a:lnTo>
                        <a:pt x="1488" y="2352"/>
                      </a:lnTo>
                      <a:lnTo>
                        <a:pt x="1500" y="2364"/>
                      </a:lnTo>
                      <a:lnTo>
                        <a:pt x="1506" y="2376"/>
                      </a:lnTo>
                      <a:lnTo>
                        <a:pt x="1506" y="2394"/>
                      </a:lnTo>
                      <a:lnTo>
                        <a:pt x="1500" y="2412"/>
                      </a:lnTo>
                      <a:lnTo>
                        <a:pt x="1500" y="2442"/>
                      </a:lnTo>
                      <a:lnTo>
                        <a:pt x="1494" y="2448"/>
                      </a:lnTo>
                      <a:lnTo>
                        <a:pt x="1494" y="2454"/>
                      </a:lnTo>
                      <a:lnTo>
                        <a:pt x="1488" y="2466"/>
                      </a:lnTo>
                      <a:lnTo>
                        <a:pt x="1488" y="2478"/>
                      </a:lnTo>
                      <a:lnTo>
                        <a:pt x="1494" y="2496"/>
                      </a:lnTo>
                      <a:lnTo>
                        <a:pt x="1506" y="2490"/>
                      </a:lnTo>
                      <a:lnTo>
                        <a:pt x="1512" y="2484"/>
                      </a:lnTo>
                      <a:lnTo>
                        <a:pt x="1530" y="2484"/>
                      </a:lnTo>
                      <a:lnTo>
                        <a:pt x="1536" y="2490"/>
                      </a:lnTo>
                      <a:lnTo>
                        <a:pt x="1548" y="2514"/>
                      </a:lnTo>
                      <a:lnTo>
                        <a:pt x="1548" y="2526"/>
                      </a:lnTo>
                      <a:lnTo>
                        <a:pt x="1554" y="2526"/>
                      </a:lnTo>
                      <a:lnTo>
                        <a:pt x="1560" y="2532"/>
                      </a:lnTo>
                      <a:lnTo>
                        <a:pt x="1560" y="2562"/>
                      </a:lnTo>
                      <a:lnTo>
                        <a:pt x="1566" y="2580"/>
                      </a:lnTo>
                      <a:lnTo>
                        <a:pt x="1566" y="2616"/>
                      </a:lnTo>
                      <a:lnTo>
                        <a:pt x="1512" y="2634"/>
                      </a:lnTo>
                      <a:lnTo>
                        <a:pt x="1506" y="2640"/>
                      </a:lnTo>
                      <a:lnTo>
                        <a:pt x="1500" y="2652"/>
                      </a:lnTo>
                      <a:lnTo>
                        <a:pt x="1500" y="2670"/>
                      </a:lnTo>
                      <a:lnTo>
                        <a:pt x="1464" y="2670"/>
                      </a:lnTo>
                      <a:lnTo>
                        <a:pt x="1464" y="2688"/>
                      </a:lnTo>
                      <a:lnTo>
                        <a:pt x="1458" y="2694"/>
                      </a:lnTo>
                      <a:lnTo>
                        <a:pt x="1452" y="2718"/>
                      </a:lnTo>
                      <a:lnTo>
                        <a:pt x="1428" y="2724"/>
                      </a:lnTo>
                      <a:lnTo>
                        <a:pt x="1428" y="2736"/>
                      </a:lnTo>
                      <a:lnTo>
                        <a:pt x="1422" y="2748"/>
                      </a:lnTo>
                      <a:lnTo>
                        <a:pt x="1422" y="2760"/>
                      </a:lnTo>
                      <a:lnTo>
                        <a:pt x="1404" y="2778"/>
                      </a:lnTo>
                      <a:lnTo>
                        <a:pt x="1392" y="2778"/>
                      </a:lnTo>
                      <a:lnTo>
                        <a:pt x="1392" y="2802"/>
                      </a:lnTo>
                      <a:lnTo>
                        <a:pt x="1386" y="2808"/>
                      </a:lnTo>
                      <a:lnTo>
                        <a:pt x="1380" y="2820"/>
                      </a:lnTo>
                      <a:lnTo>
                        <a:pt x="1374" y="2826"/>
                      </a:lnTo>
                      <a:lnTo>
                        <a:pt x="1356" y="2826"/>
                      </a:lnTo>
                      <a:lnTo>
                        <a:pt x="1350" y="2832"/>
                      </a:lnTo>
                      <a:lnTo>
                        <a:pt x="1350" y="2844"/>
                      </a:lnTo>
                      <a:lnTo>
                        <a:pt x="1344" y="2856"/>
                      </a:lnTo>
                      <a:lnTo>
                        <a:pt x="1344" y="2868"/>
                      </a:lnTo>
                      <a:lnTo>
                        <a:pt x="1368" y="2868"/>
                      </a:lnTo>
                      <a:lnTo>
                        <a:pt x="1374" y="2862"/>
                      </a:lnTo>
                      <a:lnTo>
                        <a:pt x="1386" y="2856"/>
                      </a:lnTo>
                      <a:lnTo>
                        <a:pt x="1398" y="2856"/>
                      </a:lnTo>
                      <a:lnTo>
                        <a:pt x="1404" y="2862"/>
                      </a:lnTo>
                      <a:lnTo>
                        <a:pt x="1428" y="2874"/>
                      </a:lnTo>
                      <a:lnTo>
                        <a:pt x="1434" y="2886"/>
                      </a:lnTo>
                      <a:lnTo>
                        <a:pt x="1446" y="2892"/>
                      </a:lnTo>
                      <a:lnTo>
                        <a:pt x="1452" y="2898"/>
                      </a:lnTo>
                      <a:lnTo>
                        <a:pt x="1458" y="2910"/>
                      </a:lnTo>
                      <a:lnTo>
                        <a:pt x="1470" y="2922"/>
                      </a:lnTo>
                      <a:lnTo>
                        <a:pt x="1470" y="2934"/>
                      </a:lnTo>
                      <a:lnTo>
                        <a:pt x="1482" y="2934"/>
                      </a:lnTo>
                      <a:lnTo>
                        <a:pt x="1482" y="2928"/>
                      </a:lnTo>
                      <a:lnTo>
                        <a:pt x="1494" y="2916"/>
                      </a:lnTo>
                      <a:lnTo>
                        <a:pt x="1500" y="2916"/>
                      </a:lnTo>
                      <a:lnTo>
                        <a:pt x="1512" y="2922"/>
                      </a:lnTo>
                      <a:lnTo>
                        <a:pt x="1518" y="2934"/>
                      </a:lnTo>
                      <a:lnTo>
                        <a:pt x="1536" y="2952"/>
                      </a:lnTo>
                      <a:lnTo>
                        <a:pt x="1554" y="2952"/>
                      </a:lnTo>
                      <a:lnTo>
                        <a:pt x="1572" y="2970"/>
                      </a:lnTo>
                      <a:lnTo>
                        <a:pt x="1578" y="2970"/>
                      </a:lnTo>
                      <a:lnTo>
                        <a:pt x="1578" y="2982"/>
                      </a:lnTo>
                      <a:lnTo>
                        <a:pt x="1584" y="2988"/>
                      </a:lnTo>
                      <a:lnTo>
                        <a:pt x="1596" y="2994"/>
                      </a:lnTo>
                      <a:lnTo>
                        <a:pt x="1614" y="3000"/>
                      </a:lnTo>
                      <a:lnTo>
                        <a:pt x="1626" y="3000"/>
                      </a:lnTo>
                      <a:lnTo>
                        <a:pt x="1632" y="3012"/>
                      </a:lnTo>
                      <a:lnTo>
                        <a:pt x="1638" y="3018"/>
                      </a:lnTo>
                      <a:lnTo>
                        <a:pt x="1644" y="3030"/>
                      </a:lnTo>
                      <a:lnTo>
                        <a:pt x="1662" y="3048"/>
                      </a:lnTo>
                      <a:lnTo>
                        <a:pt x="1668" y="3048"/>
                      </a:lnTo>
                      <a:lnTo>
                        <a:pt x="1680" y="3054"/>
                      </a:lnTo>
                      <a:lnTo>
                        <a:pt x="1686" y="3054"/>
                      </a:lnTo>
                      <a:lnTo>
                        <a:pt x="1686" y="3066"/>
                      </a:lnTo>
                      <a:lnTo>
                        <a:pt x="1674" y="3090"/>
                      </a:lnTo>
                      <a:lnTo>
                        <a:pt x="1668" y="3096"/>
                      </a:lnTo>
                      <a:lnTo>
                        <a:pt x="1668" y="3120"/>
                      </a:lnTo>
                      <a:lnTo>
                        <a:pt x="1674" y="3120"/>
                      </a:lnTo>
                      <a:lnTo>
                        <a:pt x="1674" y="3150"/>
                      </a:lnTo>
                      <a:lnTo>
                        <a:pt x="1692" y="3150"/>
                      </a:lnTo>
                      <a:lnTo>
                        <a:pt x="1692" y="3144"/>
                      </a:lnTo>
                      <a:lnTo>
                        <a:pt x="1698" y="3132"/>
                      </a:lnTo>
                      <a:lnTo>
                        <a:pt x="1710" y="3126"/>
                      </a:lnTo>
                      <a:lnTo>
                        <a:pt x="1716" y="3114"/>
                      </a:lnTo>
                      <a:lnTo>
                        <a:pt x="1728" y="3102"/>
                      </a:lnTo>
                      <a:lnTo>
                        <a:pt x="1734" y="3090"/>
                      </a:lnTo>
                      <a:lnTo>
                        <a:pt x="1734" y="3060"/>
                      </a:lnTo>
                      <a:lnTo>
                        <a:pt x="1728" y="3054"/>
                      </a:lnTo>
                      <a:lnTo>
                        <a:pt x="1728" y="3048"/>
                      </a:lnTo>
                      <a:lnTo>
                        <a:pt x="1746" y="3018"/>
                      </a:lnTo>
                      <a:lnTo>
                        <a:pt x="1734" y="3012"/>
                      </a:lnTo>
                      <a:lnTo>
                        <a:pt x="1728" y="3000"/>
                      </a:lnTo>
                      <a:lnTo>
                        <a:pt x="1728" y="2988"/>
                      </a:lnTo>
                      <a:lnTo>
                        <a:pt x="1740" y="2976"/>
                      </a:lnTo>
                      <a:lnTo>
                        <a:pt x="1746" y="2976"/>
                      </a:lnTo>
                      <a:lnTo>
                        <a:pt x="1746" y="2952"/>
                      </a:lnTo>
                      <a:lnTo>
                        <a:pt x="1764" y="2952"/>
                      </a:lnTo>
                      <a:lnTo>
                        <a:pt x="1776" y="2940"/>
                      </a:lnTo>
                      <a:lnTo>
                        <a:pt x="1776" y="2904"/>
                      </a:lnTo>
                      <a:lnTo>
                        <a:pt x="1782" y="2898"/>
                      </a:lnTo>
                      <a:lnTo>
                        <a:pt x="1788" y="2886"/>
                      </a:lnTo>
                      <a:lnTo>
                        <a:pt x="1800" y="2874"/>
                      </a:lnTo>
                      <a:lnTo>
                        <a:pt x="1812" y="2868"/>
                      </a:lnTo>
                      <a:lnTo>
                        <a:pt x="1818" y="2862"/>
                      </a:lnTo>
                      <a:lnTo>
                        <a:pt x="1824" y="2862"/>
                      </a:lnTo>
                      <a:lnTo>
                        <a:pt x="1824" y="2898"/>
                      </a:lnTo>
                      <a:lnTo>
                        <a:pt x="1818" y="2904"/>
                      </a:lnTo>
                      <a:lnTo>
                        <a:pt x="1818" y="2910"/>
                      </a:lnTo>
                      <a:lnTo>
                        <a:pt x="1812" y="2916"/>
                      </a:lnTo>
                      <a:lnTo>
                        <a:pt x="1812" y="2934"/>
                      </a:lnTo>
                      <a:lnTo>
                        <a:pt x="1800" y="2940"/>
                      </a:lnTo>
                      <a:lnTo>
                        <a:pt x="1800" y="2952"/>
                      </a:lnTo>
                      <a:lnTo>
                        <a:pt x="1776" y="2982"/>
                      </a:lnTo>
                      <a:lnTo>
                        <a:pt x="1746" y="3006"/>
                      </a:lnTo>
                      <a:lnTo>
                        <a:pt x="1752" y="3012"/>
                      </a:lnTo>
                      <a:lnTo>
                        <a:pt x="1770" y="3012"/>
                      </a:lnTo>
                      <a:lnTo>
                        <a:pt x="1770" y="2994"/>
                      </a:lnTo>
                      <a:lnTo>
                        <a:pt x="1776" y="2988"/>
                      </a:lnTo>
                      <a:lnTo>
                        <a:pt x="1788" y="2988"/>
                      </a:lnTo>
                      <a:lnTo>
                        <a:pt x="1794" y="2982"/>
                      </a:lnTo>
                      <a:lnTo>
                        <a:pt x="1800" y="2982"/>
                      </a:lnTo>
                      <a:lnTo>
                        <a:pt x="1812" y="2964"/>
                      </a:lnTo>
                      <a:lnTo>
                        <a:pt x="1824" y="2940"/>
                      </a:lnTo>
                      <a:lnTo>
                        <a:pt x="1848" y="2880"/>
                      </a:lnTo>
                      <a:lnTo>
                        <a:pt x="1860" y="2832"/>
                      </a:lnTo>
                      <a:lnTo>
                        <a:pt x="1872" y="2808"/>
                      </a:lnTo>
                      <a:lnTo>
                        <a:pt x="1878" y="2790"/>
                      </a:lnTo>
                      <a:lnTo>
                        <a:pt x="1884" y="2778"/>
                      </a:lnTo>
                      <a:lnTo>
                        <a:pt x="1896" y="2772"/>
                      </a:lnTo>
                      <a:lnTo>
                        <a:pt x="1902" y="2760"/>
                      </a:lnTo>
                      <a:lnTo>
                        <a:pt x="1926" y="2736"/>
                      </a:lnTo>
                      <a:lnTo>
                        <a:pt x="1926" y="2724"/>
                      </a:lnTo>
                      <a:lnTo>
                        <a:pt x="1920" y="2718"/>
                      </a:lnTo>
                      <a:lnTo>
                        <a:pt x="1938" y="2706"/>
                      </a:lnTo>
                      <a:lnTo>
                        <a:pt x="1932" y="2670"/>
                      </a:lnTo>
                      <a:lnTo>
                        <a:pt x="1938" y="2646"/>
                      </a:lnTo>
                      <a:lnTo>
                        <a:pt x="1926" y="2640"/>
                      </a:lnTo>
                      <a:lnTo>
                        <a:pt x="1932" y="2634"/>
                      </a:lnTo>
                      <a:lnTo>
                        <a:pt x="1938" y="2622"/>
                      </a:lnTo>
                      <a:lnTo>
                        <a:pt x="1938" y="2610"/>
                      </a:lnTo>
                      <a:lnTo>
                        <a:pt x="1932" y="2604"/>
                      </a:lnTo>
                      <a:lnTo>
                        <a:pt x="1920" y="2598"/>
                      </a:lnTo>
                      <a:lnTo>
                        <a:pt x="1914" y="2592"/>
                      </a:lnTo>
                      <a:lnTo>
                        <a:pt x="1914" y="2556"/>
                      </a:lnTo>
                      <a:lnTo>
                        <a:pt x="1896" y="2544"/>
                      </a:lnTo>
                      <a:lnTo>
                        <a:pt x="1920" y="2544"/>
                      </a:lnTo>
                      <a:lnTo>
                        <a:pt x="1914" y="2520"/>
                      </a:lnTo>
                      <a:lnTo>
                        <a:pt x="1902" y="2508"/>
                      </a:lnTo>
                      <a:lnTo>
                        <a:pt x="1908" y="2508"/>
                      </a:lnTo>
                      <a:lnTo>
                        <a:pt x="1920" y="2502"/>
                      </a:lnTo>
                      <a:lnTo>
                        <a:pt x="1920" y="2490"/>
                      </a:lnTo>
                      <a:lnTo>
                        <a:pt x="1914" y="2490"/>
                      </a:lnTo>
                      <a:lnTo>
                        <a:pt x="1902" y="2484"/>
                      </a:lnTo>
                      <a:lnTo>
                        <a:pt x="1896" y="2478"/>
                      </a:lnTo>
                      <a:lnTo>
                        <a:pt x="1920" y="2460"/>
                      </a:lnTo>
                      <a:lnTo>
                        <a:pt x="1932" y="2472"/>
                      </a:lnTo>
                      <a:lnTo>
                        <a:pt x="1944" y="2478"/>
                      </a:lnTo>
                      <a:lnTo>
                        <a:pt x="1950" y="2478"/>
                      </a:lnTo>
                      <a:lnTo>
                        <a:pt x="1950" y="2448"/>
                      </a:lnTo>
                      <a:lnTo>
                        <a:pt x="1962" y="2424"/>
                      </a:lnTo>
                      <a:lnTo>
                        <a:pt x="1974" y="2418"/>
                      </a:lnTo>
                      <a:lnTo>
                        <a:pt x="1980" y="2418"/>
                      </a:lnTo>
                      <a:lnTo>
                        <a:pt x="2004" y="2406"/>
                      </a:lnTo>
                      <a:lnTo>
                        <a:pt x="2010" y="2394"/>
                      </a:lnTo>
                      <a:lnTo>
                        <a:pt x="2010" y="2382"/>
                      </a:lnTo>
                      <a:lnTo>
                        <a:pt x="2016" y="2376"/>
                      </a:lnTo>
                      <a:lnTo>
                        <a:pt x="2028" y="2376"/>
                      </a:lnTo>
                      <a:lnTo>
                        <a:pt x="2034" y="2370"/>
                      </a:lnTo>
                      <a:lnTo>
                        <a:pt x="2046" y="2370"/>
                      </a:lnTo>
                      <a:lnTo>
                        <a:pt x="2046" y="2358"/>
                      </a:lnTo>
                      <a:lnTo>
                        <a:pt x="2070" y="2358"/>
                      </a:lnTo>
                      <a:lnTo>
                        <a:pt x="2070" y="2340"/>
                      </a:lnTo>
                      <a:lnTo>
                        <a:pt x="2118" y="2340"/>
                      </a:lnTo>
                      <a:lnTo>
                        <a:pt x="2124" y="2358"/>
                      </a:lnTo>
                      <a:lnTo>
                        <a:pt x="2136" y="2352"/>
                      </a:lnTo>
                      <a:lnTo>
                        <a:pt x="2118" y="2334"/>
                      </a:lnTo>
                      <a:lnTo>
                        <a:pt x="2136" y="2316"/>
                      </a:lnTo>
                      <a:lnTo>
                        <a:pt x="2142" y="2316"/>
                      </a:lnTo>
                      <a:lnTo>
                        <a:pt x="2154" y="2310"/>
                      </a:lnTo>
                      <a:lnTo>
                        <a:pt x="2178" y="2310"/>
                      </a:lnTo>
                      <a:lnTo>
                        <a:pt x="2160" y="2292"/>
                      </a:lnTo>
                      <a:lnTo>
                        <a:pt x="2172" y="2286"/>
                      </a:lnTo>
                      <a:lnTo>
                        <a:pt x="2178" y="2280"/>
                      </a:lnTo>
                      <a:lnTo>
                        <a:pt x="2190" y="2280"/>
                      </a:lnTo>
                      <a:lnTo>
                        <a:pt x="2190" y="2304"/>
                      </a:lnTo>
                      <a:lnTo>
                        <a:pt x="2196" y="2304"/>
                      </a:lnTo>
                      <a:lnTo>
                        <a:pt x="2196" y="2298"/>
                      </a:lnTo>
                      <a:lnTo>
                        <a:pt x="2202" y="2286"/>
                      </a:lnTo>
                      <a:lnTo>
                        <a:pt x="2208" y="2280"/>
                      </a:lnTo>
                      <a:lnTo>
                        <a:pt x="2244" y="2286"/>
                      </a:lnTo>
                      <a:lnTo>
                        <a:pt x="2244" y="2280"/>
                      </a:lnTo>
                      <a:lnTo>
                        <a:pt x="2250" y="2274"/>
                      </a:lnTo>
                      <a:lnTo>
                        <a:pt x="2250" y="2268"/>
                      </a:lnTo>
                      <a:lnTo>
                        <a:pt x="2256" y="2262"/>
                      </a:lnTo>
                      <a:lnTo>
                        <a:pt x="2268" y="2256"/>
                      </a:lnTo>
                      <a:lnTo>
                        <a:pt x="2274" y="2256"/>
                      </a:lnTo>
                      <a:lnTo>
                        <a:pt x="2280" y="2262"/>
                      </a:lnTo>
                      <a:lnTo>
                        <a:pt x="2280" y="2286"/>
                      </a:lnTo>
                      <a:lnTo>
                        <a:pt x="2346" y="2280"/>
                      </a:lnTo>
                      <a:lnTo>
                        <a:pt x="2352" y="2262"/>
                      </a:lnTo>
                      <a:lnTo>
                        <a:pt x="2346" y="2250"/>
                      </a:lnTo>
                      <a:lnTo>
                        <a:pt x="2352" y="2244"/>
                      </a:lnTo>
                      <a:lnTo>
                        <a:pt x="2358" y="2232"/>
                      </a:lnTo>
                      <a:lnTo>
                        <a:pt x="2370" y="2220"/>
                      </a:lnTo>
                      <a:lnTo>
                        <a:pt x="2406" y="2202"/>
                      </a:lnTo>
                      <a:lnTo>
                        <a:pt x="2418" y="2202"/>
                      </a:lnTo>
                      <a:lnTo>
                        <a:pt x="2412" y="2190"/>
                      </a:lnTo>
                      <a:lnTo>
                        <a:pt x="2412" y="2112"/>
                      </a:lnTo>
                      <a:lnTo>
                        <a:pt x="2442" y="2082"/>
                      </a:lnTo>
                      <a:lnTo>
                        <a:pt x="2442" y="2058"/>
                      </a:lnTo>
                      <a:lnTo>
                        <a:pt x="2460" y="2052"/>
                      </a:lnTo>
                      <a:lnTo>
                        <a:pt x="2460" y="2022"/>
                      </a:lnTo>
                      <a:lnTo>
                        <a:pt x="2466" y="2022"/>
                      </a:lnTo>
                      <a:lnTo>
                        <a:pt x="2472" y="2016"/>
                      </a:lnTo>
                      <a:lnTo>
                        <a:pt x="2478" y="2016"/>
                      </a:lnTo>
                      <a:lnTo>
                        <a:pt x="2478" y="2010"/>
                      </a:lnTo>
                      <a:lnTo>
                        <a:pt x="2484" y="2004"/>
                      </a:lnTo>
                      <a:lnTo>
                        <a:pt x="2484" y="1956"/>
                      </a:lnTo>
                      <a:lnTo>
                        <a:pt x="2478" y="1944"/>
                      </a:lnTo>
                      <a:lnTo>
                        <a:pt x="2478" y="1926"/>
                      </a:lnTo>
                      <a:lnTo>
                        <a:pt x="2472" y="1908"/>
                      </a:lnTo>
                      <a:lnTo>
                        <a:pt x="2484" y="1884"/>
                      </a:lnTo>
                      <a:lnTo>
                        <a:pt x="2514" y="1854"/>
                      </a:lnTo>
                      <a:lnTo>
                        <a:pt x="2514" y="1848"/>
                      </a:lnTo>
                      <a:lnTo>
                        <a:pt x="2508" y="1836"/>
                      </a:lnTo>
                      <a:lnTo>
                        <a:pt x="2508" y="1830"/>
                      </a:lnTo>
                      <a:lnTo>
                        <a:pt x="2502" y="1818"/>
                      </a:lnTo>
                      <a:lnTo>
                        <a:pt x="2508" y="1764"/>
                      </a:lnTo>
                      <a:lnTo>
                        <a:pt x="2508" y="1758"/>
                      </a:lnTo>
                      <a:lnTo>
                        <a:pt x="2514" y="1752"/>
                      </a:lnTo>
                      <a:lnTo>
                        <a:pt x="2514" y="1722"/>
                      </a:lnTo>
                      <a:lnTo>
                        <a:pt x="2520" y="1710"/>
                      </a:lnTo>
                      <a:lnTo>
                        <a:pt x="2520" y="1680"/>
                      </a:lnTo>
                      <a:lnTo>
                        <a:pt x="2508" y="1644"/>
                      </a:lnTo>
                      <a:lnTo>
                        <a:pt x="2502" y="1608"/>
                      </a:lnTo>
                      <a:lnTo>
                        <a:pt x="2502" y="1596"/>
                      </a:lnTo>
                      <a:lnTo>
                        <a:pt x="2508" y="1560"/>
                      </a:lnTo>
                      <a:lnTo>
                        <a:pt x="2508" y="1548"/>
                      </a:lnTo>
                      <a:lnTo>
                        <a:pt x="2502" y="1536"/>
                      </a:lnTo>
                      <a:lnTo>
                        <a:pt x="2502" y="1500"/>
                      </a:lnTo>
                      <a:lnTo>
                        <a:pt x="2508" y="1488"/>
                      </a:lnTo>
                      <a:lnTo>
                        <a:pt x="2520" y="1476"/>
                      </a:lnTo>
                      <a:lnTo>
                        <a:pt x="2508" y="1458"/>
                      </a:lnTo>
                      <a:lnTo>
                        <a:pt x="2520" y="1446"/>
                      </a:lnTo>
                      <a:lnTo>
                        <a:pt x="2532" y="1446"/>
                      </a:lnTo>
                      <a:lnTo>
                        <a:pt x="2532" y="1452"/>
                      </a:lnTo>
                      <a:lnTo>
                        <a:pt x="2538" y="1464"/>
                      </a:lnTo>
                      <a:lnTo>
                        <a:pt x="2544" y="1470"/>
                      </a:lnTo>
                      <a:lnTo>
                        <a:pt x="2556" y="1464"/>
                      </a:lnTo>
                      <a:lnTo>
                        <a:pt x="2562" y="1452"/>
                      </a:lnTo>
                      <a:lnTo>
                        <a:pt x="2574" y="1446"/>
                      </a:lnTo>
                      <a:lnTo>
                        <a:pt x="2580" y="1434"/>
                      </a:lnTo>
                      <a:lnTo>
                        <a:pt x="2586" y="1428"/>
                      </a:lnTo>
                      <a:lnTo>
                        <a:pt x="2592" y="1416"/>
                      </a:lnTo>
                      <a:lnTo>
                        <a:pt x="2592" y="1404"/>
                      </a:lnTo>
                      <a:lnTo>
                        <a:pt x="2598" y="1386"/>
                      </a:lnTo>
                      <a:lnTo>
                        <a:pt x="2598" y="1374"/>
                      </a:lnTo>
                      <a:lnTo>
                        <a:pt x="2604" y="1356"/>
                      </a:lnTo>
                      <a:lnTo>
                        <a:pt x="2604" y="1344"/>
                      </a:lnTo>
                      <a:lnTo>
                        <a:pt x="2610" y="1338"/>
                      </a:lnTo>
                      <a:lnTo>
                        <a:pt x="2616" y="1338"/>
                      </a:lnTo>
                      <a:lnTo>
                        <a:pt x="2628" y="1326"/>
                      </a:lnTo>
                      <a:lnTo>
                        <a:pt x="2634" y="1314"/>
                      </a:lnTo>
                      <a:lnTo>
                        <a:pt x="2640" y="1308"/>
                      </a:lnTo>
                      <a:lnTo>
                        <a:pt x="2640" y="1296"/>
                      </a:lnTo>
                      <a:lnTo>
                        <a:pt x="2652" y="1290"/>
                      </a:lnTo>
                      <a:lnTo>
                        <a:pt x="2658" y="1284"/>
                      </a:lnTo>
                      <a:lnTo>
                        <a:pt x="2670" y="1284"/>
                      </a:lnTo>
                      <a:lnTo>
                        <a:pt x="2682" y="1272"/>
                      </a:lnTo>
                      <a:lnTo>
                        <a:pt x="2682" y="1254"/>
                      </a:lnTo>
                      <a:lnTo>
                        <a:pt x="2688" y="1254"/>
                      </a:lnTo>
                      <a:lnTo>
                        <a:pt x="2724" y="1218"/>
                      </a:lnTo>
                      <a:lnTo>
                        <a:pt x="2736" y="1188"/>
                      </a:lnTo>
                      <a:lnTo>
                        <a:pt x="2754" y="1158"/>
                      </a:lnTo>
                      <a:lnTo>
                        <a:pt x="2760" y="1134"/>
                      </a:lnTo>
                      <a:lnTo>
                        <a:pt x="2766" y="1122"/>
                      </a:lnTo>
                      <a:lnTo>
                        <a:pt x="2772" y="1116"/>
                      </a:lnTo>
                      <a:lnTo>
                        <a:pt x="2778" y="1104"/>
                      </a:lnTo>
                      <a:lnTo>
                        <a:pt x="2784" y="1098"/>
                      </a:lnTo>
                      <a:lnTo>
                        <a:pt x="2784" y="1080"/>
                      </a:lnTo>
                      <a:lnTo>
                        <a:pt x="2778" y="1068"/>
                      </a:lnTo>
                      <a:lnTo>
                        <a:pt x="2778" y="1002"/>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672" name="Botswana"/>
                <p:cNvSpPr>
                  <a:spLocks/>
                </p:cNvSpPr>
                <p:nvPr/>
              </p:nvSpPr>
              <p:spPr bwMode="gray">
                <a:xfrm>
                  <a:off x="3011" y="2676"/>
                  <a:ext cx="166" cy="187"/>
                </a:xfrm>
                <a:custGeom>
                  <a:avLst/>
                  <a:gdLst>
                    <a:gd name="T0" fmla="*/ 2147483647 w 648"/>
                    <a:gd name="T1" fmla="*/ 2147483647 h 732"/>
                    <a:gd name="T2" fmla="*/ 2147483647 w 648"/>
                    <a:gd name="T3" fmla="*/ 2147483647 h 732"/>
                    <a:gd name="T4" fmla="*/ 2147483647 w 648"/>
                    <a:gd name="T5" fmla="*/ 2147483647 h 732"/>
                    <a:gd name="T6" fmla="*/ 2147483647 w 648"/>
                    <a:gd name="T7" fmla="*/ 2147483647 h 732"/>
                    <a:gd name="T8" fmla="*/ 2147483647 w 648"/>
                    <a:gd name="T9" fmla="*/ 2147483647 h 732"/>
                    <a:gd name="T10" fmla="*/ 2147483647 w 648"/>
                    <a:gd name="T11" fmla="*/ 2147483647 h 732"/>
                    <a:gd name="T12" fmla="*/ 2147483647 w 648"/>
                    <a:gd name="T13" fmla="*/ 2147483647 h 732"/>
                    <a:gd name="T14" fmla="*/ 2147483647 w 648"/>
                    <a:gd name="T15" fmla="*/ 2147483647 h 732"/>
                    <a:gd name="T16" fmla="*/ 2147483647 w 648"/>
                    <a:gd name="T17" fmla="*/ 2147483647 h 732"/>
                    <a:gd name="T18" fmla="*/ 2147483647 w 648"/>
                    <a:gd name="T19" fmla="*/ 2147483647 h 732"/>
                    <a:gd name="T20" fmla="*/ 2147483647 w 648"/>
                    <a:gd name="T21" fmla="*/ 2147483647 h 732"/>
                    <a:gd name="T22" fmla="*/ 2147483647 w 648"/>
                    <a:gd name="T23" fmla="*/ 2147483647 h 732"/>
                    <a:gd name="T24" fmla="*/ 2147483647 w 648"/>
                    <a:gd name="T25" fmla="*/ 2147483647 h 732"/>
                    <a:gd name="T26" fmla="*/ 2147483647 w 648"/>
                    <a:gd name="T27" fmla="*/ 2147483647 h 732"/>
                    <a:gd name="T28" fmla="*/ 2147483647 w 648"/>
                    <a:gd name="T29" fmla="*/ 2147483647 h 732"/>
                    <a:gd name="T30" fmla="*/ 2147483647 w 648"/>
                    <a:gd name="T31" fmla="*/ 2147483647 h 732"/>
                    <a:gd name="T32" fmla="*/ 2147483647 w 648"/>
                    <a:gd name="T33" fmla="*/ 2147483647 h 732"/>
                    <a:gd name="T34" fmla="*/ 2147483647 w 648"/>
                    <a:gd name="T35" fmla="*/ 2147483647 h 732"/>
                    <a:gd name="T36" fmla="*/ 2147483647 w 648"/>
                    <a:gd name="T37" fmla="*/ 2147483647 h 732"/>
                    <a:gd name="T38" fmla="*/ 2147483647 w 648"/>
                    <a:gd name="T39" fmla="*/ 2147483647 h 732"/>
                    <a:gd name="T40" fmla="*/ 2147483647 w 648"/>
                    <a:gd name="T41" fmla="*/ 2147483647 h 732"/>
                    <a:gd name="T42" fmla="*/ 2147483647 w 648"/>
                    <a:gd name="T43" fmla="*/ 2147483647 h 732"/>
                    <a:gd name="T44" fmla="*/ 2147483647 w 648"/>
                    <a:gd name="T45" fmla="*/ 2147483647 h 732"/>
                    <a:gd name="T46" fmla="*/ 2147483647 w 648"/>
                    <a:gd name="T47" fmla="*/ 2147483647 h 732"/>
                    <a:gd name="T48" fmla="*/ 2147483647 w 648"/>
                    <a:gd name="T49" fmla="*/ 2147483647 h 732"/>
                    <a:gd name="T50" fmla="*/ 2147483647 w 648"/>
                    <a:gd name="T51" fmla="*/ 2147483647 h 732"/>
                    <a:gd name="T52" fmla="*/ 2147483647 w 648"/>
                    <a:gd name="T53" fmla="*/ 2147483647 h 732"/>
                    <a:gd name="T54" fmla="*/ 2147483647 w 648"/>
                    <a:gd name="T55" fmla="*/ 2147483647 h 732"/>
                    <a:gd name="T56" fmla="*/ 2147483647 w 648"/>
                    <a:gd name="T57" fmla="*/ 2147483647 h 732"/>
                    <a:gd name="T58" fmla="*/ 2147483647 w 648"/>
                    <a:gd name="T59" fmla="*/ 2147483647 h 732"/>
                    <a:gd name="T60" fmla="*/ 2147483647 w 648"/>
                    <a:gd name="T61" fmla="*/ 2147483647 h 732"/>
                    <a:gd name="T62" fmla="*/ 2147483647 w 648"/>
                    <a:gd name="T63" fmla="*/ 2147483647 h 732"/>
                    <a:gd name="T64" fmla="*/ 2147483647 w 648"/>
                    <a:gd name="T65" fmla="*/ 2147483647 h 732"/>
                    <a:gd name="T66" fmla="*/ 2147483647 w 648"/>
                    <a:gd name="T67" fmla="*/ 2147483647 h 732"/>
                    <a:gd name="T68" fmla="*/ 2147483647 w 648"/>
                    <a:gd name="T69" fmla="*/ 2147483647 h 732"/>
                    <a:gd name="T70" fmla="*/ 2147483647 w 648"/>
                    <a:gd name="T71" fmla="*/ 2147483647 h 732"/>
                    <a:gd name="T72" fmla="*/ 2147483647 w 648"/>
                    <a:gd name="T73" fmla="*/ 2147483647 h 732"/>
                    <a:gd name="T74" fmla="*/ 2147483647 w 648"/>
                    <a:gd name="T75" fmla="*/ 2147483647 h 732"/>
                    <a:gd name="T76" fmla="*/ 2147483647 w 648"/>
                    <a:gd name="T77" fmla="*/ 2147483647 h 732"/>
                    <a:gd name="T78" fmla="*/ 2147483647 w 648"/>
                    <a:gd name="T79" fmla="*/ 2147483647 h 732"/>
                    <a:gd name="T80" fmla="*/ 2147483647 w 648"/>
                    <a:gd name="T81" fmla="*/ 2147483647 h 732"/>
                    <a:gd name="T82" fmla="*/ 2147483647 w 648"/>
                    <a:gd name="T83" fmla="*/ 2147483647 h 732"/>
                    <a:gd name="T84" fmla="*/ 2147483647 w 648"/>
                    <a:gd name="T85" fmla="*/ 2147483647 h 732"/>
                    <a:gd name="T86" fmla="*/ 2147483647 w 648"/>
                    <a:gd name="T87" fmla="*/ 2147483647 h 732"/>
                    <a:gd name="T88" fmla="*/ 2147483647 w 648"/>
                    <a:gd name="T89" fmla="*/ 2147483647 h 732"/>
                    <a:gd name="T90" fmla="*/ 2147483647 w 648"/>
                    <a:gd name="T91" fmla="*/ 2147483647 h 732"/>
                    <a:gd name="T92" fmla="*/ 2147483647 w 648"/>
                    <a:gd name="T93" fmla="*/ 2147483647 h 732"/>
                    <a:gd name="T94" fmla="*/ 2147483647 w 648"/>
                    <a:gd name="T95" fmla="*/ 0 h 732"/>
                    <a:gd name="T96" fmla="*/ 2147483647 w 648"/>
                    <a:gd name="T97" fmla="*/ 2147483647 h 732"/>
                    <a:gd name="T98" fmla="*/ 2147483647 w 648"/>
                    <a:gd name="T99" fmla="*/ 2147483647 h 732"/>
                    <a:gd name="T100" fmla="*/ 2147483647 w 648"/>
                    <a:gd name="T101" fmla="*/ 2147483647 h 732"/>
                    <a:gd name="T102" fmla="*/ 2147483647 w 648"/>
                    <a:gd name="T103" fmla="*/ 2147483647 h 732"/>
                    <a:gd name="T104" fmla="*/ 2147483647 w 648"/>
                    <a:gd name="T105" fmla="*/ 2147483647 h 732"/>
                    <a:gd name="T106" fmla="*/ 2147483647 w 648"/>
                    <a:gd name="T107" fmla="*/ 2147483647 h 732"/>
                    <a:gd name="T108" fmla="*/ 2147483647 w 648"/>
                    <a:gd name="T109" fmla="*/ 2147483647 h 732"/>
                    <a:gd name="T110" fmla="*/ 2147483647 w 648"/>
                    <a:gd name="T111" fmla="*/ 2147483647 h 732"/>
                    <a:gd name="T112" fmla="*/ 2147483647 w 648"/>
                    <a:gd name="T113" fmla="*/ 2147483647 h 732"/>
                    <a:gd name="T114" fmla="*/ 0 w 648"/>
                    <a:gd name="T115" fmla="*/ 2147483647 h 73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48"/>
                    <a:gd name="T175" fmla="*/ 0 h 732"/>
                    <a:gd name="T176" fmla="*/ 648 w 648"/>
                    <a:gd name="T177" fmla="*/ 732 h 73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48" h="732">
                      <a:moveTo>
                        <a:pt x="0" y="570"/>
                      </a:moveTo>
                      <a:lnTo>
                        <a:pt x="12" y="576"/>
                      </a:lnTo>
                      <a:lnTo>
                        <a:pt x="18" y="582"/>
                      </a:lnTo>
                      <a:lnTo>
                        <a:pt x="30" y="588"/>
                      </a:lnTo>
                      <a:lnTo>
                        <a:pt x="36" y="594"/>
                      </a:lnTo>
                      <a:lnTo>
                        <a:pt x="42" y="612"/>
                      </a:lnTo>
                      <a:lnTo>
                        <a:pt x="48" y="624"/>
                      </a:lnTo>
                      <a:lnTo>
                        <a:pt x="48" y="642"/>
                      </a:lnTo>
                      <a:lnTo>
                        <a:pt x="54" y="648"/>
                      </a:lnTo>
                      <a:lnTo>
                        <a:pt x="54" y="672"/>
                      </a:lnTo>
                      <a:lnTo>
                        <a:pt x="48" y="684"/>
                      </a:lnTo>
                      <a:lnTo>
                        <a:pt x="48" y="690"/>
                      </a:lnTo>
                      <a:lnTo>
                        <a:pt x="42" y="702"/>
                      </a:lnTo>
                      <a:lnTo>
                        <a:pt x="42" y="732"/>
                      </a:lnTo>
                      <a:lnTo>
                        <a:pt x="120" y="732"/>
                      </a:lnTo>
                      <a:lnTo>
                        <a:pt x="120" y="714"/>
                      </a:lnTo>
                      <a:lnTo>
                        <a:pt x="144" y="714"/>
                      </a:lnTo>
                      <a:lnTo>
                        <a:pt x="144" y="708"/>
                      </a:lnTo>
                      <a:lnTo>
                        <a:pt x="150" y="702"/>
                      </a:lnTo>
                      <a:lnTo>
                        <a:pt x="156" y="690"/>
                      </a:lnTo>
                      <a:lnTo>
                        <a:pt x="162" y="684"/>
                      </a:lnTo>
                      <a:lnTo>
                        <a:pt x="168" y="684"/>
                      </a:lnTo>
                      <a:lnTo>
                        <a:pt x="174" y="678"/>
                      </a:lnTo>
                      <a:lnTo>
                        <a:pt x="186" y="678"/>
                      </a:lnTo>
                      <a:lnTo>
                        <a:pt x="186" y="654"/>
                      </a:lnTo>
                      <a:lnTo>
                        <a:pt x="192" y="642"/>
                      </a:lnTo>
                      <a:lnTo>
                        <a:pt x="192" y="630"/>
                      </a:lnTo>
                      <a:lnTo>
                        <a:pt x="198" y="618"/>
                      </a:lnTo>
                      <a:lnTo>
                        <a:pt x="204" y="612"/>
                      </a:lnTo>
                      <a:lnTo>
                        <a:pt x="216" y="606"/>
                      </a:lnTo>
                      <a:lnTo>
                        <a:pt x="228" y="606"/>
                      </a:lnTo>
                      <a:lnTo>
                        <a:pt x="240" y="612"/>
                      </a:lnTo>
                      <a:lnTo>
                        <a:pt x="246" y="618"/>
                      </a:lnTo>
                      <a:lnTo>
                        <a:pt x="258" y="624"/>
                      </a:lnTo>
                      <a:lnTo>
                        <a:pt x="270" y="636"/>
                      </a:lnTo>
                      <a:lnTo>
                        <a:pt x="300" y="636"/>
                      </a:lnTo>
                      <a:lnTo>
                        <a:pt x="306" y="642"/>
                      </a:lnTo>
                      <a:lnTo>
                        <a:pt x="318" y="648"/>
                      </a:lnTo>
                      <a:lnTo>
                        <a:pt x="324" y="654"/>
                      </a:lnTo>
                      <a:lnTo>
                        <a:pt x="336" y="654"/>
                      </a:lnTo>
                      <a:lnTo>
                        <a:pt x="348" y="648"/>
                      </a:lnTo>
                      <a:lnTo>
                        <a:pt x="354" y="642"/>
                      </a:lnTo>
                      <a:lnTo>
                        <a:pt x="360" y="648"/>
                      </a:lnTo>
                      <a:lnTo>
                        <a:pt x="372" y="648"/>
                      </a:lnTo>
                      <a:lnTo>
                        <a:pt x="384" y="642"/>
                      </a:lnTo>
                      <a:lnTo>
                        <a:pt x="390" y="636"/>
                      </a:lnTo>
                      <a:lnTo>
                        <a:pt x="396" y="624"/>
                      </a:lnTo>
                      <a:lnTo>
                        <a:pt x="402" y="606"/>
                      </a:lnTo>
                      <a:lnTo>
                        <a:pt x="408" y="594"/>
                      </a:lnTo>
                      <a:lnTo>
                        <a:pt x="408" y="582"/>
                      </a:lnTo>
                      <a:lnTo>
                        <a:pt x="426" y="564"/>
                      </a:lnTo>
                      <a:lnTo>
                        <a:pt x="444" y="558"/>
                      </a:lnTo>
                      <a:lnTo>
                        <a:pt x="456" y="552"/>
                      </a:lnTo>
                      <a:lnTo>
                        <a:pt x="462" y="546"/>
                      </a:lnTo>
                      <a:lnTo>
                        <a:pt x="468" y="534"/>
                      </a:lnTo>
                      <a:lnTo>
                        <a:pt x="480" y="528"/>
                      </a:lnTo>
                      <a:lnTo>
                        <a:pt x="480" y="492"/>
                      </a:lnTo>
                      <a:lnTo>
                        <a:pt x="492" y="468"/>
                      </a:lnTo>
                      <a:lnTo>
                        <a:pt x="504" y="462"/>
                      </a:lnTo>
                      <a:lnTo>
                        <a:pt x="510" y="462"/>
                      </a:lnTo>
                      <a:lnTo>
                        <a:pt x="522" y="456"/>
                      </a:lnTo>
                      <a:lnTo>
                        <a:pt x="564" y="414"/>
                      </a:lnTo>
                      <a:lnTo>
                        <a:pt x="576" y="390"/>
                      </a:lnTo>
                      <a:lnTo>
                        <a:pt x="582" y="384"/>
                      </a:lnTo>
                      <a:lnTo>
                        <a:pt x="594" y="384"/>
                      </a:lnTo>
                      <a:lnTo>
                        <a:pt x="606" y="378"/>
                      </a:lnTo>
                      <a:lnTo>
                        <a:pt x="618" y="378"/>
                      </a:lnTo>
                      <a:lnTo>
                        <a:pt x="630" y="354"/>
                      </a:lnTo>
                      <a:lnTo>
                        <a:pt x="648" y="354"/>
                      </a:lnTo>
                      <a:lnTo>
                        <a:pt x="648" y="348"/>
                      </a:lnTo>
                      <a:lnTo>
                        <a:pt x="642" y="336"/>
                      </a:lnTo>
                      <a:lnTo>
                        <a:pt x="624" y="318"/>
                      </a:lnTo>
                      <a:lnTo>
                        <a:pt x="606" y="312"/>
                      </a:lnTo>
                      <a:lnTo>
                        <a:pt x="594" y="312"/>
                      </a:lnTo>
                      <a:lnTo>
                        <a:pt x="576" y="306"/>
                      </a:lnTo>
                      <a:lnTo>
                        <a:pt x="564" y="306"/>
                      </a:lnTo>
                      <a:lnTo>
                        <a:pt x="564" y="276"/>
                      </a:lnTo>
                      <a:lnTo>
                        <a:pt x="546" y="276"/>
                      </a:lnTo>
                      <a:lnTo>
                        <a:pt x="546" y="246"/>
                      </a:lnTo>
                      <a:lnTo>
                        <a:pt x="552" y="240"/>
                      </a:lnTo>
                      <a:lnTo>
                        <a:pt x="546" y="216"/>
                      </a:lnTo>
                      <a:lnTo>
                        <a:pt x="516" y="216"/>
                      </a:lnTo>
                      <a:lnTo>
                        <a:pt x="516" y="186"/>
                      </a:lnTo>
                      <a:lnTo>
                        <a:pt x="510" y="180"/>
                      </a:lnTo>
                      <a:lnTo>
                        <a:pt x="480" y="180"/>
                      </a:lnTo>
                      <a:lnTo>
                        <a:pt x="462" y="162"/>
                      </a:lnTo>
                      <a:lnTo>
                        <a:pt x="450" y="156"/>
                      </a:lnTo>
                      <a:lnTo>
                        <a:pt x="432" y="120"/>
                      </a:lnTo>
                      <a:lnTo>
                        <a:pt x="432" y="96"/>
                      </a:lnTo>
                      <a:lnTo>
                        <a:pt x="426" y="90"/>
                      </a:lnTo>
                      <a:lnTo>
                        <a:pt x="414" y="66"/>
                      </a:lnTo>
                      <a:lnTo>
                        <a:pt x="408" y="60"/>
                      </a:lnTo>
                      <a:lnTo>
                        <a:pt x="396" y="60"/>
                      </a:lnTo>
                      <a:lnTo>
                        <a:pt x="396" y="30"/>
                      </a:lnTo>
                      <a:lnTo>
                        <a:pt x="384" y="18"/>
                      </a:lnTo>
                      <a:lnTo>
                        <a:pt x="378" y="0"/>
                      </a:lnTo>
                      <a:lnTo>
                        <a:pt x="342" y="6"/>
                      </a:lnTo>
                      <a:lnTo>
                        <a:pt x="330" y="18"/>
                      </a:lnTo>
                      <a:lnTo>
                        <a:pt x="306" y="18"/>
                      </a:lnTo>
                      <a:lnTo>
                        <a:pt x="264" y="60"/>
                      </a:lnTo>
                      <a:lnTo>
                        <a:pt x="258" y="60"/>
                      </a:lnTo>
                      <a:lnTo>
                        <a:pt x="258" y="42"/>
                      </a:lnTo>
                      <a:lnTo>
                        <a:pt x="252" y="42"/>
                      </a:lnTo>
                      <a:lnTo>
                        <a:pt x="252" y="24"/>
                      </a:lnTo>
                      <a:lnTo>
                        <a:pt x="246" y="18"/>
                      </a:lnTo>
                      <a:lnTo>
                        <a:pt x="228" y="18"/>
                      </a:lnTo>
                      <a:lnTo>
                        <a:pt x="216" y="24"/>
                      </a:lnTo>
                      <a:lnTo>
                        <a:pt x="168" y="36"/>
                      </a:lnTo>
                      <a:lnTo>
                        <a:pt x="132" y="36"/>
                      </a:lnTo>
                      <a:lnTo>
                        <a:pt x="114" y="42"/>
                      </a:lnTo>
                      <a:lnTo>
                        <a:pt x="78" y="42"/>
                      </a:lnTo>
                      <a:lnTo>
                        <a:pt x="78" y="216"/>
                      </a:lnTo>
                      <a:lnTo>
                        <a:pt x="72" y="222"/>
                      </a:lnTo>
                      <a:lnTo>
                        <a:pt x="78" y="348"/>
                      </a:lnTo>
                      <a:lnTo>
                        <a:pt x="6" y="348"/>
                      </a:lnTo>
                      <a:lnTo>
                        <a:pt x="0" y="57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673" name="Bosnia and Herzegovina"/>
                <p:cNvSpPr>
                  <a:spLocks/>
                </p:cNvSpPr>
                <p:nvPr/>
              </p:nvSpPr>
              <p:spPr bwMode="gray">
                <a:xfrm>
                  <a:off x="2927" y="1378"/>
                  <a:ext cx="68" cy="60"/>
                </a:xfrm>
                <a:custGeom>
                  <a:avLst/>
                  <a:gdLst>
                    <a:gd name="T0" fmla="*/ 2147483647 w 264"/>
                    <a:gd name="T1" fmla="*/ 2147483647 h 234"/>
                    <a:gd name="T2" fmla="*/ 2147483647 w 264"/>
                    <a:gd name="T3" fmla="*/ 2147483647 h 234"/>
                    <a:gd name="T4" fmla="*/ 2147483647 w 264"/>
                    <a:gd name="T5" fmla="*/ 2147483647 h 234"/>
                    <a:gd name="T6" fmla="*/ 2147483647 w 264"/>
                    <a:gd name="T7" fmla="*/ 2147483647 h 234"/>
                    <a:gd name="T8" fmla="*/ 2147483647 w 264"/>
                    <a:gd name="T9" fmla="*/ 2147483647 h 234"/>
                    <a:gd name="T10" fmla="*/ 2147483647 w 264"/>
                    <a:gd name="T11" fmla="*/ 2147483647 h 234"/>
                    <a:gd name="T12" fmla="*/ 2147483647 w 264"/>
                    <a:gd name="T13" fmla="*/ 2147483647 h 234"/>
                    <a:gd name="T14" fmla="*/ 2147483647 w 264"/>
                    <a:gd name="T15" fmla="*/ 2147483647 h 234"/>
                    <a:gd name="T16" fmla="*/ 2147483647 w 264"/>
                    <a:gd name="T17" fmla="*/ 2147483647 h 234"/>
                    <a:gd name="T18" fmla="*/ 2147483647 w 264"/>
                    <a:gd name="T19" fmla="*/ 2147483647 h 234"/>
                    <a:gd name="T20" fmla="*/ 2147483647 w 264"/>
                    <a:gd name="T21" fmla="*/ 2147483647 h 234"/>
                    <a:gd name="T22" fmla="*/ 2147483647 w 264"/>
                    <a:gd name="T23" fmla="*/ 2147483647 h 234"/>
                    <a:gd name="T24" fmla="*/ 2147483647 w 264"/>
                    <a:gd name="T25" fmla="*/ 2147483647 h 234"/>
                    <a:gd name="T26" fmla="*/ 2147483647 w 264"/>
                    <a:gd name="T27" fmla="*/ 2147483647 h 234"/>
                    <a:gd name="T28" fmla="*/ 2147483647 w 264"/>
                    <a:gd name="T29" fmla="*/ 2147483647 h 234"/>
                    <a:gd name="T30" fmla="*/ 2147483647 w 264"/>
                    <a:gd name="T31" fmla="*/ 2147483647 h 234"/>
                    <a:gd name="T32" fmla="*/ 2147483647 w 264"/>
                    <a:gd name="T33" fmla="*/ 2147483647 h 234"/>
                    <a:gd name="T34" fmla="*/ 2147483647 w 264"/>
                    <a:gd name="T35" fmla="*/ 2147483647 h 234"/>
                    <a:gd name="T36" fmla="*/ 2147483647 w 264"/>
                    <a:gd name="T37" fmla="*/ 2147483647 h 234"/>
                    <a:gd name="T38" fmla="*/ 2147483647 w 264"/>
                    <a:gd name="T39" fmla="*/ 0 h 234"/>
                    <a:gd name="T40" fmla="*/ 2147483647 w 264"/>
                    <a:gd name="T41" fmla="*/ 0 h 234"/>
                    <a:gd name="T42" fmla="*/ 2147483647 w 264"/>
                    <a:gd name="T43" fmla="*/ 2147483647 h 234"/>
                    <a:gd name="T44" fmla="*/ 0 w 264"/>
                    <a:gd name="T45" fmla="*/ 2147483647 h 234"/>
                    <a:gd name="T46" fmla="*/ 2147483647 w 264"/>
                    <a:gd name="T47" fmla="*/ 2147483647 h 234"/>
                    <a:gd name="T48" fmla="*/ 2147483647 w 264"/>
                    <a:gd name="T49" fmla="*/ 2147483647 h 234"/>
                    <a:gd name="T50" fmla="*/ 2147483647 w 264"/>
                    <a:gd name="T51" fmla="*/ 2147483647 h 234"/>
                    <a:gd name="T52" fmla="*/ 2147483647 w 264"/>
                    <a:gd name="T53" fmla="*/ 2147483647 h 234"/>
                    <a:gd name="T54" fmla="*/ 2147483647 w 264"/>
                    <a:gd name="T55" fmla="*/ 2147483647 h 234"/>
                    <a:gd name="T56" fmla="*/ 2147483647 w 264"/>
                    <a:gd name="T57" fmla="*/ 2147483647 h 234"/>
                    <a:gd name="T58" fmla="*/ 2147483647 w 264"/>
                    <a:gd name="T59" fmla="*/ 2147483647 h 234"/>
                    <a:gd name="T60" fmla="*/ 2147483647 w 264"/>
                    <a:gd name="T61" fmla="*/ 2147483647 h 234"/>
                    <a:gd name="T62" fmla="*/ 2147483647 w 264"/>
                    <a:gd name="T63" fmla="*/ 2147483647 h 234"/>
                    <a:gd name="T64" fmla="*/ 2147483647 w 264"/>
                    <a:gd name="T65" fmla="*/ 2147483647 h 234"/>
                    <a:gd name="T66" fmla="*/ 2147483647 w 264"/>
                    <a:gd name="T67" fmla="*/ 2147483647 h 234"/>
                    <a:gd name="T68" fmla="*/ 2147483647 w 264"/>
                    <a:gd name="T69" fmla="*/ 2147483647 h 234"/>
                    <a:gd name="T70" fmla="*/ 2147483647 w 264"/>
                    <a:gd name="T71" fmla="*/ 2147483647 h 234"/>
                    <a:gd name="T72" fmla="*/ 2147483647 w 264"/>
                    <a:gd name="T73" fmla="*/ 2147483647 h 234"/>
                    <a:gd name="T74" fmla="*/ 2147483647 w 264"/>
                    <a:gd name="T75" fmla="*/ 2147483647 h 234"/>
                    <a:gd name="T76" fmla="*/ 2147483647 w 264"/>
                    <a:gd name="T77" fmla="*/ 2147483647 h 234"/>
                    <a:gd name="T78" fmla="*/ 2147483647 w 264"/>
                    <a:gd name="T79" fmla="*/ 2147483647 h 234"/>
                    <a:gd name="T80" fmla="*/ 2147483647 w 264"/>
                    <a:gd name="T81" fmla="*/ 2147483647 h 234"/>
                    <a:gd name="T82" fmla="*/ 2147483647 w 264"/>
                    <a:gd name="T83" fmla="*/ 2147483647 h 234"/>
                    <a:gd name="T84" fmla="*/ 2147483647 w 264"/>
                    <a:gd name="T85" fmla="*/ 2147483647 h 234"/>
                    <a:gd name="T86" fmla="*/ 2147483647 w 264"/>
                    <a:gd name="T87" fmla="*/ 2147483647 h 234"/>
                    <a:gd name="T88" fmla="*/ 2147483647 w 264"/>
                    <a:gd name="T89" fmla="*/ 2147483647 h 234"/>
                    <a:gd name="T90" fmla="*/ 2147483647 w 264"/>
                    <a:gd name="T91" fmla="*/ 2147483647 h 234"/>
                    <a:gd name="T92" fmla="*/ 2147483647 w 264"/>
                    <a:gd name="T93" fmla="*/ 2147483647 h 234"/>
                    <a:gd name="T94" fmla="*/ 2147483647 w 264"/>
                    <a:gd name="T95" fmla="*/ 2147483647 h 234"/>
                    <a:gd name="T96" fmla="*/ 2147483647 w 264"/>
                    <a:gd name="T97" fmla="*/ 2147483647 h 234"/>
                    <a:gd name="T98" fmla="*/ 2147483647 w 264"/>
                    <a:gd name="T99" fmla="*/ 2147483647 h 234"/>
                    <a:gd name="T100" fmla="*/ 2147483647 w 264"/>
                    <a:gd name="T101" fmla="*/ 2147483647 h 234"/>
                    <a:gd name="T102" fmla="*/ 2147483647 w 264"/>
                    <a:gd name="T103" fmla="*/ 2147483647 h 234"/>
                    <a:gd name="T104" fmla="*/ 2147483647 w 264"/>
                    <a:gd name="T105" fmla="*/ 2147483647 h 234"/>
                    <a:gd name="T106" fmla="*/ 2147483647 w 264"/>
                    <a:gd name="T107" fmla="*/ 2147483647 h 234"/>
                    <a:gd name="T108" fmla="*/ 2147483647 w 264"/>
                    <a:gd name="T109" fmla="*/ 2147483647 h 234"/>
                    <a:gd name="T110" fmla="*/ 2147483647 w 264"/>
                    <a:gd name="T111" fmla="*/ 2147483647 h 234"/>
                    <a:gd name="T112" fmla="*/ 2147483647 w 264"/>
                    <a:gd name="T113" fmla="*/ 2147483647 h 234"/>
                    <a:gd name="T114" fmla="*/ 2147483647 w 264"/>
                    <a:gd name="T115" fmla="*/ 2147483647 h 234"/>
                    <a:gd name="T116" fmla="*/ 2147483647 w 264"/>
                    <a:gd name="T117" fmla="*/ 2147483647 h 234"/>
                    <a:gd name="T118" fmla="*/ 2147483647 w 264"/>
                    <a:gd name="T119" fmla="*/ 2147483647 h 234"/>
                    <a:gd name="T120" fmla="*/ 2147483647 w 264"/>
                    <a:gd name="T121" fmla="*/ 2147483647 h 234"/>
                    <a:gd name="T122" fmla="*/ 2147483647 w 264"/>
                    <a:gd name="T123" fmla="*/ 2147483647 h 234"/>
                    <a:gd name="T124" fmla="*/ 2147483647 w 264"/>
                    <a:gd name="T125" fmla="*/ 2147483647 h 23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64"/>
                    <a:gd name="T190" fmla="*/ 0 h 234"/>
                    <a:gd name="T191" fmla="*/ 264 w 264"/>
                    <a:gd name="T192" fmla="*/ 234 h 23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64" h="234">
                      <a:moveTo>
                        <a:pt x="246" y="78"/>
                      </a:moveTo>
                      <a:lnTo>
                        <a:pt x="228" y="78"/>
                      </a:lnTo>
                      <a:lnTo>
                        <a:pt x="228" y="60"/>
                      </a:lnTo>
                      <a:lnTo>
                        <a:pt x="246" y="42"/>
                      </a:lnTo>
                      <a:lnTo>
                        <a:pt x="246" y="30"/>
                      </a:lnTo>
                      <a:lnTo>
                        <a:pt x="234" y="30"/>
                      </a:lnTo>
                      <a:lnTo>
                        <a:pt x="222" y="36"/>
                      </a:lnTo>
                      <a:lnTo>
                        <a:pt x="216" y="36"/>
                      </a:lnTo>
                      <a:lnTo>
                        <a:pt x="216" y="30"/>
                      </a:lnTo>
                      <a:lnTo>
                        <a:pt x="204" y="30"/>
                      </a:lnTo>
                      <a:lnTo>
                        <a:pt x="192" y="12"/>
                      </a:lnTo>
                      <a:lnTo>
                        <a:pt x="138" y="12"/>
                      </a:lnTo>
                      <a:lnTo>
                        <a:pt x="132" y="6"/>
                      </a:lnTo>
                      <a:lnTo>
                        <a:pt x="120" y="6"/>
                      </a:lnTo>
                      <a:lnTo>
                        <a:pt x="108" y="12"/>
                      </a:lnTo>
                      <a:lnTo>
                        <a:pt x="90" y="6"/>
                      </a:lnTo>
                      <a:lnTo>
                        <a:pt x="66" y="6"/>
                      </a:lnTo>
                      <a:lnTo>
                        <a:pt x="42" y="12"/>
                      </a:lnTo>
                      <a:lnTo>
                        <a:pt x="30" y="6"/>
                      </a:lnTo>
                      <a:lnTo>
                        <a:pt x="24" y="0"/>
                      </a:lnTo>
                      <a:lnTo>
                        <a:pt x="18" y="0"/>
                      </a:lnTo>
                      <a:lnTo>
                        <a:pt x="18" y="24"/>
                      </a:lnTo>
                      <a:lnTo>
                        <a:pt x="0" y="30"/>
                      </a:lnTo>
                      <a:lnTo>
                        <a:pt x="12" y="42"/>
                      </a:lnTo>
                      <a:lnTo>
                        <a:pt x="30" y="48"/>
                      </a:lnTo>
                      <a:lnTo>
                        <a:pt x="30" y="60"/>
                      </a:lnTo>
                      <a:lnTo>
                        <a:pt x="36" y="60"/>
                      </a:lnTo>
                      <a:lnTo>
                        <a:pt x="42" y="66"/>
                      </a:lnTo>
                      <a:lnTo>
                        <a:pt x="42" y="84"/>
                      </a:lnTo>
                      <a:lnTo>
                        <a:pt x="60" y="90"/>
                      </a:lnTo>
                      <a:lnTo>
                        <a:pt x="72" y="120"/>
                      </a:lnTo>
                      <a:lnTo>
                        <a:pt x="84" y="132"/>
                      </a:lnTo>
                      <a:lnTo>
                        <a:pt x="96" y="138"/>
                      </a:lnTo>
                      <a:lnTo>
                        <a:pt x="114" y="150"/>
                      </a:lnTo>
                      <a:lnTo>
                        <a:pt x="126" y="156"/>
                      </a:lnTo>
                      <a:lnTo>
                        <a:pt x="132" y="168"/>
                      </a:lnTo>
                      <a:lnTo>
                        <a:pt x="132" y="174"/>
                      </a:lnTo>
                      <a:lnTo>
                        <a:pt x="126" y="180"/>
                      </a:lnTo>
                      <a:lnTo>
                        <a:pt x="138" y="180"/>
                      </a:lnTo>
                      <a:lnTo>
                        <a:pt x="156" y="198"/>
                      </a:lnTo>
                      <a:lnTo>
                        <a:pt x="162" y="210"/>
                      </a:lnTo>
                      <a:lnTo>
                        <a:pt x="174" y="216"/>
                      </a:lnTo>
                      <a:lnTo>
                        <a:pt x="192" y="234"/>
                      </a:lnTo>
                      <a:lnTo>
                        <a:pt x="210" y="204"/>
                      </a:lnTo>
                      <a:lnTo>
                        <a:pt x="198" y="198"/>
                      </a:lnTo>
                      <a:lnTo>
                        <a:pt x="192" y="198"/>
                      </a:lnTo>
                      <a:lnTo>
                        <a:pt x="186" y="192"/>
                      </a:lnTo>
                      <a:lnTo>
                        <a:pt x="186" y="186"/>
                      </a:lnTo>
                      <a:lnTo>
                        <a:pt x="192" y="180"/>
                      </a:lnTo>
                      <a:lnTo>
                        <a:pt x="198" y="180"/>
                      </a:lnTo>
                      <a:lnTo>
                        <a:pt x="204" y="168"/>
                      </a:lnTo>
                      <a:lnTo>
                        <a:pt x="204" y="162"/>
                      </a:lnTo>
                      <a:lnTo>
                        <a:pt x="210" y="156"/>
                      </a:lnTo>
                      <a:lnTo>
                        <a:pt x="228" y="156"/>
                      </a:lnTo>
                      <a:lnTo>
                        <a:pt x="228" y="132"/>
                      </a:lnTo>
                      <a:lnTo>
                        <a:pt x="258" y="132"/>
                      </a:lnTo>
                      <a:lnTo>
                        <a:pt x="258" y="126"/>
                      </a:lnTo>
                      <a:lnTo>
                        <a:pt x="252" y="114"/>
                      </a:lnTo>
                      <a:lnTo>
                        <a:pt x="240" y="102"/>
                      </a:lnTo>
                      <a:lnTo>
                        <a:pt x="264" y="96"/>
                      </a:lnTo>
                      <a:lnTo>
                        <a:pt x="258" y="84"/>
                      </a:lnTo>
                      <a:lnTo>
                        <a:pt x="252" y="78"/>
                      </a:lnTo>
                      <a:lnTo>
                        <a:pt x="246" y="78"/>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674" name="Bolivia"/>
                <p:cNvSpPr>
                  <a:spLocks/>
                </p:cNvSpPr>
                <p:nvPr/>
              </p:nvSpPr>
              <p:spPr bwMode="gray">
                <a:xfrm>
                  <a:off x="1394" y="2510"/>
                  <a:ext cx="228" cy="271"/>
                </a:xfrm>
                <a:custGeom>
                  <a:avLst/>
                  <a:gdLst>
                    <a:gd name="T0" fmla="*/ 2147483647 w 894"/>
                    <a:gd name="T1" fmla="*/ 2147483647 h 1056"/>
                    <a:gd name="T2" fmla="*/ 2147483647 w 894"/>
                    <a:gd name="T3" fmla="*/ 2147483647 h 1056"/>
                    <a:gd name="T4" fmla="*/ 2147483647 w 894"/>
                    <a:gd name="T5" fmla="*/ 2147483647 h 1056"/>
                    <a:gd name="T6" fmla="*/ 2147483647 w 894"/>
                    <a:gd name="T7" fmla="*/ 2147483647 h 1056"/>
                    <a:gd name="T8" fmla="*/ 2147483647 w 894"/>
                    <a:gd name="T9" fmla="*/ 2147483647 h 1056"/>
                    <a:gd name="T10" fmla="*/ 2147483647 w 894"/>
                    <a:gd name="T11" fmla="*/ 2147483647 h 1056"/>
                    <a:gd name="T12" fmla="*/ 2147483647 w 894"/>
                    <a:gd name="T13" fmla="*/ 2147483647 h 1056"/>
                    <a:gd name="T14" fmla="*/ 2147483647 w 894"/>
                    <a:gd name="T15" fmla="*/ 2147483647 h 1056"/>
                    <a:gd name="T16" fmla="*/ 2147483647 w 894"/>
                    <a:gd name="T17" fmla="*/ 2147483647 h 1056"/>
                    <a:gd name="T18" fmla="*/ 2147483647 w 894"/>
                    <a:gd name="T19" fmla="*/ 2147483647 h 1056"/>
                    <a:gd name="T20" fmla="*/ 2147483647 w 894"/>
                    <a:gd name="T21" fmla="*/ 2147483647 h 1056"/>
                    <a:gd name="T22" fmla="*/ 2147483647 w 894"/>
                    <a:gd name="T23" fmla="*/ 2147483647 h 1056"/>
                    <a:gd name="T24" fmla="*/ 2147483647 w 894"/>
                    <a:gd name="T25" fmla="*/ 2147483647 h 1056"/>
                    <a:gd name="T26" fmla="*/ 2147483647 w 894"/>
                    <a:gd name="T27" fmla="*/ 2147483647 h 1056"/>
                    <a:gd name="T28" fmla="*/ 2147483647 w 894"/>
                    <a:gd name="T29" fmla="*/ 2147483647 h 1056"/>
                    <a:gd name="T30" fmla="*/ 2147483647 w 894"/>
                    <a:gd name="T31" fmla="*/ 2147483647 h 1056"/>
                    <a:gd name="T32" fmla="*/ 2147483647 w 894"/>
                    <a:gd name="T33" fmla="*/ 2147483647 h 1056"/>
                    <a:gd name="T34" fmla="*/ 2147483647 w 894"/>
                    <a:gd name="T35" fmla="*/ 2147483647 h 1056"/>
                    <a:gd name="T36" fmla="*/ 2147483647 w 894"/>
                    <a:gd name="T37" fmla="*/ 2147483647 h 1056"/>
                    <a:gd name="T38" fmla="*/ 2147483647 w 894"/>
                    <a:gd name="T39" fmla="*/ 2147483647 h 1056"/>
                    <a:gd name="T40" fmla="*/ 2147483647 w 894"/>
                    <a:gd name="T41" fmla="*/ 2147483647 h 1056"/>
                    <a:gd name="T42" fmla="*/ 2147483647 w 894"/>
                    <a:gd name="T43" fmla="*/ 2147483647 h 1056"/>
                    <a:gd name="T44" fmla="*/ 2147483647 w 894"/>
                    <a:gd name="T45" fmla="*/ 2147483647 h 1056"/>
                    <a:gd name="T46" fmla="*/ 2147483647 w 894"/>
                    <a:gd name="T47" fmla="*/ 2147483647 h 1056"/>
                    <a:gd name="T48" fmla="*/ 0 w 894"/>
                    <a:gd name="T49" fmla="*/ 2147483647 h 1056"/>
                    <a:gd name="T50" fmla="*/ 2147483647 w 894"/>
                    <a:gd name="T51" fmla="*/ 2147483647 h 1056"/>
                    <a:gd name="T52" fmla="*/ 2147483647 w 894"/>
                    <a:gd name="T53" fmla="*/ 2147483647 h 1056"/>
                    <a:gd name="T54" fmla="*/ 2147483647 w 894"/>
                    <a:gd name="T55" fmla="*/ 2147483647 h 1056"/>
                    <a:gd name="T56" fmla="*/ 2147483647 w 894"/>
                    <a:gd name="T57" fmla="*/ 2147483647 h 1056"/>
                    <a:gd name="T58" fmla="*/ 2147483647 w 894"/>
                    <a:gd name="T59" fmla="*/ 2147483647 h 1056"/>
                    <a:gd name="T60" fmla="*/ 2147483647 w 894"/>
                    <a:gd name="T61" fmla="*/ 2147483647 h 1056"/>
                    <a:gd name="T62" fmla="*/ 2147483647 w 894"/>
                    <a:gd name="T63" fmla="*/ 2147483647 h 1056"/>
                    <a:gd name="T64" fmla="*/ 2147483647 w 894"/>
                    <a:gd name="T65" fmla="*/ 2147483647 h 1056"/>
                    <a:gd name="T66" fmla="*/ 2147483647 w 894"/>
                    <a:gd name="T67" fmla="*/ 2147483647 h 1056"/>
                    <a:gd name="T68" fmla="*/ 2147483647 w 894"/>
                    <a:gd name="T69" fmla="*/ 2147483647 h 1056"/>
                    <a:gd name="T70" fmla="*/ 2147483647 w 894"/>
                    <a:gd name="T71" fmla="*/ 2147483647 h 1056"/>
                    <a:gd name="T72" fmla="*/ 2147483647 w 894"/>
                    <a:gd name="T73" fmla="*/ 2147483647 h 1056"/>
                    <a:gd name="T74" fmla="*/ 2147483647 w 894"/>
                    <a:gd name="T75" fmla="*/ 2147483647 h 1056"/>
                    <a:gd name="T76" fmla="*/ 2147483647 w 894"/>
                    <a:gd name="T77" fmla="*/ 2147483647 h 1056"/>
                    <a:gd name="T78" fmla="*/ 2147483647 w 894"/>
                    <a:gd name="T79" fmla="*/ 2147483647 h 1056"/>
                    <a:gd name="T80" fmla="*/ 2147483647 w 894"/>
                    <a:gd name="T81" fmla="*/ 2147483647 h 1056"/>
                    <a:gd name="T82" fmla="*/ 2147483647 w 894"/>
                    <a:gd name="T83" fmla="*/ 2147483647 h 1056"/>
                    <a:gd name="T84" fmla="*/ 2147483647 w 894"/>
                    <a:gd name="T85" fmla="*/ 2147483647 h 1056"/>
                    <a:gd name="T86" fmla="*/ 2147483647 w 894"/>
                    <a:gd name="T87" fmla="*/ 2147483647 h 1056"/>
                    <a:gd name="T88" fmla="*/ 2147483647 w 894"/>
                    <a:gd name="T89" fmla="*/ 2147483647 h 1056"/>
                    <a:gd name="T90" fmla="*/ 2147483647 w 894"/>
                    <a:gd name="T91" fmla="*/ 2147483647 h 1056"/>
                    <a:gd name="T92" fmla="*/ 2147483647 w 894"/>
                    <a:gd name="T93" fmla="*/ 2147483647 h 1056"/>
                    <a:gd name="T94" fmla="*/ 2147483647 w 894"/>
                    <a:gd name="T95" fmla="*/ 2147483647 h 1056"/>
                    <a:gd name="T96" fmla="*/ 2147483647 w 894"/>
                    <a:gd name="T97" fmla="*/ 2147483647 h 1056"/>
                    <a:gd name="T98" fmla="*/ 2147483647 w 894"/>
                    <a:gd name="T99" fmla="*/ 2147483647 h 1056"/>
                    <a:gd name="T100" fmla="*/ 2147483647 w 894"/>
                    <a:gd name="T101" fmla="*/ 2147483647 h 105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894"/>
                    <a:gd name="T154" fmla="*/ 0 h 1056"/>
                    <a:gd name="T155" fmla="*/ 894 w 894"/>
                    <a:gd name="T156" fmla="*/ 1056 h 105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894" h="1056">
                      <a:moveTo>
                        <a:pt x="882" y="744"/>
                      </a:moveTo>
                      <a:lnTo>
                        <a:pt x="882" y="738"/>
                      </a:lnTo>
                      <a:lnTo>
                        <a:pt x="888" y="732"/>
                      </a:lnTo>
                      <a:lnTo>
                        <a:pt x="888" y="708"/>
                      </a:lnTo>
                      <a:lnTo>
                        <a:pt x="894" y="696"/>
                      </a:lnTo>
                      <a:lnTo>
                        <a:pt x="894" y="684"/>
                      </a:lnTo>
                      <a:lnTo>
                        <a:pt x="882" y="648"/>
                      </a:lnTo>
                      <a:lnTo>
                        <a:pt x="876" y="636"/>
                      </a:lnTo>
                      <a:lnTo>
                        <a:pt x="864" y="624"/>
                      </a:lnTo>
                      <a:lnTo>
                        <a:pt x="840" y="612"/>
                      </a:lnTo>
                      <a:lnTo>
                        <a:pt x="834" y="606"/>
                      </a:lnTo>
                      <a:lnTo>
                        <a:pt x="822" y="600"/>
                      </a:lnTo>
                      <a:lnTo>
                        <a:pt x="816" y="588"/>
                      </a:lnTo>
                      <a:lnTo>
                        <a:pt x="816" y="576"/>
                      </a:lnTo>
                      <a:lnTo>
                        <a:pt x="822" y="558"/>
                      </a:lnTo>
                      <a:lnTo>
                        <a:pt x="822" y="546"/>
                      </a:lnTo>
                      <a:lnTo>
                        <a:pt x="828" y="540"/>
                      </a:lnTo>
                      <a:lnTo>
                        <a:pt x="828" y="534"/>
                      </a:lnTo>
                      <a:lnTo>
                        <a:pt x="768" y="534"/>
                      </a:lnTo>
                      <a:lnTo>
                        <a:pt x="720" y="528"/>
                      </a:lnTo>
                      <a:lnTo>
                        <a:pt x="690" y="522"/>
                      </a:lnTo>
                      <a:lnTo>
                        <a:pt x="684" y="516"/>
                      </a:lnTo>
                      <a:lnTo>
                        <a:pt x="684" y="474"/>
                      </a:lnTo>
                      <a:lnTo>
                        <a:pt x="690" y="462"/>
                      </a:lnTo>
                      <a:lnTo>
                        <a:pt x="684" y="456"/>
                      </a:lnTo>
                      <a:lnTo>
                        <a:pt x="672" y="450"/>
                      </a:lnTo>
                      <a:lnTo>
                        <a:pt x="666" y="438"/>
                      </a:lnTo>
                      <a:lnTo>
                        <a:pt x="660" y="432"/>
                      </a:lnTo>
                      <a:lnTo>
                        <a:pt x="660" y="426"/>
                      </a:lnTo>
                      <a:lnTo>
                        <a:pt x="678" y="426"/>
                      </a:lnTo>
                      <a:lnTo>
                        <a:pt x="678" y="396"/>
                      </a:lnTo>
                      <a:lnTo>
                        <a:pt x="672" y="384"/>
                      </a:lnTo>
                      <a:lnTo>
                        <a:pt x="666" y="378"/>
                      </a:lnTo>
                      <a:lnTo>
                        <a:pt x="660" y="366"/>
                      </a:lnTo>
                      <a:lnTo>
                        <a:pt x="660" y="336"/>
                      </a:lnTo>
                      <a:lnTo>
                        <a:pt x="654" y="330"/>
                      </a:lnTo>
                      <a:lnTo>
                        <a:pt x="648" y="318"/>
                      </a:lnTo>
                      <a:lnTo>
                        <a:pt x="624" y="306"/>
                      </a:lnTo>
                      <a:lnTo>
                        <a:pt x="564" y="306"/>
                      </a:lnTo>
                      <a:lnTo>
                        <a:pt x="558" y="300"/>
                      </a:lnTo>
                      <a:lnTo>
                        <a:pt x="546" y="294"/>
                      </a:lnTo>
                      <a:lnTo>
                        <a:pt x="534" y="282"/>
                      </a:lnTo>
                      <a:lnTo>
                        <a:pt x="534" y="276"/>
                      </a:lnTo>
                      <a:lnTo>
                        <a:pt x="510" y="276"/>
                      </a:lnTo>
                      <a:lnTo>
                        <a:pt x="498" y="270"/>
                      </a:lnTo>
                      <a:lnTo>
                        <a:pt x="486" y="258"/>
                      </a:lnTo>
                      <a:lnTo>
                        <a:pt x="474" y="252"/>
                      </a:lnTo>
                      <a:lnTo>
                        <a:pt x="468" y="240"/>
                      </a:lnTo>
                      <a:lnTo>
                        <a:pt x="468" y="234"/>
                      </a:lnTo>
                      <a:lnTo>
                        <a:pt x="456" y="234"/>
                      </a:lnTo>
                      <a:lnTo>
                        <a:pt x="450" y="240"/>
                      </a:lnTo>
                      <a:lnTo>
                        <a:pt x="438" y="240"/>
                      </a:lnTo>
                      <a:lnTo>
                        <a:pt x="426" y="234"/>
                      </a:lnTo>
                      <a:lnTo>
                        <a:pt x="420" y="222"/>
                      </a:lnTo>
                      <a:lnTo>
                        <a:pt x="414" y="228"/>
                      </a:lnTo>
                      <a:lnTo>
                        <a:pt x="384" y="228"/>
                      </a:lnTo>
                      <a:lnTo>
                        <a:pt x="372" y="222"/>
                      </a:lnTo>
                      <a:lnTo>
                        <a:pt x="366" y="216"/>
                      </a:lnTo>
                      <a:lnTo>
                        <a:pt x="366" y="210"/>
                      </a:lnTo>
                      <a:lnTo>
                        <a:pt x="360" y="198"/>
                      </a:lnTo>
                      <a:lnTo>
                        <a:pt x="360" y="192"/>
                      </a:lnTo>
                      <a:lnTo>
                        <a:pt x="354" y="186"/>
                      </a:lnTo>
                      <a:lnTo>
                        <a:pt x="330" y="186"/>
                      </a:lnTo>
                      <a:lnTo>
                        <a:pt x="324" y="156"/>
                      </a:lnTo>
                      <a:lnTo>
                        <a:pt x="318" y="150"/>
                      </a:lnTo>
                      <a:lnTo>
                        <a:pt x="306" y="144"/>
                      </a:lnTo>
                      <a:lnTo>
                        <a:pt x="294" y="132"/>
                      </a:lnTo>
                      <a:lnTo>
                        <a:pt x="294" y="120"/>
                      </a:lnTo>
                      <a:lnTo>
                        <a:pt x="300" y="114"/>
                      </a:lnTo>
                      <a:lnTo>
                        <a:pt x="300" y="96"/>
                      </a:lnTo>
                      <a:lnTo>
                        <a:pt x="294" y="84"/>
                      </a:lnTo>
                      <a:lnTo>
                        <a:pt x="288" y="78"/>
                      </a:lnTo>
                      <a:lnTo>
                        <a:pt x="288" y="48"/>
                      </a:lnTo>
                      <a:lnTo>
                        <a:pt x="294" y="42"/>
                      </a:lnTo>
                      <a:lnTo>
                        <a:pt x="294" y="36"/>
                      </a:lnTo>
                      <a:lnTo>
                        <a:pt x="300" y="30"/>
                      </a:lnTo>
                      <a:lnTo>
                        <a:pt x="300" y="0"/>
                      </a:lnTo>
                      <a:lnTo>
                        <a:pt x="288" y="0"/>
                      </a:lnTo>
                      <a:lnTo>
                        <a:pt x="276" y="6"/>
                      </a:lnTo>
                      <a:lnTo>
                        <a:pt x="276" y="12"/>
                      </a:lnTo>
                      <a:lnTo>
                        <a:pt x="270" y="12"/>
                      </a:lnTo>
                      <a:lnTo>
                        <a:pt x="258" y="0"/>
                      </a:lnTo>
                      <a:lnTo>
                        <a:pt x="246" y="12"/>
                      </a:lnTo>
                      <a:lnTo>
                        <a:pt x="210" y="12"/>
                      </a:lnTo>
                      <a:lnTo>
                        <a:pt x="198" y="18"/>
                      </a:lnTo>
                      <a:lnTo>
                        <a:pt x="192" y="24"/>
                      </a:lnTo>
                      <a:lnTo>
                        <a:pt x="186" y="36"/>
                      </a:lnTo>
                      <a:lnTo>
                        <a:pt x="180" y="42"/>
                      </a:lnTo>
                      <a:lnTo>
                        <a:pt x="180" y="48"/>
                      </a:lnTo>
                      <a:lnTo>
                        <a:pt x="144" y="48"/>
                      </a:lnTo>
                      <a:lnTo>
                        <a:pt x="138" y="78"/>
                      </a:lnTo>
                      <a:lnTo>
                        <a:pt x="102" y="78"/>
                      </a:lnTo>
                      <a:lnTo>
                        <a:pt x="90" y="96"/>
                      </a:lnTo>
                      <a:lnTo>
                        <a:pt x="84" y="102"/>
                      </a:lnTo>
                      <a:lnTo>
                        <a:pt x="60" y="114"/>
                      </a:lnTo>
                      <a:lnTo>
                        <a:pt x="42" y="114"/>
                      </a:lnTo>
                      <a:lnTo>
                        <a:pt x="42" y="108"/>
                      </a:lnTo>
                      <a:lnTo>
                        <a:pt x="36" y="102"/>
                      </a:lnTo>
                      <a:lnTo>
                        <a:pt x="12" y="102"/>
                      </a:lnTo>
                      <a:lnTo>
                        <a:pt x="0" y="96"/>
                      </a:lnTo>
                      <a:lnTo>
                        <a:pt x="0" y="114"/>
                      </a:lnTo>
                      <a:lnTo>
                        <a:pt x="6" y="132"/>
                      </a:lnTo>
                      <a:lnTo>
                        <a:pt x="18" y="144"/>
                      </a:lnTo>
                      <a:lnTo>
                        <a:pt x="30" y="162"/>
                      </a:lnTo>
                      <a:lnTo>
                        <a:pt x="42" y="174"/>
                      </a:lnTo>
                      <a:lnTo>
                        <a:pt x="54" y="192"/>
                      </a:lnTo>
                      <a:lnTo>
                        <a:pt x="66" y="216"/>
                      </a:lnTo>
                      <a:lnTo>
                        <a:pt x="66" y="228"/>
                      </a:lnTo>
                      <a:lnTo>
                        <a:pt x="60" y="234"/>
                      </a:lnTo>
                      <a:lnTo>
                        <a:pt x="54" y="246"/>
                      </a:lnTo>
                      <a:lnTo>
                        <a:pt x="48" y="252"/>
                      </a:lnTo>
                      <a:lnTo>
                        <a:pt x="60" y="300"/>
                      </a:lnTo>
                      <a:lnTo>
                        <a:pt x="42" y="330"/>
                      </a:lnTo>
                      <a:lnTo>
                        <a:pt x="48" y="330"/>
                      </a:lnTo>
                      <a:lnTo>
                        <a:pt x="60" y="342"/>
                      </a:lnTo>
                      <a:lnTo>
                        <a:pt x="66" y="354"/>
                      </a:lnTo>
                      <a:lnTo>
                        <a:pt x="66" y="360"/>
                      </a:lnTo>
                      <a:lnTo>
                        <a:pt x="60" y="372"/>
                      </a:lnTo>
                      <a:lnTo>
                        <a:pt x="48" y="384"/>
                      </a:lnTo>
                      <a:lnTo>
                        <a:pt x="36" y="408"/>
                      </a:lnTo>
                      <a:lnTo>
                        <a:pt x="42" y="426"/>
                      </a:lnTo>
                      <a:lnTo>
                        <a:pt x="48" y="438"/>
                      </a:lnTo>
                      <a:lnTo>
                        <a:pt x="54" y="444"/>
                      </a:lnTo>
                      <a:lnTo>
                        <a:pt x="54" y="450"/>
                      </a:lnTo>
                      <a:lnTo>
                        <a:pt x="42" y="468"/>
                      </a:lnTo>
                      <a:lnTo>
                        <a:pt x="54" y="480"/>
                      </a:lnTo>
                      <a:lnTo>
                        <a:pt x="78" y="498"/>
                      </a:lnTo>
                      <a:lnTo>
                        <a:pt x="78" y="516"/>
                      </a:lnTo>
                      <a:lnTo>
                        <a:pt x="102" y="528"/>
                      </a:lnTo>
                      <a:lnTo>
                        <a:pt x="90" y="558"/>
                      </a:lnTo>
                      <a:lnTo>
                        <a:pt x="78" y="546"/>
                      </a:lnTo>
                      <a:lnTo>
                        <a:pt x="78" y="558"/>
                      </a:lnTo>
                      <a:lnTo>
                        <a:pt x="66" y="582"/>
                      </a:lnTo>
                      <a:lnTo>
                        <a:pt x="54" y="588"/>
                      </a:lnTo>
                      <a:lnTo>
                        <a:pt x="36" y="606"/>
                      </a:lnTo>
                      <a:lnTo>
                        <a:pt x="48" y="630"/>
                      </a:lnTo>
                      <a:lnTo>
                        <a:pt x="42" y="636"/>
                      </a:lnTo>
                      <a:lnTo>
                        <a:pt x="60" y="666"/>
                      </a:lnTo>
                      <a:lnTo>
                        <a:pt x="84" y="666"/>
                      </a:lnTo>
                      <a:lnTo>
                        <a:pt x="96" y="744"/>
                      </a:lnTo>
                      <a:lnTo>
                        <a:pt x="108" y="750"/>
                      </a:lnTo>
                      <a:lnTo>
                        <a:pt x="114" y="750"/>
                      </a:lnTo>
                      <a:lnTo>
                        <a:pt x="138" y="762"/>
                      </a:lnTo>
                      <a:lnTo>
                        <a:pt x="144" y="774"/>
                      </a:lnTo>
                      <a:lnTo>
                        <a:pt x="144" y="780"/>
                      </a:lnTo>
                      <a:lnTo>
                        <a:pt x="138" y="792"/>
                      </a:lnTo>
                      <a:lnTo>
                        <a:pt x="126" y="804"/>
                      </a:lnTo>
                      <a:lnTo>
                        <a:pt x="144" y="822"/>
                      </a:lnTo>
                      <a:lnTo>
                        <a:pt x="138" y="828"/>
                      </a:lnTo>
                      <a:lnTo>
                        <a:pt x="132" y="840"/>
                      </a:lnTo>
                      <a:lnTo>
                        <a:pt x="126" y="846"/>
                      </a:lnTo>
                      <a:lnTo>
                        <a:pt x="126" y="858"/>
                      </a:lnTo>
                      <a:lnTo>
                        <a:pt x="132" y="870"/>
                      </a:lnTo>
                      <a:lnTo>
                        <a:pt x="138" y="876"/>
                      </a:lnTo>
                      <a:lnTo>
                        <a:pt x="138" y="900"/>
                      </a:lnTo>
                      <a:lnTo>
                        <a:pt x="144" y="900"/>
                      </a:lnTo>
                      <a:lnTo>
                        <a:pt x="150" y="906"/>
                      </a:lnTo>
                      <a:lnTo>
                        <a:pt x="162" y="912"/>
                      </a:lnTo>
                      <a:lnTo>
                        <a:pt x="168" y="918"/>
                      </a:lnTo>
                      <a:lnTo>
                        <a:pt x="180" y="924"/>
                      </a:lnTo>
                      <a:lnTo>
                        <a:pt x="186" y="930"/>
                      </a:lnTo>
                      <a:lnTo>
                        <a:pt x="186" y="996"/>
                      </a:lnTo>
                      <a:lnTo>
                        <a:pt x="210" y="1020"/>
                      </a:lnTo>
                      <a:lnTo>
                        <a:pt x="210" y="1044"/>
                      </a:lnTo>
                      <a:lnTo>
                        <a:pt x="216" y="1056"/>
                      </a:lnTo>
                      <a:lnTo>
                        <a:pt x="270" y="1056"/>
                      </a:lnTo>
                      <a:lnTo>
                        <a:pt x="270" y="1026"/>
                      </a:lnTo>
                      <a:lnTo>
                        <a:pt x="282" y="1026"/>
                      </a:lnTo>
                      <a:lnTo>
                        <a:pt x="282" y="1008"/>
                      </a:lnTo>
                      <a:lnTo>
                        <a:pt x="306" y="1002"/>
                      </a:lnTo>
                      <a:lnTo>
                        <a:pt x="318" y="978"/>
                      </a:lnTo>
                      <a:lnTo>
                        <a:pt x="324" y="984"/>
                      </a:lnTo>
                      <a:lnTo>
                        <a:pt x="348" y="996"/>
                      </a:lnTo>
                      <a:lnTo>
                        <a:pt x="360" y="996"/>
                      </a:lnTo>
                      <a:lnTo>
                        <a:pt x="378" y="1002"/>
                      </a:lnTo>
                      <a:lnTo>
                        <a:pt x="432" y="1002"/>
                      </a:lnTo>
                      <a:lnTo>
                        <a:pt x="462" y="1050"/>
                      </a:lnTo>
                      <a:lnTo>
                        <a:pt x="474" y="996"/>
                      </a:lnTo>
                      <a:lnTo>
                        <a:pt x="546" y="990"/>
                      </a:lnTo>
                      <a:lnTo>
                        <a:pt x="582" y="1014"/>
                      </a:lnTo>
                      <a:lnTo>
                        <a:pt x="582" y="996"/>
                      </a:lnTo>
                      <a:lnTo>
                        <a:pt x="594" y="924"/>
                      </a:lnTo>
                      <a:lnTo>
                        <a:pt x="594" y="900"/>
                      </a:lnTo>
                      <a:lnTo>
                        <a:pt x="588" y="894"/>
                      </a:lnTo>
                      <a:lnTo>
                        <a:pt x="588" y="888"/>
                      </a:lnTo>
                      <a:lnTo>
                        <a:pt x="576" y="864"/>
                      </a:lnTo>
                      <a:lnTo>
                        <a:pt x="576" y="852"/>
                      </a:lnTo>
                      <a:lnTo>
                        <a:pt x="582" y="846"/>
                      </a:lnTo>
                      <a:lnTo>
                        <a:pt x="594" y="840"/>
                      </a:lnTo>
                      <a:lnTo>
                        <a:pt x="606" y="828"/>
                      </a:lnTo>
                      <a:lnTo>
                        <a:pt x="612" y="798"/>
                      </a:lnTo>
                      <a:lnTo>
                        <a:pt x="714" y="780"/>
                      </a:lnTo>
                      <a:lnTo>
                        <a:pt x="792" y="768"/>
                      </a:lnTo>
                      <a:lnTo>
                        <a:pt x="846" y="810"/>
                      </a:lnTo>
                      <a:lnTo>
                        <a:pt x="864" y="846"/>
                      </a:lnTo>
                      <a:lnTo>
                        <a:pt x="864" y="840"/>
                      </a:lnTo>
                      <a:lnTo>
                        <a:pt x="870" y="834"/>
                      </a:lnTo>
                      <a:lnTo>
                        <a:pt x="882" y="828"/>
                      </a:lnTo>
                      <a:lnTo>
                        <a:pt x="888" y="822"/>
                      </a:lnTo>
                      <a:lnTo>
                        <a:pt x="876" y="816"/>
                      </a:lnTo>
                      <a:lnTo>
                        <a:pt x="870" y="810"/>
                      </a:lnTo>
                      <a:lnTo>
                        <a:pt x="870" y="786"/>
                      </a:lnTo>
                      <a:lnTo>
                        <a:pt x="876" y="774"/>
                      </a:lnTo>
                      <a:lnTo>
                        <a:pt x="882" y="768"/>
                      </a:lnTo>
                      <a:lnTo>
                        <a:pt x="888" y="756"/>
                      </a:lnTo>
                      <a:lnTo>
                        <a:pt x="882" y="744"/>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675" name="Bhutan"/>
                <p:cNvSpPr>
                  <a:spLocks/>
                </p:cNvSpPr>
                <p:nvPr/>
              </p:nvSpPr>
              <p:spPr bwMode="gray">
                <a:xfrm>
                  <a:off x="4223" y="1726"/>
                  <a:ext cx="60" cy="34"/>
                </a:xfrm>
                <a:custGeom>
                  <a:avLst/>
                  <a:gdLst>
                    <a:gd name="T0" fmla="*/ 2147483647 w 234"/>
                    <a:gd name="T1" fmla="*/ 2147483647 h 132"/>
                    <a:gd name="T2" fmla="*/ 2147483647 w 234"/>
                    <a:gd name="T3" fmla="*/ 2147483647 h 132"/>
                    <a:gd name="T4" fmla="*/ 2147483647 w 234"/>
                    <a:gd name="T5" fmla="*/ 2147483647 h 132"/>
                    <a:gd name="T6" fmla="*/ 2147483647 w 234"/>
                    <a:gd name="T7" fmla="*/ 2147483647 h 132"/>
                    <a:gd name="T8" fmla="*/ 2147483647 w 234"/>
                    <a:gd name="T9" fmla="*/ 2147483647 h 132"/>
                    <a:gd name="T10" fmla="*/ 2147483647 w 234"/>
                    <a:gd name="T11" fmla="*/ 2147483647 h 132"/>
                    <a:gd name="T12" fmla="*/ 2147483647 w 234"/>
                    <a:gd name="T13" fmla="*/ 2147483647 h 132"/>
                    <a:gd name="T14" fmla="*/ 2147483647 w 234"/>
                    <a:gd name="T15" fmla="*/ 2147483647 h 132"/>
                    <a:gd name="T16" fmla="*/ 2147483647 w 234"/>
                    <a:gd name="T17" fmla="*/ 2147483647 h 132"/>
                    <a:gd name="T18" fmla="*/ 2147483647 w 234"/>
                    <a:gd name="T19" fmla="*/ 2147483647 h 132"/>
                    <a:gd name="T20" fmla="*/ 2147483647 w 234"/>
                    <a:gd name="T21" fmla="*/ 2147483647 h 132"/>
                    <a:gd name="T22" fmla="*/ 2147483647 w 234"/>
                    <a:gd name="T23" fmla="*/ 2147483647 h 132"/>
                    <a:gd name="T24" fmla="*/ 2147483647 w 234"/>
                    <a:gd name="T25" fmla="*/ 2147483647 h 132"/>
                    <a:gd name="T26" fmla="*/ 2147483647 w 234"/>
                    <a:gd name="T27" fmla="*/ 2147483647 h 132"/>
                    <a:gd name="T28" fmla="*/ 2147483647 w 234"/>
                    <a:gd name="T29" fmla="*/ 2147483647 h 132"/>
                    <a:gd name="T30" fmla="*/ 2147483647 w 234"/>
                    <a:gd name="T31" fmla="*/ 2147483647 h 132"/>
                    <a:gd name="T32" fmla="*/ 2147483647 w 234"/>
                    <a:gd name="T33" fmla="*/ 2147483647 h 132"/>
                    <a:gd name="T34" fmla="*/ 2147483647 w 234"/>
                    <a:gd name="T35" fmla="*/ 2147483647 h 132"/>
                    <a:gd name="T36" fmla="*/ 2147483647 w 234"/>
                    <a:gd name="T37" fmla="*/ 2147483647 h 132"/>
                    <a:gd name="T38" fmla="*/ 2147483647 w 234"/>
                    <a:gd name="T39" fmla="*/ 2147483647 h 132"/>
                    <a:gd name="T40" fmla="*/ 2147483647 w 234"/>
                    <a:gd name="T41" fmla="*/ 2147483647 h 132"/>
                    <a:gd name="T42" fmla="*/ 2147483647 w 234"/>
                    <a:gd name="T43" fmla="*/ 2147483647 h 132"/>
                    <a:gd name="T44" fmla="*/ 2147483647 w 234"/>
                    <a:gd name="T45" fmla="*/ 2147483647 h 132"/>
                    <a:gd name="T46" fmla="*/ 2147483647 w 234"/>
                    <a:gd name="T47" fmla="*/ 2147483647 h 132"/>
                    <a:gd name="T48" fmla="*/ 2147483647 w 234"/>
                    <a:gd name="T49" fmla="*/ 2147483647 h 132"/>
                    <a:gd name="T50" fmla="*/ 2147483647 w 234"/>
                    <a:gd name="T51" fmla="*/ 2147483647 h 132"/>
                    <a:gd name="T52" fmla="*/ 2147483647 w 234"/>
                    <a:gd name="T53" fmla="*/ 2147483647 h 132"/>
                    <a:gd name="T54" fmla="*/ 2147483647 w 234"/>
                    <a:gd name="T55" fmla="*/ 2147483647 h 132"/>
                    <a:gd name="T56" fmla="*/ 2147483647 w 234"/>
                    <a:gd name="T57" fmla="*/ 2147483647 h 132"/>
                    <a:gd name="T58" fmla="*/ 2147483647 w 234"/>
                    <a:gd name="T59" fmla="*/ 0 h 132"/>
                    <a:gd name="T60" fmla="*/ 2147483647 w 234"/>
                    <a:gd name="T61" fmla="*/ 0 h 132"/>
                    <a:gd name="T62" fmla="*/ 2147483647 w 234"/>
                    <a:gd name="T63" fmla="*/ 2147483647 h 132"/>
                    <a:gd name="T64" fmla="*/ 2147483647 w 234"/>
                    <a:gd name="T65" fmla="*/ 2147483647 h 132"/>
                    <a:gd name="T66" fmla="*/ 2147483647 w 234"/>
                    <a:gd name="T67" fmla="*/ 2147483647 h 132"/>
                    <a:gd name="T68" fmla="*/ 2147483647 w 234"/>
                    <a:gd name="T69" fmla="*/ 2147483647 h 132"/>
                    <a:gd name="T70" fmla="*/ 2147483647 w 234"/>
                    <a:gd name="T71" fmla="*/ 2147483647 h 132"/>
                    <a:gd name="T72" fmla="*/ 2147483647 w 234"/>
                    <a:gd name="T73" fmla="*/ 2147483647 h 132"/>
                    <a:gd name="T74" fmla="*/ 2147483647 w 234"/>
                    <a:gd name="T75" fmla="*/ 2147483647 h 132"/>
                    <a:gd name="T76" fmla="*/ 0 w 234"/>
                    <a:gd name="T77" fmla="*/ 2147483647 h 132"/>
                    <a:gd name="T78" fmla="*/ 0 w 234"/>
                    <a:gd name="T79" fmla="*/ 2147483647 h 132"/>
                    <a:gd name="T80" fmla="*/ 2147483647 w 234"/>
                    <a:gd name="T81" fmla="*/ 2147483647 h 132"/>
                    <a:gd name="T82" fmla="*/ 2147483647 w 234"/>
                    <a:gd name="T83" fmla="*/ 2147483647 h 132"/>
                    <a:gd name="T84" fmla="*/ 2147483647 w 234"/>
                    <a:gd name="T85" fmla="*/ 2147483647 h 132"/>
                    <a:gd name="T86" fmla="*/ 2147483647 w 234"/>
                    <a:gd name="T87" fmla="*/ 2147483647 h 132"/>
                    <a:gd name="T88" fmla="*/ 2147483647 w 234"/>
                    <a:gd name="T89" fmla="*/ 2147483647 h 132"/>
                    <a:gd name="T90" fmla="*/ 2147483647 w 234"/>
                    <a:gd name="T91" fmla="*/ 2147483647 h 132"/>
                    <a:gd name="T92" fmla="*/ 2147483647 w 234"/>
                    <a:gd name="T93" fmla="*/ 2147483647 h 13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34"/>
                    <a:gd name="T142" fmla="*/ 0 h 132"/>
                    <a:gd name="T143" fmla="*/ 234 w 234"/>
                    <a:gd name="T144" fmla="*/ 132 h 13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34" h="132">
                      <a:moveTo>
                        <a:pt x="78" y="132"/>
                      </a:moveTo>
                      <a:lnTo>
                        <a:pt x="90" y="132"/>
                      </a:lnTo>
                      <a:lnTo>
                        <a:pt x="102" y="126"/>
                      </a:lnTo>
                      <a:lnTo>
                        <a:pt x="108" y="120"/>
                      </a:lnTo>
                      <a:lnTo>
                        <a:pt x="126" y="120"/>
                      </a:lnTo>
                      <a:lnTo>
                        <a:pt x="138" y="126"/>
                      </a:lnTo>
                      <a:lnTo>
                        <a:pt x="168" y="126"/>
                      </a:lnTo>
                      <a:lnTo>
                        <a:pt x="180" y="120"/>
                      </a:lnTo>
                      <a:lnTo>
                        <a:pt x="192" y="120"/>
                      </a:lnTo>
                      <a:lnTo>
                        <a:pt x="198" y="126"/>
                      </a:lnTo>
                      <a:lnTo>
                        <a:pt x="210" y="126"/>
                      </a:lnTo>
                      <a:lnTo>
                        <a:pt x="234" y="114"/>
                      </a:lnTo>
                      <a:lnTo>
                        <a:pt x="234" y="108"/>
                      </a:lnTo>
                      <a:lnTo>
                        <a:pt x="222" y="96"/>
                      </a:lnTo>
                      <a:lnTo>
                        <a:pt x="222" y="72"/>
                      </a:lnTo>
                      <a:lnTo>
                        <a:pt x="198" y="72"/>
                      </a:lnTo>
                      <a:lnTo>
                        <a:pt x="192" y="66"/>
                      </a:lnTo>
                      <a:lnTo>
                        <a:pt x="192" y="42"/>
                      </a:lnTo>
                      <a:lnTo>
                        <a:pt x="186" y="30"/>
                      </a:lnTo>
                      <a:lnTo>
                        <a:pt x="174" y="18"/>
                      </a:lnTo>
                      <a:lnTo>
                        <a:pt x="162" y="12"/>
                      </a:lnTo>
                      <a:lnTo>
                        <a:pt x="150" y="12"/>
                      </a:lnTo>
                      <a:lnTo>
                        <a:pt x="138" y="18"/>
                      </a:lnTo>
                      <a:lnTo>
                        <a:pt x="126" y="18"/>
                      </a:lnTo>
                      <a:lnTo>
                        <a:pt x="114" y="24"/>
                      </a:lnTo>
                      <a:lnTo>
                        <a:pt x="108" y="30"/>
                      </a:lnTo>
                      <a:lnTo>
                        <a:pt x="102" y="30"/>
                      </a:lnTo>
                      <a:lnTo>
                        <a:pt x="102" y="6"/>
                      </a:lnTo>
                      <a:lnTo>
                        <a:pt x="78" y="6"/>
                      </a:lnTo>
                      <a:lnTo>
                        <a:pt x="66" y="0"/>
                      </a:lnTo>
                      <a:lnTo>
                        <a:pt x="54" y="0"/>
                      </a:lnTo>
                      <a:lnTo>
                        <a:pt x="48" y="12"/>
                      </a:lnTo>
                      <a:lnTo>
                        <a:pt x="36" y="24"/>
                      </a:lnTo>
                      <a:lnTo>
                        <a:pt x="30" y="36"/>
                      </a:lnTo>
                      <a:lnTo>
                        <a:pt x="18" y="54"/>
                      </a:lnTo>
                      <a:lnTo>
                        <a:pt x="12" y="66"/>
                      </a:lnTo>
                      <a:lnTo>
                        <a:pt x="6" y="72"/>
                      </a:lnTo>
                      <a:lnTo>
                        <a:pt x="6" y="78"/>
                      </a:lnTo>
                      <a:lnTo>
                        <a:pt x="0" y="78"/>
                      </a:lnTo>
                      <a:lnTo>
                        <a:pt x="0" y="90"/>
                      </a:lnTo>
                      <a:lnTo>
                        <a:pt x="18" y="108"/>
                      </a:lnTo>
                      <a:lnTo>
                        <a:pt x="42" y="120"/>
                      </a:lnTo>
                      <a:lnTo>
                        <a:pt x="54" y="120"/>
                      </a:lnTo>
                      <a:lnTo>
                        <a:pt x="54" y="114"/>
                      </a:lnTo>
                      <a:lnTo>
                        <a:pt x="54" y="120"/>
                      </a:lnTo>
                      <a:lnTo>
                        <a:pt x="66" y="132"/>
                      </a:lnTo>
                      <a:lnTo>
                        <a:pt x="78" y="132"/>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676" name="Benin"/>
                <p:cNvSpPr>
                  <a:spLocks/>
                </p:cNvSpPr>
                <p:nvPr/>
              </p:nvSpPr>
              <p:spPr bwMode="gray">
                <a:xfrm>
                  <a:off x="2667" y="2055"/>
                  <a:ext cx="57" cy="127"/>
                </a:xfrm>
                <a:custGeom>
                  <a:avLst/>
                  <a:gdLst>
                    <a:gd name="T0" fmla="*/ 2147483647 w 222"/>
                    <a:gd name="T1" fmla="*/ 2147483647 h 498"/>
                    <a:gd name="T2" fmla="*/ 2147483647 w 222"/>
                    <a:gd name="T3" fmla="*/ 2147483647 h 498"/>
                    <a:gd name="T4" fmla="*/ 2147483647 w 222"/>
                    <a:gd name="T5" fmla="*/ 2147483647 h 498"/>
                    <a:gd name="T6" fmla="*/ 2147483647 w 222"/>
                    <a:gd name="T7" fmla="*/ 2147483647 h 498"/>
                    <a:gd name="T8" fmla="*/ 2147483647 w 222"/>
                    <a:gd name="T9" fmla="*/ 2147483647 h 498"/>
                    <a:gd name="T10" fmla="*/ 2147483647 w 222"/>
                    <a:gd name="T11" fmla="*/ 2147483647 h 498"/>
                    <a:gd name="T12" fmla="*/ 2147483647 w 222"/>
                    <a:gd name="T13" fmla="*/ 2147483647 h 498"/>
                    <a:gd name="T14" fmla="*/ 2147483647 w 222"/>
                    <a:gd name="T15" fmla="*/ 2147483647 h 498"/>
                    <a:gd name="T16" fmla="*/ 2147483647 w 222"/>
                    <a:gd name="T17" fmla="*/ 2147483647 h 498"/>
                    <a:gd name="T18" fmla="*/ 2147483647 w 222"/>
                    <a:gd name="T19" fmla="*/ 2147483647 h 498"/>
                    <a:gd name="T20" fmla="*/ 2147483647 w 222"/>
                    <a:gd name="T21" fmla="*/ 2147483647 h 498"/>
                    <a:gd name="T22" fmla="*/ 2147483647 w 222"/>
                    <a:gd name="T23" fmla="*/ 2147483647 h 498"/>
                    <a:gd name="T24" fmla="*/ 2147483647 w 222"/>
                    <a:gd name="T25" fmla="*/ 2147483647 h 498"/>
                    <a:gd name="T26" fmla="*/ 2147483647 w 222"/>
                    <a:gd name="T27" fmla="*/ 2147483647 h 498"/>
                    <a:gd name="T28" fmla="*/ 2147483647 w 222"/>
                    <a:gd name="T29" fmla="*/ 2147483647 h 498"/>
                    <a:gd name="T30" fmla="*/ 2147483647 w 222"/>
                    <a:gd name="T31" fmla="*/ 2147483647 h 498"/>
                    <a:gd name="T32" fmla="*/ 2147483647 w 222"/>
                    <a:gd name="T33" fmla="*/ 2147483647 h 498"/>
                    <a:gd name="T34" fmla="*/ 2147483647 w 222"/>
                    <a:gd name="T35" fmla="*/ 2147483647 h 498"/>
                    <a:gd name="T36" fmla="*/ 2147483647 w 222"/>
                    <a:gd name="T37" fmla="*/ 2147483647 h 498"/>
                    <a:gd name="T38" fmla="*/ 2147483647 w 222"/>
                    <a:gd name="T39" fmla="*/ 2147483647 h 498"/>
                    <a:gd name="T40" fmla="*/ 2147483647 w 222"/>
                    <a:gd name="T41" fmla="*/ 2147483647 h 498"/>
                    <a:gd name="T42" fmla="*/ 2147483647 w 222"/>
                    <a:gd name="T43" fmla="*/ 2147483647 h 498"/>
                    <a:gd name="T44" fmla="*/ 2147483647 w 222"/>
                    <a:gd name="T45" fmla="*/ 2147483647 h 498"/>
                    <a:gd name="T46" fmla="*/ 0 w 222"/>
                    <a:gd name="T47" fmla="*/ 2147483647 h 498"/>
                    <a:gd name="T48" fmla="*/ 2147483647 w 222"/>
                    <a:gd name="T49" fmla="*/ 2147483647 h 498"/>
                    <a:gd name="T50" fmla="*/ 2147483647 w 222"/>
                    <a:gd name="T51" fmla="*/ 2147483647 h 498"/>
                    <a:gd name="T52" fmla="*/ 2147483647 w 222"/>
                    <a:gd name="T53" fmla="*/ 2147483647 h 498"/>
                    <a:gd name="T54" fmla="*/ 2147483647 w 222"/>
                    <a:gd name="T55" fmla="*/ 2147483647 h 498"/>
                    <a:gd name="T56" fmla="*/ 2147483647 w 222"/>
                    <a:gd name="T57" fmla="*/ 2147483647 h 498"/>
                    <a:gd name="T58" fmla="*/ 2147483647 w 222"/>
                    <a:gd name="T59" fmla="*/ 2147483647 h 498"/>
                    <a:gd name="T60" fmla="*/ 2147483647 w 222"/>
                    <a:gd name="T61" fmla="*/ 2147483647 h 498"/>
                    <a:gd name="T62" fmla="*/ 2147483647 w 222"/>
                    <a:gd name="T63" fmla="*/ 2147483647 h 498"/>
                    <a:gd name="T64" fmla="*/ 2147483647 w 222"/>
                    <a:gd name="T65" fmla="*/ 2147483647 h 498"/>
                    <a:gd name="T66" fmla="*/ 2147483647 w 222"/>
                    <a:gd name="T67" fmla="*/ 2147483647 h 498"/>
                    <a:gd name="T68" fmla="*/ 2147483647 w 222"/>
                    <a:gd name="T69" fmla="*/ 2147483647 h 49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22"/>
                    <a:gd name="T106" fmla="*/ 0 h 498"/>
                    <a:gd name="T107" fmla="*/ 222 w 222"/>
                    <a:gd name="T108" fmla="*/ 498 h 49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22" h="498">
                      <a:moveTo>
                        <a:pt x="138" y="372"/>
                      </a:moveTo>
                      <a:lnTo>
                        <a:pt x="144" y="342"/>
                      </a:lnTo>
                      <a:lnTo>
                        <a:pt x="138" y="306"/>
                      </a:lnTo>
                      <a:lnTo>
                        <a:pt x="144" y="276"/>
                      </a:lnTo>
                      <a:lnTo>
                        <a:pt x="162" y="276"/>
                      </a:lnTo>
                      <a:lnTo>
                        <a:pt x="174" y="252"/>
                      </a:lnTo>
                      <a:lnTo>
                        <a:pt x="174" y="222"/>
                      </a:lnTo>
                      <a:lnTo>
                        <a:pt x="180" y="216"/>
                      </a:lnTo>
                      <a:lnTo>
                        <a:pt x="186" y="204"/>
                      </a:lnTo>
                      <a:lnTo>
                        <a:pt x="198" y="198"/>
                      </a:lnTo>
                      <a:lnTo>
                        <a:pt x="198" y="156"/>
                      </a:lnTo>
                      <a:lnTo>
                        <a:pt x="210" y="150"/>
                      </a:lnTo>
                      <a:lnTo>
                        <a:pt x="216" y="150"/>
                      </a:lnTo>
                      <a:lnTo>
                        <a:pt x="222" y="144"/>
                      </a:lnTo>
                      <a:lnTo>
                        <a:pt x="222" y="132"/>
                      </a:lnTo>
                      <a:lnTo>
                        <a:pt x="216" y="126"/>
                      </a:lnTo>
                      <a:lnTo>
                        <a:pt x="216" y="114"/>
                      </a:lnTo>
                      <a:lnTo>
                        <a:pt x="210" y="102"/>
                      </a:lnTo>
                      <a:lnTo>
                        <a:pt x="204" y="96"/>
                      </a:lnTo>
                      <a:lnTo>
                        <a:pt x="192" y="72"/>
                      </a:lnTo>
                      <a:lnTo>
                        <a:pt x="198" y="66"/>
                      </a:lnTo>
                      <a:lnTo>
                        <a:pt x="198" y="60"/>
                      </a:lnTo>
                      <a:lnTo>
                        <a:pt x="204" y="48"/>
                      </a:lnTo>
                      <a:lnTo>
                        <a:pt x="198" y="42"/>
                      </a:lnTo>
                      <a:lnTo>
                        <a:pt x="186" y="36"/>
                      </a:lnTo>
                      <a:lnTo>
                        <a:pt x="180" y="36"/>
                      </a:lnTo>
                      <a:lnTo>
                        <a:pt x="174" y="30"/>
                      </a:lnTo>
                      <a:lnTo>
                        <a:pt x="168" y="30"/>
                      </a:lnTo>
                      <a:lnTo>
                        <a:pt x="162" y="24"/>
                      </a:lnTo>
                      <a:lnTo>
                        <a:pt x="156" y="12"/>
                      </a:lnTo>
                      <a:lnTo>
                        <a:pt x="144" y="0"/>
                      </a:lnTo>
                      <a:lnTo>
                        <a:pt x="114" y="12"/>
                      </a:lnTo>
                      <a:lnTo>
                        <a:pt x="114" y="36"/>
                      </a:lnTo>
                      <a:lnTo>
                        <a:pt x="120" y="36"/>
                      </a:lnTo>
                      <a:lnTo>
                        <a:pt x="114" y="42"/>
                      </a:lnTo>
                      <a:lnTo>
                        <a:pt x="108" y="60"/>
                      </a:lnTo>
                      <a:lnTo>
                        <a:pt x="96" y="60"/>
                      </a:lnTo>
                      <a:lnTo>
                        <a:pt x="90" y="66"/>
                      </a:lnTo>
                      <a:lnTo>
                        <a:pt x="84" y="66"/>
                      </a:lnTo>
                      <a:lnTo>
                        <a:pt x="84" y="78"/>
                      </a:lnTo>
                      <a:lnTo>
                        <a:pt x="78" y="72"/>
                      </a:lnTo>
                      <a:lnTo>
                        <a:pt x="48" y="72"/>
                      </a:lnTo>
                      <a:lnTo>
                        <a:pt x="30" y="90"/>
                      </a:lnTo>
                      <a:lnTo>
                        <a:pt x="24" y="102"/>
                      </a:lnTo>
                      <a:lnTo>
                        <a:pt x="12" y="102"/>
                      </a:lnTo>
                      <a:lnTo>
                        <a:pt x="6" y="114"/>
                      </a:lnTo>
                      <a:lnTo>
                        <a:pt x="0" y="132"/>
                      </a:lnTo>
                      <a:lnTo>
                        <a:pt x="0" y="162"/>
                      </a:lnTo>
                      <a:lnTo>
                        <a:pt x="12" y="168"/>
                      </a:lnTo>
                      <a:lnTo>
                        <a:pt x="42" y="198"/>
                      </a:lnTo>
                      <a:lnTo>
                        <a:pt x="42" y="240"/>
                      </a:lnTo>
                      <a:lnTo>
                        <a:pt x="54" y="252"/>
                      </a:lnTo>
                      <a:lnTo>
                        <a:pt x="60" y="264"/>
                      </a:lnTo>
                      <a:lnTo>
                        <a:pt x="60" y="294"/>
                      </a:lnTo>
                      <a:lnTo>
                        <a:pt x="66" y="306"/>
                      </a:lnTo>
                      <a:lnTo>
                        <a:pt x="54" y="318"/>
                      </a:lnTo>
                      <a:lnTo>
                        <a:pt x="54" y="378"/>
                      </a:lnTo>
                      <a:lnTo>
                        <a:pt x="66" y="390"/>
                      </a:lnTo>
                      <a:lnTo>
                        <a:pt x="54" y="396"/>
                      </a:lnTo>
                      <a:lnTo>
                        <a:pt x="60" y="462"/>
                      </a:lnTo>
                      <a:lnTo>
                        <a:pt x="60" y="468"/>
                      </a:lnTo>
                      <a:lnTo>
                        <a:pt x="72" y="480"/>
                      </a:lnTo>
                      <a:lnTo>
                        <a:pt x="72" y="492"/>
                      </a:lnTo>
                      <a:lnTo>
                        <a:pt x="84" y="492"/>
                      </a:lnTo>
                      <a:lnTo>
                        <a:pt x="96" y="498"/>
                      </a:lnTo>
                      <a:lnTo>
                        <a:pt x="108" y="498"/>
                      </a:lnTo>
                      <a:lnTo>
                        <a:pt x="120" y="474"/>
                      </a:lnTo>
                      <a:lnTo>
                        <a:pt x="126" y="480"/>
                      </a:lnTo>
                      <a:lnTo>
                        <a:pt x="138" y="486"/>
                      </a:lnTo>
                      <a:lnTo>
                        <a:pt x="138" y="372"/>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677" name="Belize"/>
                <p:cNvSpPr>
                  <a:spLocks/>
                </p:cNvSpPr>
                <p:nvPr/>
              </p:nvSpPr>
              <p:spPr bwMode="gray">
                <a:xfrm>
                  <a:off x="1047" y="1929"/>
                  <a:ext cx="28" cy="54"/>
                </a:xfrm>
                <a:custGeom>
                  <a:avLst/>
                  <a:gdLst>
                    <a:gd name="T0" fmla="*/ 2147483647 w 108"/>
                    <a:gd name="T1" fmla="*/ 2147483647 h 210"/>
                    <a:gd name="T2" fmla="*/ 2147483647 w 108"/>
                    <a:gd name="T3" fmla="*/ 2147483647 h 210"/>
                    <a:gd name="T4" fmla="*/ 2147483647 w 108"/>
                    <a:gd name="T5" fmla="*/ 2147483647 h 210"/>
                    <a:gd name="T6" fmla="*/ 2147483647 w 108"/>
                    <a:gd name="T7" fmla="*/ 2147483647 h 210"/>
                    <a:gd name="T8" fmla="*/ 2147483647 w 108"/>
                    <a:gd name="T9" fmla="*/ 2147483647 h 210"/>
                    <a:gd name="T10" fmla="*/ 2147483647 w 108"/>
                    <a:gd name="T11" fmla="*/ 0 h 210"/>
                    <a:gd name="T12" fmla="*/ 2147483647 w 108"/>
                    <a:gd name="T13" fmla="*/ 2147483647 h 210"/>
                    <a:gd name="T14" fmla="*/ 2147483647 w 108"/>
                    <a:gd name="T15" fmla="*/ 2147483647 h 210"/>
                    <a:gd name="T16" fmla="*/ 2147483647 w 108"/>
                    <a:gd name="T17" fmla="*/ 2147483647 h 210"/>
                    <a:gd name="T18" fmla="*/ 2147483647 w 108"/>
                    <a:gd name="T19" fmla="*/ 2147483647 h 210"/>
                    <a:gd name="T20" fmla="*/ 2147483647 w 108"/>
                    <a:gd name="T21" fmla="*/ 2147483647 h 210"/>
                    <a:gd name="T22" fmla="*/ 2147483647 w 108"/>
                    <a:gd name="T23" fmla="*/ 2147483647 h 210"/>
                    <a:gd name="T24" fmla="*/ 2147483647 w 108"/>
                    <a:gd name="T25" fmla="*/ 2147483647 h 210"/>
                    <a:gd name="T26" fmla="*/ 2147483647 w 108"/>
                    <a:gd name="T27" fmla="*/ 2147483647 h 210"/>
                    <a:gd name="T28" fmla="*/ 2147483647 w 108"/>
                    <a:gd name="T29" fmla="*/ 2147483647 h 210"/>
                    <a:gd name="T30" fmla="*/ 2147483647 w 108"/>
                    <a:gd name="T31" fmla="*/ 2147483647 h 210"/>
                    <a:gd name="T32" fmla="*/ 2147483647 w 108"/>
                    <a:gd name="T33" fmla="*/ 2147483647 h 210"/>
                    <a:gd name="T34" fmla="*/ 2147483647 w 108"/>
                    <a:gd name="T35" fmla="*/ 2147483647 h 210"/>
                    <a:gd name="T36" fmla="*/ 0 w 108"/>
                    <a:gd name="T37" fmla="*/ 2147483647 h 210"/>
                    <a:gd name="T38" fmla="*/ 2147483647 w 108"/>
                    <a:gd name="T39" fmla="*/ 2147483647 h 210"/>
                    <a:gd name="T40" fmla="*/ 2147483647 w 108"/>
                    <a:gd name="T41" fmla="*/ 2147483647 h 210"/>
                    <a:gd name="T42" fmla="*/ 2147483647 w 108"/>
                    <a:gd name="T43" fmla="*/ 2147483647 h 210"/>
                    <a:gd name="T44" fmla="*/ 2147483647 w 108"/>
                    <a:gd name="T45" fmla="*/ 2147483647 h 210"/>
                    <a:gd name="T46" fmla="*/ 2147483647 w 108"/>
                    <a:gd name="T47" fmla="*/ 2147483647 h 210"/>
                    <a:gd name="T48" fmla="*/ 2147483647 w 108"/>
                    <a:gd name="T49" fmla="*/ 2147483647 h 210"/>
                    <a:gd name="T50" fmla="*/ 2147483647 w 108"/>
                    <a:gd name="T51" fmla="*/ 2147483647 h 210"/>
                    <a:gd name="T52" fmla="*/ 2147483647 w 108"/>
                    <a:gd name="T53" fmla="*/ 2147483647 h 210"/>
                    <a:gd name="T54" fmla="*/ 2147483647 w 108"/>
                    <a:gd name="T55" fmla="*/ 2147483647 h 21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08"/>
                    <a:gd name="T85" fmla="*/ 0 h 210"/>
                    <a:gd name="T86" fmla="*/ 108 w 108"/>
                    <a:gd name="T87" fmla="*/ 210 h 21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08" h="210">
                      <a:moveTo>
                        <a:pt x="108" y="30"/>
                      </a:moveTo>
                      <a:lnTo>
                        <a:pt x="108" y="24"/>
                      </a:lnTo>
                      <a:lnTo>
                        <a:pt x="102" y="24"/>
                      </a:lnTo>
                      <a:lnTo>
                        <a:pt x="90" y="18"/>
                      </a:lnTo>
                      <a:lnTo>
                        <a:pt x="84" y="12"/>
                      </a:lnTo>
                      <a:lnTo>
                        <a:pt x="78" y="0"/>
                      </a:lnTo>
                      <a:lnTo>
                        <a:pt x="78" y="6"/>
                      </a:lnTo>
                      <a:lnTo>
                        <a:pt x="72" y="12"/>
                      </a:lnTo>
                      <a:lnTo>
                        <a:pt x="72" y="24"/>
                      </a:lnTo>
                      <a:lnTo>
                        <a:pt x="66" y="36"/>
                      </a:lnTo>
                      <a:lnTo>
                        <a:pt x="54" y="42"/>
                      </a:lnTo>
                      <a:lnTo>
                        <a:pt x="48" y="48"/>
                      </a:lnTo>
                      <a:lnTo>
                        <a:pt x="42" y="48"/>
                      </a:lnTo>
                      <a:lnTo>
                        <a:pt x="42" y="42"/>
                      </a:lnTo>
                      <a:lnTo>
                        <a:pt x="36" y="36"/>
                      </a:lnTo>
                      <a:lnTo>
                        <a:pt x="30" y="36"/>
                      </a:lnTo>
                      <a:lnTo>
                        <a:pt x="30" y="42"/>
                      </a:lnTo>
                      <a:lnTo>
                        <a:pt x="24" y="54"/>
                      </a:lnTo>
                      <a:lnTo>
                        <a:pt x="0" y="210"/>
                      </a:lnTo>
                      <a:lnTo>
                        <a:pt x="30" y="210"/>
                      </a:lnTo>
                      <a:lnTo>
                        <a:pt x="42" y="168"/>
                      </a:lnTo>
                      <a:lnTo>
                        <a:pt x="60" y="174"/>
                      </a:lnTo>
                      <a:lnTo>
                        <a:pt x="84" y="150"/>
                      </a:lnTo>
                      <a:lnTo>
                        <a:pt x="84" y="90"/>
                      </a:lnTo>
                      <a:lnTo>
                        <a:pt x="90" y="78"/>
                      </a:lnTo>
                      <a:lnTo>
                        <a:pt x="96" y="60"/>
                      </a:lnTo>
                      <a:lnTo>
                        <a:pt x="108" y="36"/>
                      </a:lnTo>
                      <a:lnTo>
                        <a:pt x="108" y="3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678" name="Belgium"/>
                <p:cNvSpPr>
                  <a:spLocks/>
                </p:cNvSpPr>
                <p:nvPr/>
              </p:nvSpPr>
              <p:spPr bwMode="gray">
                <a:xfrm>
                  <a:off x="2721" y="1255"/>
                  <a:ext cx="57" cy="39"/>
                </a:xfrm>
                <a:custGeom>
                  <a:avLst/>
                  <a:gdLst>
                    <a:gd name="T0" fmla="*/ 0 w 222"/>
                    <a:gd name="T1" fmla="*/ 2147483647 h 150"/>
                    <a:gd name="T2" fmla="*/ 2147483647 w 222"/>
                    <a:gd name="T3" fmla="*/ 2147483647 h 150"/>
                    <a:gd name="T4" fmla="*/ 2147483647 w 222"/>
                    <a:gd name="T5" fmla="*/ 2147483647 h 150"/>
                    <a:gd name="T6" fmla="*/ 2147483647 w 222"/>
                    <a:gd name="T7" fmla="*/ 2147483647 h 150"/>
                    <a:gd name="T8" fmla="*/ 2147483647 w 222"/>
                    <a:gd name="T9" fmla="*/ 2147483647 h 150"/>
                    <a:gd name="T10" fmla="*/ 2147483647 w 222"/>
                    <a:gd name="T11" fmla="*/ 2147483647 h 150"/>
                    <a:gd name="T12" fmla="*/ 2147483647 w 222"/>
                    <a:gd name="T13" fmla="*/ 2147483647 h 150"/>
                    <a:gd name="T14" fmla="*/ 2147483647 w 222"/>
                    <a:gd name="T15" fmla="*/ 2147483647 h 150"/>
                    <a:gd name="T16" fmla="*/ 2147483647 w 222"/>
                    <a:gd name="T17" fmla="*/ 2147483647 h 150"/>
                    <a:gd name="T18" fmla="*/ 2147483647 w 222"/>
                    <a:gd name="T19" fmla="*/ 2147483647 h 150"/>
                    <a:gd name="T20" fmla="*/ 2147483647 w 222"/>
                    <a:gd name="T21" fmla="*/ 2147483647 h 150"/>
                    <a:gd name="T22" fmla="*/ 2147483647 w 222"/>
                    <a:gd name="T23" fmla="*/ 2147483647 h 150"/>
                    <a:gd name="T24" fmla="*/ 2147483647 w 222"/>
                    <a:gd name="T25" fmla="*/ 2147483647 h 150"/>
                    <a:gd name="T26" fmla="*/ 2147483647 w 222"/>
                    <a:gd name="T27" fmla="*/ 2147483647 h 150"/>
                    <a:gd name="T28" fmla="*/ 2147483647 w 222"/>
                    <a:gd name="T29" fmla="*/ 2147483647 h 150"/>
                    <a:gd name="T30" fmla="*/ 2147483647 w 222"/>
                    <a:gd name="T31" fmla="*/ 2147483647 h 150"/>
                    <a:gd name="T32" fmla="*/ 2147483647 w 222"/>
                    <a:gd name="T33" fmla="*/ 2147483647 h 150"/>
                    <a:gd name="T34" fmla="*/ 2147483647 w 222"/>
                    <a:gd name="T35" fmla="*/ 2147483647 h 150"/>
                    <a:gd name="T36" fmla="*/ 2147483647 w 222"/>
                    <a:gd name="T37" fmla="*/ 2147483647 h 150"/>
                    <a:gd name="T38" fmla="*/ 2147483647 w 222"/>
                    <a:gd name="T39" fmla="*/ 2147483647 h 150"/>
                    <a:gd name="T40" fmla="*/ 2147483647 w 222"/>
                    <a:gd name="T41" fmla="*/ 2147483647 h 150"/>
                    <a:gd name="T42" fmla="*/ 2147483647 w 222"/>
                    <a:gd name="T43" fmla="*/ 2147483647 h 150"/>
                    <a:gd name="T44" fmla="*/ 2147483647 w 222"/>
                    <a:gd name="T45" fmla="*/ 2147483647 h 150"/>
                    <a:gd name="T46" fmla="*/ 2147483647 w 222"/>
                    <a:gd name="T47" fmla="*/ 2147483647 h 150"/>
                    <a:gd name="T48" fmla="*/ 2147483647 w 222"/>
                    <a:gd name="T49" fmla="*/ 2147483647 h 150"/>
                    <a:gd name="T50" fmla="*/ 2147483647 w 222"/>
                    <a:gd name="T51" fmla="*/ 2147483647 h 150"/>
                    <a:gd name="T52" fmla="*/ 2147483647 w 222"/>
                    <a:gd name="T53" fmla="*/ 2147483647 h 150"/>
                    <a:gd name="T54" fmla="*/ 2147483647 w 222"/>
                    <a:gd name="T55" fmla="*/ 2147483647 h 150"/>
                    <a:gd name="T56" fmla="*/ 2147483647 w 222"/>
                    <a:gd name="T57" fmla="*/ 2147483647 h 150"/>
                    <a:gd name="T58" fmla="*/ 2147483647 w 222"/>
                    <a:gd name="T59" fmla="*/ 2147483647 h 150"/>
                    <a:gd name="T60" fmla="*/ 2147483647 w 222"/>
                    <a:gd name="T61" fmla="*/ 2147483647 h 150"/>
                    <a:gd name="T62" fmla="*/ 2147483647 w 222"/>
                    <a:gd name="T63" fmla="*/ 2147483647 h 150"/>
                    <a:gd name="T64" fmla="*/ 2147483647 w 222"/>
                    <a:gd name="T65" fmla="*/ 2147483647 h 150"/>
                    <a:gd name="T66" fmla="*/ 2147483647 w 222"/>
                    <a:gd name="T67" fmla="*/ 2147483647 h 150"/>
                    <a:gd name="T68" fmla="*/ 2147483647 w 222"/>
                    <a:gd name="T69" fmla="*/ 2147483647 h 150"/>
                    <a:gd name="T70" fmla="*/ 2147483647 w 222"/>
                    <a:gd name="T71" fmla="*/ 2147483647 h 150"/>
                    <a:gd name="T72" fmla="*/ 2147483647 w 222"/>
                    <a:gd name="T73" fmla="*/ 2147483647 h 150"/>
                    <a:gd name="T74" fmla="*/ 2147483647 w 222"/>
                    <a:gd name="T75" fmla="*/ 2147483647 h 150"/>
                    <a:gd name="T76" fmla="*/ 2147483647 w 222"/>
                    <a:gd name="T77" fmla="*/ 2147483647 h 150"/>
                    <a:gd name="T78" fmla="*/ 2147483647 w 222"/>
                    <a:gd name="T79" fmla="*/ 2147483647 h 150"/>
                    <a:gd name="T80" fmla="*/ 2147483647 w 222"/>
                    <a:gd name="T81" fmla="*/ 0 h 150"/>
                    <a:gd name="T82" fmla="*/ 2147483647 w 222"/>
                    <a:gd name="T83" fmla="*/ 0 h 150"/>
                    <a:gd name="T84" fmla="*/ 2147483647 w 222"/>
                    <a:gd name="T85" fmla="*/ 2147483647 h 150"/>
                    <a:gd name="T86" fmla="*/ 2147483647 w 222"/>
                    <a:gd name="T87" fmla="*/ 0 h 150"/>
                    <a:gd name="T88" fmla="*/ 2147483647 w 222"/>
                    <a:gd name="T89" fmla="*/ 2147483647 h 150"/>
                    <a:gd name="T90" fmla="*/ 2147483647 w 222"/>
                    <a:gd name="T91" fmla="*/ 2147483647 h 150"/>
                    <a:gd name="T92" fmla="*/ 2147483647 w 222"/>
                    <a:gd name="T93" fmla="*/ 2147483647 h 150"/>
                    <a:gd name="T94" fmla="*/ 2147483647 w 222"/>
                    <a:gd name="T95" fmla="*/ 2147483647 h 150"/>
                    <a:gd name="T96" fmla="*/ 2147483647 w 222"/>
                    <a:gd name="T97" fmla="*/ 2147483647 h 150"/>
                    <a:gd name="T98" fmla="*/ 2147483647 w 222"/>
                    <a:gd name="T99" fmla="*/ 2147483647 h 150"/>
                    <a:gd name="T100" fmla="*/ 2147483647 w 222"/>
                    <a:gd name="T101" fmla="*/ 2147483647 h 150"/>
                    <a:gd name="T102" fmla="*/ 0 w 222"/>
                    <a:gd name="T103" fmla="*/ 2147483647 h 150"/>
                    <a:gd name="T104" fmla="*/ 0 w 222"/>
                    <a:gd name="T105" fmla="*/ 2147483647 h 15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22"/>
                    <a:gd name="T160" fmla="*/ 0 h 150"/>
                    <a:gd name="T161" fmla="*/ 222 w 222"/>
                    <a:gd name="T162" fmla="*/ 150 h 15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22" h="150">
                      <a:moveTo>
                        <a:pt x="0" y="42"/>
                      </a:moveTo>
                      <a:lnTo>
                        <a:pt x="6" y="60"/>
                      </a:lnTo>
                      <a:lnTo>
                        <a:pt x="30" y="66"/>
                      </a:lnTo>
                      <a:lnTo>
                        <a:pt x="42" y="78"/>
                      </a:lnTo>
                      <a:lnTo>
                        <a:pt x="66" y="78"/>
                      </a:lnTo>
                      <a:lnTo>
                        <a:pt x="78" y="84"/>
                      </a:lnTo>
                      <a:lnTo>
                        <a:pt x="84" y="90"/>
                      </a:lnTo>
                      <a:lnTo>
                        <a:pt x="84" y="114"/>
                      </a:lnTo>
                      <a:lnTo>
                        <a:pt x="108" y="114"/>
                      </a:lnTo>
                      <a:lnTo>
                        <a:pt x="120" y="102"/>
                      </a:lnTo>
                      <a:lnTo>
                        <a:pt x="120" y="126"/>
                      </a:lnTo>
                      <a:lnTo>
                        <a:pt x="132" y="126"/>
                      </a:lnTo>
                      <a:lnTo>
                        <a:pt x="144" y="132"/>
                      </a:lnTo>
                      <a:lnTo>
                        <a:pt x="150" y="132"/>
                      </a:lnTo>
                      <a:lnTo>
                        <a:pt x="162" y="144"/>
                      </a:lnTo>
                      <a:lnTo>
                        <a:pt x="180" y="144"/>
                      </a:lnTo>
                      <a:lnTo>
                        <a:pt x="192" y="150"/>
                      </a:lnTo>
                      <a:lnTo>
                        <a:pt x="192" y="144"/>
                      </a:lnTo>
                      <a:lnTo>
                        <a:pt x="186" y="132"/>
                      </a:lnTo>
                      <a:lnTo>
                        <a:pt x="174" y="120"/>
                      </a:lnTo>
                      <a:lnTo>
                        <a:pt x="174" y="114"/>
                      </a:lnTo>
                      <a:lnTo>
                        <a:pt x="180" y="114"/>
                      </a:lnTo>
                      <a:lnTo>
                        <a:pt x="192" y="108"/>
                      </a:lnTo>
                      <a:lnTo>
                        <a:pt x="198" y="102"/>
                      </a:lnTo>
                      <a:lnTo>
                        <a:pt x="204" y="102"/>
                      </a:lnTo>
                      <a:lnTo>
                        <a:pt x="204" y="96"/>
                      </a:lnTo>
                      <a:lnTo>
                        <a:pt x="210" y="90"/>
                      </a:lnTo>
                      <a:lnTo>
                        <a:pt x="222" y="90"/>
                      </a:lnTo>
                      <a:lnTo>
                        <a:pt x="216" y="84"/>
                      </a:lnTo>
                      <a:lnTo>
                        <a:pt x="216" y="66"/>
                      </a:lnTo>
                      <a:lnTo>
                        <a:pt x="204" y="54"/>
                      </a:lnTo>
                      <a:lnTo>
                        <a:pt x="180" y="54"/>
                      </a:lnTo>
                      <a:lnTo>
                        <a:pt x="180" y="42"/>
                      </a:lnTo>
                      <a:lnTo>
                        <a:pt x="186" y="36"/>
                      </a:lnTo>
                      <a:lnTo>
                        <a:pt x="186" y="18"/>
                      </a:lnTo>
                      <a:lnTo>
                        <a:pt x="180" y="12"/>
                      </a:lnTo>
                      <a:lnTo>
                        <a:pt x="174" y="12"/>
                      </a:lnTo>
                      <a:lnTo>
                        <a:pt x="162" y="18"/>
                      </a:lnTo>
                      <a:lnTo>
                        <a:pt x="150" y="18"/>
                      </a:lnTo>
                      <a:lnTo>
                        <a:pt x="144" y="12"/>
                      </a:lnTo>
                      <a:lnTo>
                        <a:pt x="144" y="0"/>
                      </a:lnTo>
                      <a:lnTo>
                        <a:pt x="108" y="0"/>
                      </a:lnTo>
                      <a:lnTo>
                        <a:pt x="108" y="6"/>
                      </a:lnTo>
                      <a:lnTo>
                        <a:pt x="96" y="0"/>
                      </a:lnTo>
                      <a:lnTo>
                        <a:pt x="96" y="12"/>
                      </a:lnTo>
                      <a:lnTo>
                        <a:pt x="78" y="6"/>
                      </a:lnTo>
                      <a:lnTo>
                        <a:pt x="72" y="18"/>
                      </a:lnTo>
                      <a:lnTo>
                        <a:pt x="66" y="12"/>
                      </a:lnTo>
                      <a:lnTo>
                        <a:pt x="42" y="12"/>
                      </a:lnTo>
                      <a:lnTo>
                        <a:pt x="36" y="6"/>
                      </a:lnTo>
                      <a:lnTo>
                        <a:pt x="24" y="6"/>
                      </a:lnTo>
                      <a:lnTo>
                        <a:pt x="0" y="24"/>
                      </a:lnTo>
                      <a:lnTo>
                        <a:pt x="0" y="42"/>
                      </a:lnTo>
                      <a:close/>
                    </a:path>
                  </a:pathLst>
                </a:custGeom>
                <a:solidFill>
                  <a:schemeClr val="accent1"/>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679" name="Bangladesh"/>
                <p:cNvSpPr>
                  <a:spLocks/>
                </p:cNvSpPr>
                <p:nvPr/>
              </p:nvSpPr>
              <p:spPr bwMode="gray">
                <a:xfrm>
                  <a:off x="4215" y="1763"/>
                  <a:ext cx="96" cy="109"/>
                </a:xfrm>
                <a:custGeom>
                  <a:avLst/>
                  <a:gdLst>
                    <a:gd name="T0" fmla="*/ 2147483647 w 372"/>
                    <a:gd name="T1" fmla="*/ 2147483647 h 426"/>
                    <a:gd name="T2" fmla="*/ 2147483647 w 372"/>
                    <a:gd name="T3" fmla="*/ 2147483647 h 426"/>
                    <a:gd name="T4" fmla="*/ 2147483647 w 372"/>
                    <a:gd name="T5" fmla="*/ 2147483647 h 426"/>
                    <a:gd name="T6" fmla="*/ 2147483647 w 372"/>
                    <a:gd name="T7" fmla="*/ 2147483647 h 426"/>
                    <a:gd name="T8" fmla="*/ 2147483647 w 372"/>
                    <a:gd name="T9" fmla="*/ 2147483647 h 426"/>
                    <a:gd name="T10" fmla="*/ 2147483647 w 372"/>
                    <a:gd name="T11" fmla="*/ 2147483647 h 426"/>
                    <a:gd name="T12" fmla="*/ 2147483647 w 372"/>
                    <a:gd name="T13" fmla="*/ 2147483647 h 426"/>
                    <a:gd name="T14" fmla="*/ 2147483647 w 372"/>
                    <a:gd name="T15" fmla="*/ 2147483647 h 426"/>
                    <a:gd name="T16" fmla="*/ 2147483647 w 372"/>
                    <a:gd name="T17" fmla="*/ 2147483647 h 426"/>
                    <a:gd name="T18" fmla="*/ 2147483647 w 372"/>
                    <a:gd name="T19" fmla="*/ 2147483647 h 426"/>
                    <a:gd name="T20" fmla="*/ 2147483647 w 372"/>
                    <a:gd name="T21" fmla="*/ 2147483647 h 426"/>
                    <a:gd name="T22" fmla="*/ 2147483647 w 372"/>
                    <a:gd name="T23" fmla="*/ 2147483647 h 426"/>
                    <a:gd name="T24" fmla="*/ 2147483647 w 372"/>
                    <a:gd name="T25" fmla="*/ 2147483647 h 426"/>
                    <a:gd name="T26" fmla="*/ 2147483647 w 372"/>
                    <a:gd name="T27" fmla="*/ 2147483647 h 426"/>
                    <a:gd name="T28" fmla="*/ 2147483647 w 372"/>
                    <a:gd name="T29" fmla="*/ 2147483647 h 426"/>
                    <a:gd name="T30" fmla="*/ 2147483647 w 372"/>
                    <a:gd name="T31" fmla="*/ 2147483647 h 426"/>
                    <a:gd name="T32" fmla="*/ 2147483647 w 372"/>
                    <a:gd name="T33" fmla="*/ 2147483647 h 426"/>
                    <a:gd name="T34" fmla="*/ 2147483647 w 372"/>
                    <a:gd name="T35" fmla="*/ 2147483647 h 426"/>
                    <a:gd name="T36" fmla="*/ 2147483647 w 372"/>
                    <a:gd name="T37" fmla="*/ 2147483647 h 426"/>
                    <a:gd name="T38" fmla="*/ 2147483647 w 372"/>
                    <a:gd name="T39" fmla="*/ 2147483647 h 426"/>
                    <a:gd name="T40" fmla="*/ 2147483647 w 372"/>
                    <a:gd name="T41" fmla="*/ 2147483647 h 426"/>
                    <a:gd name="T42" fmla="*/ 2147483647 w 372"/>
                    <a:gd name="T43" fmla="*/ 2147483647 h 426"/>
                    <a:gd name="T44" fmla="*/ 2147483647 w 372"/>
                    <a:gd name="T45" fmla="*/ 2147483647 h 426"/>
                    <a:gd name="T46" fmla="*/ 2147483647 w 372"/>
                    <a:gd name="T47" fmla="*/ 2147483647 h 426"/>
                    <a:gd name="T48" fmla="*/ 2147483647 w 372"/>
                    <a:gd name="T49" fmla="*/ 2147483647 h 426"/>
                    <a:gd name="T50" fmla="*/ 2147483647 w 372"/>
                    <a:gd name="T51" fmla="*/ 2147483647 h 426"/>
                    <a:gd name="T52" fmla="*/ 2147483647 w 372"/>
                    <a:gd name="T53" fmla="*/ 2147483647 h 426"/>
                    <a:gd name="T54" fmla="*/ 2147483647 w 372"/>
                    <a:gd name="T55" fmla="*/ 2147483647 h 426"/>
                    <a:gd name="T56" fmla="*/ 2147483647 w 372"/>
                    <a:gd name="T57" fmla="*/ 2147483647 h 426"/>
                    <a:gd name="T58" fmla="*/ 2147483647 w 372"/>
                    <a:gd name="T59" fmla="*/ 2147483647 h 426"/>
                    <a:gd name="T60" fmla="*/ 2147483647 w 372"/>
                    <a:gd name="T61" fmla="*/ 2147483647 h 426"/>
                    <a:gd name="T62" fmla="*/ 2147483647 w 372"/>
                    <a:gd name="T63" fmla="*/ 2147483647 h 426"/>
                    <a:gd name="T64" fmla="*/ 2147483647 w 372"/>
                    <a:gd name="T65" fmla="*/ 2147483647 h 426"/>
                    <a:gd name="T66" fmla="*/ 2147483647 w 372"/>
                    <a:gd name="T67" fmla="*/ 2147483647 h 426"/>
                    <a:gd name="T68" fmla="*/ 2147483647 w 372"/>
                    <a:gd name="T69" fmla="*/ 2147483647 h 426"/>
                    <a:gd name="T70" fmla="*/ 2147483647 w 372"/>
                    <a:gd name="T71" fmla="*/ 2147483647 h 426"/>
                    <a:gd name="T72" fmla="*/ 2147483647 w 372"/>
                    <a:gd name="T73" fmla="*/ 2147483647 h 426"/>
                    <a:gd name="T74" fmla="*/ 2147483647 w 372"/>
                    <a:gd name="T75" fmla="*/ 2147483647 h 426"/>
                    <a:gd name="T76" fmla="*/ 2147483647 w 372"/>
                    <a:gd name="T77" fmla="*/ 2147483647 h 426"/>
                    <a:gd name="T78" fmla="*/ 2147483647 w 372"/>
                    <a:gd name="T79" fmla="*/ 2147483647 h 426"/>
                    <a:gd name="T80" fmla="*/ 2147483647 w 372"/>
                    <a:gd name="T81" fmla="*/ 2147483647 h 426"/>
                    <a:gd name="T82" fmla="*/ 2147483647 w 372"/>
                    <a:gd name="T83" fmla="*/ 2147483647 h 426"/>
                    <a:gd name="T84" fmla="*/ 2147483647 w 372"/>
                    <a:gd name="T85" fmla="*/ 0 h 426"/>
                    <a:gd name="T86" fmla="*/ 2147483647 w 372"/>
                    <a:gd name="T87" fmla="*/ 2147483647 h 426"/>
                    <a:gd name="T88" fmla="*/ 0 w 372"/>
                    <a:gd name="T89" fmla="*/ 2147483647 h 426"/>
                    <a:gd name="T90" fmla="*/ 2147483647 w 372"/>
                    <a:gd name="T91" fmla="*/ 2147483647 h 426"/>
                    <a:gd name="T92" fmla="*/ 2147483647 w 372"/>
                    <a:gd name="T93" fmla="*/ 2147483647 h 426"/>
                    <a:gd name="T94" fmla="*/ 2147483647 w 372"/>
                    <a:gd name="T95" fmla="*/ 2147483647 h 426"/>
                    <a:gd name="T96" fmla="*/ 2147483647 w 372"/>
                    <a:gd name="T97" fmla="*/ 2147483647 h 426"/>
                    <a:gd name="T98" fmla="*/ 2147483647 w 372"/>
                    <a:gd name="T99" fmla="*/ 2147483647 h 426"/>
                    <a:gd name="T100" fmla="*/ 2147483647 w 372"/>
                    <a:gd name="T101" fmla="*/ 2147483647 h 426"/>
                    <a:gd name="T102" fmla="*/ 2147483647 w 372"/>
                    <a:gd name="T103" fmla="*/ 2147483647 h 426"/>
                    <a:gd name="T104" fmla="*/ 2147483647 w 372"/>
                    <a:gd name="T105" fmla="*/ 2147483647 h 426"/>
                    <a:gd name="T106" fmla="*/ 2147483647 w 372"/>
                    <a:gd name="T107" fmla="*/ 2147483647 h 426"/>
                    <a:gd name="T108" fmla="*/ 2147483647 w 372"/>
                    <a:gd name="T109" fmla="*/ 2147483647 h 426"/>
                    <a:gd name="T110" fmla="*/ 2147483647 w 372"/>
                    <a:gd name="T111" fmla="*/ 2147483647 h 426"/>
                    <a:gd name="T112" fmla="*/ 2147483647 w 372"/>
                    <a:gd name="T113" fmla="*/ 2147483647 h 426"/>
                    <a:gd name="T114" fmla="*/ 2147483647 w 372"/>
                    <a:gd name="T115" fmla="*/ 2147483647 h 4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72"/>
                    <a:gd name="T175" fmla="*/ 0 h 426"/>
                    <a:gd name="T176" fmla="*/ 372 w 372"/>
                    <a:gd name="T177" fmla="*/ 426 h 42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72" h="426">
                      <a:moveTo>
                        <a:pt x="132" y="414"/>
                      </a:moveTo>
                      <a:lnTo>
                        <a:pt x="138" y="354"/>
                      </a:lnTo>
                      <a:lnTo>
                        <a:pt x="144" y="354"/>
                      </a:lnTo>
                      <a:lnTo>
                        <a:pt x="150" y="360"/>
                      </a:lnTo>
                      <a:lnTo>
                        <a:pt x="162" y="360"/>
                      </a:lnTo>
                      <a:lnTo>
                        <a:pt x="174" y="366"/>
                      </a:lnTo>
                      <a:lnTo>
                        <a:pt x="192" y="372"/>
                      </a:lnTo>
                      <a:lnTo>
                        <a:pt x="216" y="372"/>
                      </a:lnTo>
                      <a:lnTo>
                        <a:pt x="210" y="366"/>
                      </a:lnTo>
                      <a:lnTo>
                        <a:pt x="210" y="348"/>
                      </a:lnTo>
                      <a:lnTo>
                        <a:pt x="204" y="342"/>
                      </a:lnTo>
                      <a:lnTo>
                        <a:pt x="222" y="342"/>
                      </a:lnTo>
                      <a:lnTo>
                        <a:pt x="258" y="360"/>
                      </a:lnTo>
                      <a:lnTo>
                        <a:pt x="270" y="360"/>
                      </a:lnTo>
                      <a:lnTo>
                        <a:pt x="282" y="348"/>
                      </a:lnTo>
                      <a:lnTo>
                        <a:pt x="282" y="336"/>
                      </a:lnTo>
                      <a:lnTo>
                        <a:pt x="270" y="300"/>
                      </a:lnTo>
                      <a:lnTo>
                        <a:pt x="318" y="354"/>
                      </a:lnTo>
                      <a:lnTo>
                        <a:pt x="318" y="360"/>
                      </a:lnTo>
                      <a:lnTo>
                        <a:pt x="312" y="366"/>
                      </a:lnTo>
                      <a:lnTo>
                        <a:pt x="312" y="390"/>
                      </a:lnTo>
                      <a:lnTo>
                        <a:pt x="306" y="402"/>
                      </a:lnTo>
                      <a:lnTo>
                        <a:pt x="306" y="414"/>
                      </a:lnTo>
                      <a:lnTo>
                        <a:pt x="312" y="420"/>
                      </a:lnTo>
                      <a:lnTo>
                        <a:pt x="324" y="420"/>
                      </a:lnTo>
                      <a:lnTo>
                        <a:pt x="330" y="426"/>
                      </a:lnTo>
                      <a:lnTo>
                        <a:pt x="336" y="414"/>
                      </a:lnTo>
                      <a:lnTo>
                        <a:pt x="336" y="408"/>
                      </a:lnTo>
                      <a:lnTo>
                        <a:pt x="372" y="414"/>
                      </a:lnTo>
                      <a:lnTo>
                        <a:pt x="360" y="354"/>
                      </a:lnTo>
                      <a:lnTo>
                        <a:pt x="360" y="348"/>
                      </a:lnTo>
                      <a:lnTo>
                        <a:pt x="354" y="342"/>
                      </a:lnTo>
                      <a:lnTo>
                        <a:pt x="348" y="330"/>
                      </a:lnTo>
                      <a:lnTo>
                        <a:pt x="342" y="312"/>
                      </a:lnTo>
                      <a:lnTo>
                        <a:pt x="336" y="300"/>
                      </a:lnTo>
                      <a:lnTo>
                        <a:pt x="336" y="288"/>
                      </a:lnTo>
                      <a:lnTo>
                        <a:pt x="330" y="276"/>
                      </a:lnTo>
                      <a:lnTo>
                        <a:pt x="330" y="270"/>
                      </a:lnTo>
                      <a:lnTo>
                        <a:pt x="324" y="258"/>
                      </a:lnTo>
                      <a:lnTo>
                        <a:pt x="324" y="240"/>
                      </a:lnTo>
                      <a:lnTo>
                        <a:pt x="318" y="234"/>
                      </a:lnTo>
                      <a:lnTo>
                        <a:pt x="306" y="228"/>
                      </a:lnTo>
                      <a:lnTo>
                        <a:pt x="288" y="228"/>
                      </a:lnTo>
                      <a:lnTo>
                        <a:pt x="288" y="252"/>
                      </a:lnTo>
                      <a:lnTo>
                        <a:pt x="282" y="288"/>
                      </a:lnTo>
                      <a:lnTo>
                        <a:pt x="264" y="264"/>
                      </a:lnTo>
                      <a:lnTo>
                        <a:pt x="258" y="264"/>
                      </a:lnTo>
                      <a:lnTo>
                        <a:pt x="240" y="246"/>
                      </a:lnTo>
                      <a:lnTo>
                        <a:pt x="234" y="234"/>
                      </a:lnTo>
                      <a:lnTo>
                        <a:pt x="234" y="216"/>
                      </a:lnTo>
                      <a:lnTo>
                        <a:pt x="240" y="204"/>
                      </a:lnTo>
                      <a:lnTo>
                        <a:pt x="252" y="192"/>
                      </a:lnTo>
                      <a:lnTo>
                        <a:pt x="258" y="192"/>
                      </a:lnTo>
                      <a:lnTo>
                        <a:pt x="270" y="186"/>
                      </a:lnTo>
                      <a:lnTo>
                        <a:pt x="276" y="186"/>
                      </a:lnTo>
                      <a:lnTo>
                        <a:pt x="282" y="180"/>
                      </a:lnTo>
                      <a:lnTo>
                        <a:pt x="288" y="168"/>
                      </a:lnTo>
                      <a:lnTo>
                        <a:pt x="294" y="150"/>
                      </a:lnTo>
                      <a:lnTo>
                        <a:pt x="294" y="138"/>
                      </a:lnTo>
                      <a:lnTo>
                        <a:pt x="300" y="138"/>
                      </a:lnTo>
                      <a:lnTo>
                        <a:pt x="306" y="132"/>
                      </a:lnTo>
                      <a:lnTo>
                        <a:pt x="306" y="126"/>
                      </a:lnTo>
                      <a:lnTo>
                        <a:pt x="282" y="102"/>
                      </a:lnTo>
                      <a:lnTo>
                        <a:pt x="276" y="102"/>
                      </a:lnTo>
                      <a:lnTo>
                        <a:pt x="228" y="114"/>
                      </a:lnTo>
                      <a:lnTo>
                        <a:pt x="210" y="114"/>
                      </a:lnTo>
                      <a:lnTo>
                        <a:pt x="198" y="108"/>
                      </a:lnTo>
                      <a:lnTo>
                        <a:pt x="138" y="108"/>
                      </a:lnTo>
                      <a:lnTo>
                        <a:pt x="132" y="102"/>
                      </a:lnTo>
                      <a:lnTo>
                        <a:pt x="126" y="102"/>
                      </a:lnTo>
                      <a:lnTo>
                        <a:pt x="126" y="66"/>
                      </a:lnTo>
                      <a:lnTo>
                        <a:pt x="120" y="66"/>
                      </a:lnTo>
                      <a:lnTo>
                        <a:pt x="120" y="36"/>
                      </a:lnTo>
                      <a:lnTo>
                        <a:pt x="114" y="30"/>
                      </a:lnTo>
                      <a:lnTo>
                        <a:pt x="108" y="30"/>
                      </a:lnTo>
                      <a:lnTo>
                        <a:pt x="102" y="24"/>
                      </a:lnTo>
                      <a:lnTo>
                        <a:pt x="96" y="42"/>
                      </a:lnTo>
                      <a:lnTo>
                        <a:pt x="90" y="36"/>
                      </a:lnTo>
                      <a:lnTo>
                        <a:pt x="78" y="36"/>
                      </a:lnTo>
                      <a:lnTo>
                        <a:pt x="72" y="30"/>
                      </a:lnTo>
                      <a:lnTo>
                        <a:pt x="66" y="18"/>
                      </a:lnTo>
                      <a:lnTo>
                        <a:pt x="66" y="12"/>
                      </a:lnTo>
                      <a:lnTo>
                        <a:pt x="60" y="0"/>
                      </a:lnTo>
                      <a:lnTo>
                        <a:pt x="42" y="6"/>
                      </a:lnTo>
                      <a:lnTo>
                        <a:pt x="48" y="12"/>
                      </a:lnTo>
                      <a:lnTo>
                        <a:pt x="24" y="0"/>
                      </a:lnTo>
                      <a:lnTo>
                        <a:pt x="6" y="0"/>
                      </a:lnTo>
                      <a:lnTo>
                        <a:pt x="18" y="18"/>
                      </a:lnTo>
                      <a:lnTo>
                        <a:pt x="6" y="30"/>
                      </a:lnTo>
                      <a:lnTo>
                        <a:pt x="0" y="42"/>
                      </a:lnTo>
                      <a:lnTo>
                        <a:pt x="0" y="48"/>
                      </a:lnTo>
                      <a:lnTo>
                        <a:pt x="6" y="60"/>
                      </a:lnTo>
                      <a:lnTo>
                        <a:pt x="18" y="66"/>
                      </a:lnTo>
                      <a:lnTo>
                        <a:pt x="30" y="78"/>
                      </a:lnTo>
                      <a:lnTo>
                        <a:pt x="36" y="78"/>
                      </a:lnTo>
                      <a:lnTo>
                        <a:pt x="66" y="96"/>
                      </a:lnTo>
                      <a:lnTo>
                        <a:pt x="66" y="108"/>
                      </a:lnTo>
                      <a:lnTo>
                        <a:pt x="30" y="108"/>
                      </a:lnTo>
                      <a:lnTo>
                        <a:pt x="30" y="138"/>
                      </a:lnTo>
                      <a:lnTo>
                        <a:pt x="24" y="138"/>
                      </a:lnTo>
                      <a:lnTo>
                        <a:pt x="12" y="150"/>
                      </a:lnTo>
                      <a:lnTo>
                        <a:pt x="24" y="162"/>
                      </a:lnTo>
                      <a:lnTo>
                        <a:pt x="36" y="168"/>
                      </a:lnTo>
                      <a:lnTo>
                        <a:pt x="54" y="168"/>
                      </a:lnTo>
                      <a:lnTo>
                        <a:pt x="66" y="174"/>
                      </a:lnTo>
                      <a:lnTo>
                        <a:pt x="72" y="180"/>
                      </a:lnTo>
                      <a:lnTo>
                        <a:pt x="72" y="186"/>
                      </a:lnTo>
                      <a:lnTo>
                        <a:pt x="66" y="204"/>
                      </a:lnTo>
                      <a:lnTo>
                        <a:pt x="60" y="210"/>
                      </a:lnTo>
                      <a:lnTo>
                        <a:pt x="54" y="222"/>
                      </a:lnTo>
                      <a:lnTo>
                        <a:pt x="66" y="252"/>
                      </a:lnTo>
                      <a:lnTo>
                        <a:pt x="96" y="276"/>
                      </a:lnTo>
                      <a:lnTo>
                        <a:pt x="96" y="306"/>
                      </a:lnTo>
                      <a:lnTo>
                        <a:pt x="114" y="348"/>
                      </a:lnTo>
                      <a:lnTo>
                        <a:pt x="108" y="378"/>
                      </a:lnTo>
                      <a:lnTo>
                        <a:pt x="132" y="414"/>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680" name="Bahrain"/>
                <p:cNvSpPr>
                  <a:spLocks/>
                </p:cNvSpPr>
                <p:nvPr/>
              </p:nvSpPr>
              <p:spPr bwMode="gray">
                <a:xfrm>
                  <a:off x="3553" y="1767"/>
                  <a:ext cx="7" cy="14"/>
                </a:xfrm>
                <a:custGeom>
                  <a:avLst/>
                  <a:gdLst>
                    <a:gd name="T0" fmla="*/ 2147483647 w 15"/>
                    <a:gd name="T1" fmla="*/ 0 h 28"/>
                    <a:gd name="T2" fmla="*/ 2147483647 w 15"/>
                    <a:gd name="T3" fmla="*/ 2147483647 h 28"/>
                    <a:gd name="T4" fmla="*/ 2147483647 w 15"/>
                    <a:gd name="T5" fmla="*/ 2147483647 h 28"/>
                    <a:gd name="T6" fmla="*/ 2032697641 w 15"/>
                    <a:gd name="T7" fmla="*/ 2147483647 h 28"/>
                    <a:gd name="T8" fmla="*/ 813299296 w 15"/>
                    <a:gd name="T9" fmla="*/ 2147483647 h 28"/>
                    <a:gd name="T10" fmla="*/ 2147483647 w 15"/>
                    <a:gd name="T11" fmla="*/ 0 h 28"/>
                    <a:gd name="T12" fmla="*/ 0 60000 65536"/>
                    <a:gd name="T13" fmla="*/ 0 60000 65536"/>
                    <a:gd name="T14" fmla="*/ 0 60000 65536"/>
                    <a:gd name="T15" fmla="*/ 0 60000 65536"/>
                    <a:gd name="T16" fmla="*/ 0 60000 65536"/>
                    <a:gd name="T17" fmla="*/ 0 60000 65536"/>
                    <a:gd name="T18" fmla="*/ 0 w 15"/>
                    <a:gd name="T19" fmla="*/ 0 h 28"/>
                    <a:gd name="T20" fmla="*/ 15 w 15"/>
                    <a:gd name="T21" fmla="*/ 28 h 28"/>
                  </a:gdLst>
                  <a:ahLst/>
                  <a:cxnLst>
                    <a:cxn ang="T12">
                      <a:pos x="T0" y="T1"/>
                    </a:cxn>
                    <a:cxn ang="T13">
                      <a:pos x="T2" y="T3"/>
                    </a:cxn>
                    <a:cxn ang="T14">
                      <a:pos x="T4" y="T5"/>
                    </a:cxn>
                    <a:cxn ang="T15">
                      <a:pos x="T6" y="T7"/>
                    </a:cxn>
                    <a:cxn ang="T16">
                      <a:pos x="T8" y="T9"/>
                    </a:cxn>
                    <a:cxn ang="T17">
                      <a:pos x="T10" y="T11"/>
                    </a:cxn>
                  </a:cxnLst>
                  <a:rect l="T18" t="T19" r="T20" b="T21"/>
                  <a:pathLst>
                    <a:path w="15" h="28">
                      <a:moveTo>
                        <a:pt x="9" y="0"/>
                      </a:moveTo>
                      <a:cubicBezTo>
                        <a:pt x="14" y="0"/>
                        <a:pt x="15" y="10"/>
                        <a:pt x="14" y="14"/>
                      </a:cubicBezTo>
                      <a:cubicBezTo>
                        <a:pt x="13" y="18"/>
                        <a:pt x="15" y="28"/>
                        <a:pt x="9" y="28"/>
                      </a:cubicBezTo>
                      <a:cubicBezTo>
                        <a:pt x="4" y="27"/>
                        <a:pt x="5" y="21"/>
                        <a:pt x="5" y="18"/>
                      </a:cubicBezTo>
                      <a:cubicBezTo>
                        <a:pt x="5" y="14"/>
                        <a:pt x="0" y="14"/>
                        <a:pt x="2" y="8"/>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681" name="Belarus"/>
                <p:cNvSpPr>
                  <a:spLocks/>
                </p:cNvSpPr>
                <p:nvPr/>
              </p:nvSpPr>
              <p:spPr bwMode="gray">
                <a:xfrm>
                  <a:off x="3040" y="1162"/>
                  <a:ext cx="146" cy="95"/>
                </a:xfrm>
                <a:custGeom>
                  <a:avLst/>
                  <a:gdLst>
                    <a:gd name="T0" fmla="*/ 2147483647 w 570"/>
                    <a:gd name="T1" fmla="*/ 2147483647 h 372"/>
                    <a:gd name="T2" fmla="*/ 2147483647 w 570"/>
                    <a:gd name="T3" fmla="*/ 2147483647 h 372"/>
                    <a:gd name="T4" fmla="*/ 2147483647 w 570"/>
                    <a:gd name="T5" fmla="*/ 2147483647 h 372"/>
                    <a:gd name="T6" fmla="*/ 2147483647 w 570"/>
                    <a:gd name="T7" fmla="*/ 2147483647 h 372"/>
                    <a:gd name="T8" fmla="*/ 2147483647 w 570"/>
                    <a:gd name="T9" fmla="*/ 2147483647 h 372"/>
                    <a:gd name="T10" fmla="*/ 2147483647 w 570"/>
                    <a:gd name="T11" fmla="*/ 2147483647 h 372"/>
                    <a:gd name="T12" fmla="*/ 2147483647 w 570"/>
                    <a:gd name="T13" fmla="*/ 2147483647 h 372"/>
                    <a:gd name="T14" fmla="*/ 2147483647 w 570"/>
                    <a:gd name="T15" fmla="*/ 2147483647 h 372"/>
                    <a:gd name="T16" fmla="*/ 2147483647 w 570"/>
                    <a:gd name="T17" fmla="*/ 2147483647 h 372"/>
                    <a:gd name="T18" fmla="*/ 2147483647 w 570"/>
                    <a:gd name="T19" fmla="*/ 2147483647 h 372"/>
                    <a:gd name="T20" fmla="*/ 2147483647 w 570"/>
                    <a:gd name="T21" fmla="*/ 2147483647 h 372"/>
                    <a:gd name="T22" fmla="*/ 2147483647 w 570"/>
                    <a:gd name="T23" fmla="*/ 2147483647 h 372"/>
                    <a:gd name="T24" fmla="*/ 2147483647 w 570"/>
                    <a:gd name="T25" fmla="*/ 2147483647 h 372"/>
                    <a:gd name="T26" fmla="*/ 2147483647 w 570"/>
                    <a:gd name="T27" fmla="*/ 2147483647 h 372"/>
                    <a:gd name="T28" fmla="*/ 2147483647 w 570"/>
                    <a:gd name="T29" fmla="*/ 2147483647 h 372"/>
                    <a:gd name="T30" fmla="*/ 2147483647 w 570"/>
                    <a:gd name="T31" fmla="*/ 2147483647 h 372"/>
                    <a:gd name="T32" fmla="*/ 2147483647 w 570"/>
                    <a:gd name="T33" fmla="*/ 2147483647 h 372"/>
                    <a:gd name="T34" fmla="*/ 2147483647 w 570"/>
                    <a:gd name="T35" fmla="*/ 2147483647 h 372"/>
                    <a:gd name="T36" fmla="*/ 2147483647 w 570"/>
                    <a:gd name="T37" fmla="*/ 2147483647 h 372"/>
                    <a:gd name="T38" fmla="*/ 2147483647 w 570"/>
                    <a:gd name="T39" fmla="*/ 2147483647 h 372"/>
                    <a:gd name="T40" fmla="*/ 2147483647 w 570"/>
                    <a:gd name="T41" fmla="*/ 2147483647 h 372"/>
                    <a:gd name="T42" fmla="*/ 2147483647 w 570"/>
                    <a:gd name="T43" fmla="*/ 2147483647 h 372"/>
                    <a:gd name="T44" fmla="*/ 2147483647 w 570"/>
                    <a:gd name="T45" fmla="*/ 2147483647 h 372"/>
                    <a:gd name="T46" fmla="*/ 2147483647 w 570"/>
                    <a:gd name="T47" fmla="*/ 2147483647 h 372"/>
                    <a:gd name="T48" fmla="*/ 2147483647 w 570"/>
                    <a:gd name="T49" fmla="*/ 2147483647 h 372"/>
                    <a:gd name="T50" fmla="*/ 2147483647 w 570"/>
                    <a:gd name="T51" fmla="*/ 2147483647 h 372"/>
                    <a:gd name="T52" fmla="*/ 2147483647 w 570"/>
                    <a:gd name="T53" fmla="*/ 2147483647 h 372"/>
                    <a:gd name="T54" fmla="*/ 2147483647 w 570"/>
                    <a:gd name="T55" fmla="*/ 2147483647 h 372"/>
                    <a:gd name="T56" fmla="*/ 2147483647 w 570"/>
                    <a:gd name="T57" fmla="*/ 0 h 372"/>
                    <a:gd name="T58" fmla="*/ 2147483647 w 570"/>
                    <a:gd name="T59" fmla="*/ 2147483647 h 372"/>
                    <a:gd name="T60" fmla="*/ 2147483647 w 570"/>
                    <a:gd name="T61" fmla="*/ 2147483647 h 372"/>
                    <a:gd name="T62" fmla="*/ 2147483647 w 570"/>
                    <a:gd name="T63" fmla="*/ 2147483647 h 372"/>
                    <a:gd name="T64" fmla="*/ 2147483647 w 570"/>
                    <a:gd name="T65" fmla="*/ 2147483647 h 372"/>
                    <a:gd name="T66" fmla="*/ 2147483647 w 570"/>
                    <a:gd name="T67" fmla="*/ 2147483647 h 372"/>
                    <a:gd name="T68" fmla="*/ 2147483647 w 570"/>
                    <a:gd name="T69" fmla="*/ 2147483647 h 372"/>
                    <a:gd name="T70" fmla="*/ 2147483647 w 570"/>
                    <a:gd name="T71" fmla="*/ 2147483647 h 372"/>
                    <a:gd name="T72" fmla="*/ 2147483647 w 570"/>
                    <a:gd name="T73" fmla="*/ 2147483647 h 372"/>
                    <a:gd name="T74" fmla="*/ 2147483647 w 570"/>
                    <a:gd name="T75" fmla="*/ 2147483647 h 372"/>
                    <a:gd name="T76" fmla="*/ 2147483647 w 570"/>
                    <a:gd name="T77" fmla="*/ 2147483647 h 372"/>
                    <a:gd name="T78" fmla="*/ 2147483647 w 570"/>
                    <a:gd name="T79" fmla="*/ 2147483647 h 372"/>
                    <a:gd name="T80" fmla="*/ 2147483647 w 570"/>
                    <a:gd name="T81" fmla="*/ 2147483647 h 372"/>
                    <a:gd name="T82" fmla="*/ 2147483647 w 570"/>
                    <a:gd name="T83" fmla="*/ 2147483647 h 372"/>
                    <a:gd name="T84" fmla="*/ 2147483647 w 570"/>
                    <a:gd name="T85" fmla="*/ 2147483647 h 372"/>
                    <a:gd name="T86" fmla="*/ 2147483647 w 570"/>
                    <a:gd name="T87" fmla="*/ 2147483647 h 372"/>
                    <a:gd name="T88" fmla="*/ 2147483647 w 570"/>
                    <a:gd name="T89" fmla="*/ 2147483647 h 372"/>
                    <a:gd name="T90" fmla="*/ 2147483647 w 570"/>
                    <a:gd name="T91" fmla="*/ 2147483647 h 372"/>
                    <a:gd name="T92" fmla="*/ 2147483647 w 570"/>
                    <a:gd name="T93" fmla="*/ 2147483647 h 372"/>
                    <a:gd name="T94" fmla="*/ 2147483647 w 570"/>
                    <a:gd name="T95" fmla="*/ 2147483647 h 372"/>
                    <a:gd name="T96" fmla="*/ 2147483647 w 570"/>
                    <a:gd name="T97" fmla="*/ 2147483647 h 372"/>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70"/>
                    <a:gd name="T148" fmla="*/ 0 h 372"/>
                    <a:gd name="T149" fmla="*/ 570 w 570"/>
                    <a:gd name="T150" fmla="*/ 372 h 372"/>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70" h="372">
                      <a:moveTo>
                        <a:pt x="24" y="312"/>
                      </a:moveTo>
                      <a:lnTo>
                        <a:pt x="24" y="342"/>
                      </a:lnTo>
                      <a:lnTo>
                        <a:pt x="30" y="354"/>
                      </a:lnTo>
                      <a:lnTo>
                        <a:pt x="36" y="360"/>
                      </a:lnTo>
                      <a:lnTo>
                        <a:pt x="48" y="360"/>
                      </a:lnTo>
                      <a:lnTo>
                        <a:pt x="60" y="354"/>
                      </a:lnTo>
                      <a:lnTo>
                        <a:pt x="72" y="342"/>
                      </a:lnTo>
                      <a:lnTo>
                        <a:pt x="72" y="336"/>
                      </a:lnTo>
                      <a:lnTo>
                        <a:pt x="108" y="336"/>
                      </a:lnTo>
                      <a:lnTo>
                        <a:pt x="120" y="330"/>
                      </a:lnTo>
                      <a:lnTo>
                        <a:pt x="126" y="324"/>
                      </a:lnTo>
                      <a:lnTo>
                        <a:pt x="174" y="324"/>
                      </a:lnTo>
                      <a:lnTo>
                        <a:pt x="174" y="330"/>
                      </a:lnTo>
                      <a:lnTo>
                        <a:pt x="180" y="336"/>
                      </a:lnTo>
                      <a:lnTo>
                        <a:pt x="216" y="336"/>
                      </a:lnTo>
                      <a:lnTo>
                        <a:pt x="240" y="342"/>
                      </a:lnTo>
                      <a:lnTo>
                        <a:pt x="258" y="354"/>
                      </a:lnTo>
                      <a:lnTo>
                        <a:pt x="264" y="348"/>
                      </a:lnTo>
                      <a:lnTo>
                        <a:pt x="282" y="360"/>
                      </a:lnTo>
                      <a:lnTo>
                        <a:pt x="294" y="348"/>
                      </a:lnTo>
                      <a:lnTo>
                        <a:pt x="300" y="360"/>
                      </a:lnTo>
                      <a:lnTo>
                        <a:pt x="318" y="354"/>
                      </a:lnTo>
                      <a:lnTo>
                        <a:pt x="324" y="360"/>
                      </a:lnTo>
                      <a:lnTo>
                        <a:pt x="336" y="354"/>
                      </a:lnTo>
                      <a:lnTo>
                        <a:pt x="348" y="366"/>
                      </a:lnTo>
                      <a:lnTo>
                        <a:pt x="348" y="360"/>
                      </a:lnTo>
                      <a:lnTo>
                        <a:pt x="354" y="354"/>
                      </a:lnTo>
                      <a:lnTo>
                        <a:pt x="372" y="354"/>
                      </a:lnTo>
                      <a:lnTo>
                        <a:pt x="378" y="360"/>
                      </a:lnTo>
                      <a:lnTo>
                        <a:pt x="378" y="372"/>
                      </a:lnTo>
                      <a:lnTo>
                        <a:pt x="384" y="372"/>
                      </a:lnTo>
                      <a:lnTo>
                        <a:pt x="396" y="366"/>
                      </a:lnTo>
                      <a:lnTo>
                        <a:pt x="420" y="366"/>
                      </a:lnTo>
                      <a:lnTo>
                        <a:pt x="426" y="372"/>
                      </a:lnTo>
                      <a:lnTo>
                        <a:pt x="444" y="372"/>
                      </a:lnTo>
                      <a:lnTo>
                        <a:pt x="450" y="366"/>
                      </a:lnTo>
                      <a:lnTo>
                        <a:pt x="450" y="354"/>
                      </a:lnTo>
                      <a:lnTo>
                        <a:pt x="444" y="348"/>
                      </a:lnTo>
                      <a:lnTo>
                        <a:pt x="450" y="336"/>
                      </a:lnTo>
                      <a:lnTo>
                        <a:pt x="456" y="330"/>
                      </a:lnTo>
                      <a:lnTo>
                        <a:pt x="468" y="324"/>
                      </a:lnTo>
                      <a:lnTo>
                        <a:pt x="474" y="312"/>
                      </a:lnTo>
                      <a:lnTo>
                        <a:pt x="498" y="312"/>
                      </a:lnTo>
                      <a:lnTo>
                        <a:pt x="516" y="318"/>
                      </a:lnTo>
                      <a:lnTo>
                        <a:pt x="516" y="300"/>
                      </a:lnTo>
                      <a:lnTo>
                        <a:pt x="510" y="288"/>
                      </a:lnTo>
                      <a:lnTo>
                        <a:pt x="504" y="282"/>
                      </a:lnTo>
                      <a:lnTo>
                        <a:pt x="504" y="264"/>
                      </a:lnTo>
                      <a:lnTo>
                        <a:pt x="480" y="240"/>
                      </a:lnTo>
                      <a:lnTo>
                        <a:pt x="480" y="234"/>
                      </a:lnTo>
                      <a:lnTo>
                        <a:pt x="486" y="228"/>
                      </a:lnTo>
                      <a:lnTo>
                        <a:pt x="510" y="228"/>
                      </a:lnTo>
                      <a:lnTo>
                        <a:pt x="510" y="234"/>
                      </a:lnTo>
                      <a:lnTo>
                        <a:pt x="516" y="234"/>
                      </a:lnTo>
                      <a:lnTo>
                        <a:pt x="522" y="240"/>
                      </a:lnTo>
                      <a:lnTo>
                        <a:pt x="528" y="240"/>
                      </a:lnTo>
                      <a:lnTo>
                        <a:pt x="552" y="228"/>
                      </a:lnTo>
                      <a:lnTo>
                        <a:pt x="558" y="216"/>
                      </a:lnTo>
                      <a:lnTo>
                        <a:pt x="570" y="210"/>
                      </a:lnTo>
                      <a:lnTo>
                        <a:pt x="546" y="198"/>
                      </a:lnTo>
                      <a:lnTo>
                        <a:pt x="552" y="192"/>
                      </a:lnTo>
                      <a:lnTo>
                        <a:pt x="552" y="186"/>
                      </a:lnTo>
                      <a:lnTo>
                        <a:pt x="546" y="186"/>
                      </a:lnTo>
                      <a:lnTo>
                        <a:pt x="540" y="180"/>
                      </a:lnTo>
                      <a:lnTo>
                        <a:pt x="504" y="180"/>
                      </a:lnTo>
                      <a:lnTo>
                        <a:pt x="504" y="156"/>
                      </a:lnTo>
                      <a:lnTo>
                        <a:pt x="474" y="144"/>
                      </a:lnTo>
                      <a:lnTo>
                        <a:pt x="474" y="132"/>
                      </a:lnTo>
                      <a:lnTo>
                        <a:pt x="456" y="114"/>
                      </a:lnTo>
                      <a:lnTo>
                        <a:pt x="444" y="108"/>
                      </a:lnTo>
                      <a:lnTo>
                        <a:pt x="438" y="102"/>
                      </a:lnTo>
                      <a:lnTo>
                        <a:pt x="444" y="84"/>
                      </a:lnTo>
                      <a:lnTo>
                        <a:pt x="432" y="66"/>
                      </a:lnTo>
                      <a:lnTo>
                        <a:pt x="438" y="60"/>
                      </a:lnTo>
                      <a:lnTo>
                        <a:pt x="438" y="48"/>
                      </a:lnTo>
                      <a:lnTo>
                        <a:pt x="432" y="42"/>
                      </a:lnTo>
                      <a:lnTo>
                        <a:pt x="396" y="24"/>
                      </a:lnTo>
                      <a:lnTo>
                        <a:pt x="390" y="18"/>
                      </a:lnTo>
                      <a:lnTo>
                        <a:pt x="384" y="18"/>
                      </a:lnTo>
                      <a:lnTo>
                        <a:pt x="354" y="36"/>
                      </a:lnTo>
                      <a:lnTo>
                        <a:pt x="348" y="18"/>
                      </a:lnTo>
                      <a:lnTo>
                        <a:pt x="312" y="12"/>
                      </a:lnTo>
                      <a:lnTo>
                        <a:pt x="300" y="18"/>
                      </a:lnTo>
                      <a:lnTo>
                        <a:pt x="300" y="12"/>
                      </a:lnTo>
                      <a:lnTo>
                        <a:pt x="294" y="6"/>
                      </a:lnTo>
                      <a:lnTo>
                        <a:pt x="276" y="6"/>
                      </a:lnTo>
                      <a:lnTo>
                        <a:pt x="270" y="0"/>
                      </a:lnTo>
                      <a:lnTo>
                        <a:pt x="258" y="0"/>
                      </a:lnTo>
                      <a:lnTo>
                        <a:pt x="252" y="6"/>
                      </a:lnTo>
                      <a:lnTo>
                        <a:pt x="246" y="18"/>
                      </a:lnTo>
                      <a:lnTo>
                        <a:pt x="240" y="24"/>
                      </a:lnTo>
                      <a:lnTo>
                        <a:pt x="234" y="24"/>
                      </a:lnTo>
                      <a:lnTo>
                        <a:pt x="228" y="30"/>
                      </a:lnTo>
                      <a:lnTo>
                        <a:pt x="222" y="24"/>
                      </a:lnTo>
                      <a:lnTo>
                        <a:pt x="198" y="24"/>
                      </a:lnTo>
                      <a:lnTo>
                        <a:pt x="192" y="30"/>
                      </a:lnTo>
                      <a:lnTo>
                        <a:pt x="180" y="36"/>
                      </a:lnTo>
                      <a:lnTo>
                        <a:pt x="174" y="42"/>
                      </a:lnTo>
                      <a:lnTo>
                        <a:pt x="174" y="54"/>
                      </a:lnTo>
                      <a:lnTo>
                        <a:pt x="192" y="72"/>
                      </a:lnTo>
                      <a:lnTo>
                        <a:pt x="186" y="78"/>
                      </a:lnTo>
                      <a:lnTo>
                        <a:pt x="168" y="78"/>
                      </a:lnTo>
                      <a:lnTo>
                        <a:pt x="162" y="72"/>
                      </a:lnTo>
                      <a:lnTo>
                        <a:pt x="156" y="72"/>
                      </a:lnTo>
                      <a:lnTo>
                        <a:pt x="162" y="90"/>
                      </a:lnTo>
                      <a:lnTo>
                        <a:pt x="144" y="90"/>
                      </a:lnTo>
                      <a:lnTo>
                        <a:pt x="138" y="96"/>
                      </a:lnTo>
                      <a:lnTo>
                        <a:pt x="138" y="102"/>
                      </a:lnTo>
                      <a:lnTo>
                        <a:pt x="144" y="114"/>
                      </a:lnTo>
                      <a:lnTo>
                        <a:pt x="144" y="120"/>
                      </a:lnTo>
                      <a:lnTo>
                        <a:pt x="132" y="120"/>
                      </a:lnTo>
                      <a:lnTo>
                        <a:pt x="132" y="126"/>
                      </a:lnTo>
                      <a:lnTo>
                        <a:pt x="138" y="132"/>
                      </a:lnTo>
                      <a:lnTo>
                        <a:pt x="138" y="144"/>
                      </a:lnTo>
                      <a:lnTo>
                        <a:pt x="144" y="150"/>
                      </a:lnTo>
                      <a:lnTo>
                        <a:pt x="144" y="156"/>
                      </a:lnTo>
                      <a:lnTo>
                        <a:pt x="132" y="156"/>
                      </a:lnTo>
                      <a:lnTo>
                        <a:pt x="138" y="150"/>
                      </a:lnTo>
                      <a:lnTo>
                        <a:pt x="138" y="144"/>
                      </a:lnTo>
                      <a:lnTo>
                        <a:pt x="120" y="144"/>
                      </a:lnTo>
                      <a:lnTo>
                        <a:pt x="108" y="150"/>
                      </a:lnTo>
                      <a:lnTo>
                        <a:pt x="102" y="156"/>
                      </a:lnTo>
                      <a:lnTo>
                        <a:pt x="96" y="168"/>
                      </a:lnTo>
                      <a:lnTo>
                        <a:pt x="84" y="156"/>
                      </a:lnTo>
                      <a:lnTo>
                        <a:pt x="84" y="174"/>
                      </a:lnTo>
                      <a:lnTo>
                        <a:pt x="54" y="174"/>
                      </a:lnTo>
                      <a:lnTo>
                        <a:pt x="54" y="168"/>
                      </a:lnTo>
                      <a:lnTo>
                        <a:pt x="48" y="162"/>
                      </a:lnTo>
                      <a:lnTo>
                        <a:pt x="42" y="162"/>
                      </a:lnTo>
                      <a:lnTo>
                        <a:pt x="30" y="168"/>
                      </a:lnTo>
                      <a:lnTo>
                        <a:pt x="18" y="168"/>
                      </a:lnTo>
                      <a:lnTo>
                        <a:pt x="12" y="174"/>
                      </a:lnTo>
                      <a:lnTo>
                        <a:pt x="6" y="174"/>
                      </a:lnTo>
                      <a:lnTo>
                        <a:pt x="12" y="186"/>
                      </a:lnTo>
                      <a:lnTo>
                        <a:pt x="18" y="192"/>
                      </a:lnTo>
                      <a:lnTo>
                        <a:pt x="18" y="204"/>
                      </a:lnTo>
                      <a:lnTo>
                        <a:pt x="24" y="210"/>
                      </a:lnTo>
                      <a:lnTo>
                        <a:pt x="36" y="234"/>
                      </a:lnTo>
                      <a:lnTo>
                        <a:pt x="42" y="240"/>
                      </a:lnTo>
                      <a:lnTo>
                        <a:pt x="42" y="246"/>
                      </a:lnTo>
                      <a:lnTo>
                        <a:pt x="36" y="252"/>
                      </a:lnTo>
                      <a:lnTo>
                        <a:pt x="36" y="264"/>
                      </a:lnTo>
                      <a:lnTo>
                        <a:pt x="12" y="270"/>
                      </a:lnTo>
                      <a:lnTo>
                        <a:pt x="12" y="288"/>
                      </a:lnTo>
                      <a:lnTo>
                        <a:pt x="0" y="288"/>
                      </a:lnTo>
                      <a:lnTo>
                        <a:pt x="0" y="294"/>
                      </a:lnTo>
                      <a:lnTo>
                        <a:pt x="6" y="300"/>
                      </a:lnTo>
                      <a:lnTo>
                        <a:pt x="12" y="300"/>
                      </a:lnTo>
                      <a:lnTo>
                        <a:pt x="24" y="312"/>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682" name="Azerbaijan"/>
                <p:cNvSpPr>
                  <a:spLocks noEditPoints="1"/>
                </p:cNvSpPr>
                <p:nvPr/>
              </p:nvSpPr>
              <p:spPr bwMode="gray">
                <a:xfrm>
                  <a:off x="3419" y="1447"/>
                  <a:ext cx="92" cy="74"/>
                </a:xfrm>
                <a:custGeom>
                  <a:avLst/>
                  <a:gdLst>
                    <a:gd name="T0" fmla="*/ 2147483647 w 360"/>
                    <a:gd name="T1" fmla="*/ 2147483647 h 288"/>
                    <a:gd name="T2" fmla="*/ 2147483647 w 360"/>
                    <a:gd name="T3" fmla="*/ 2147483647 h 288"/>
                    <a:gd name="T4" fmla="*/ 2147483647 w 360"/>
                    <a:gd name="T5" fmla="*/ 2147483647 h 288"/>
                    <a:gd name="T6" fmla="*/ 2147483647 w 360"/>
                    <a:gd name="T7" fmla="*/ 2147483647 h 288"/>
                    <a:gd name="T8" fmla="*/ 2147483647 w 360"/>
                    <a:gd name="T9" fmla="*/ 2147483647 h 288"/>
                    <a:gd name="T10" fmla="*/ 2147483647 w 360"/>
                    <a:gd name="T11" fmla="*/ 2147483647 h 288"/>
                    <a:gd name="T12" fmla="*/ 2147483647 w 360"/>
                    <a:gd name="T13" fmla="*/ 2147483647 h 288"/>
                    <a:gd name="T14" fmla="*/ 2147483647 w 360"/>
                    <a:gd name="T15" fmla="*/ 2147483647 h 288"/>
                    <a:gd name="T16" fmla="*/ 2147483647 w 360"/>
                    <a:gd name="T17" fmla="*/ 2147483647 h 288"/>
                    <a:gd name="T18" fmla="*/ 2147483647 w 360"/>
                    <a:gd name="T19" fmla="*/ 2147483647 h 288"/>
                    <a:gd name="T20" fmla="*/ 2147483647 w 360"/>
                    <a:gd name="T21" fmla="*/ 2147483647 h 288"/>
                    <a:gd name="T22" fmla="*/ 2147483647 w 360"/>
                    <a:gd name="T23" fmla="*/ 2147483647 h 288"/>
                    <a:gd name="T24" fmla="*/ 2147483647 w 360"/>
                    <a:gd name="T25" fmla="*/ 2147483647 h 288"/>
                    <a:gd name="T26" fmla="*/ 2147483647 w 360"/>
                    <a:gd name="T27" fmla="*/ 0 h 288"/>
                    <a:gd name="T28" fmla="*/ 2147483647 w 360"/>
                    <a:gd name="T29" fmla="*/ 2147483647 h 288"/>
                    <a:gd name="T30" fmla="*/ 2147483647 w 360"/>
                    <a:gd name="T31" fmla="*/ 2147483647 h 288"/>
                    <a:gd name="T32" fmla="*/ 2147483647 w 360"/>
                    <a:gd name="T33" fmla="*/ 2147483647 h 288"/>
                    <a:gd name="T34" fmla="*/ 2147483647 w 360"/>
                    <a:gd name="T35" fmla="*/ 2147483647 h 288"/>
                    <a:gd name="T36" fmla="*/ 2147483647 w 360"/>
                    <a:gd name="T37" fmla="*/ 2147483647 h 288"/>
                    <a:gd name="T38" fmla="*/ 2147483647 w 360"/>
                    <a:gd name="T39" fmla="*/ 0 h 288"/>
                    <a:gd name="T40" fmla="*/ 2147483647 w 360"/>
                    <a:gd name="T41" fmla="*/ 2147483647 h 288"/>
                    <a:gd name="T42" fmla="*/ 2147483647 w 360"/>
                    <a:gd name="T43" fmla="*/ 2147483647 h 288"/>
                    <a:gd name="T44" fmla="*/ 2147483647 w 360"/>
                    <a:gd name="T45" fmla="*/ 2147483647 h 288"/>
                    <a:gd name="T46" fmla="*/ 2147483647 w 360"/>
                    <a:gd name="T47" fmla="*/ 2147483647 h 288"/>
                    <a:gd name="T48" fmla="*/ 2147483647 w 360"/>
                    <a:gd name="T49" fmla="*/ 2147483647 h 288"/>
                    <a:gd name="T50" fmla="*/ 2147483647 w 360"/>
                    <a:gd name="T51" fmla="*/ 2147483647 h 288"/>
                    <a:gd name="T52" fmla="*/ 2147483647 w 360"/>
                    <a:gd name="T53" fmla="*/ 2147483647 h 288"/>
                    <a:gd name="T54" fmla="*/ 0 w 360"/>
                    <a:gd name="T55" fmla="*/ 2147483647 h 288"/>
                    <a:gd name="T56" fmla="*/ 2147483647 w 360"/>
                    <a:gd name="T57" fmla="*/ 2147483647 h 288"/>
                    <a:gd name="T58" fmla="*/ 2147483647 w 360"/>
                    <a:gd name="T59" fmla="*/ 2147483647 h 288"/>
                    <a:gd name="T60" fmla="*/ 2147483647 w 360"/>
                    <a:gd name="T61" fmla="*/ 2147483647 h 288"/>
                    <a:gd name="T62" fmla="*/ 2147483647 w 360"/>
                    <a:gd name="T63" fmla="*/ 2147483647 h 288"/>
                    <a:gd name="T64" fmla="*/ 2147483647 w 360"/>
                    <a:gd name="T65" fmla="*/ 2147483647 h 288"/>
                    <a:gd name="T66" fmla="*/ 2147483647 w 360"/>
                    <a:gd name="T67" fmla="*/ 2147483647 h 288"/>
                    <a:gd name="T68" fmla="*/ 2147483647 w 360"/>
                    <a:gd name="T69" fmla="*/ 2147483647 h 288"/>
                    <a:gd name="T70" fmla="*/ 2147483647 w 360"/>
                    <a:gd name="T71" fmla="*/ 2147483647 h 288"/>
                    <a:gd name="T72" fmla="*/ 2147483647 w 360"/>
                    <a:gd name="T73" fmla="*/ 2147483647 h 288"/>
                    <a:gd name="T74" fmla="*/ 2147483647 w 360"/>
                    <a:gd name="T75" fmla="*/ 2147483647 h 288"/>
                    <a:gd name="T76" fmla="*/ 2147483647 w 360"/>
                    <a:gd name="T77" fmla="*/ 2147483647 h 288"/>
                    <a:gd name="T78" fmla="*/ 2147483647 w 360"/>
                    <a:gd name="T79" fmla="*/ 2147483647 h 288"/>
                    <a:gd name="T80" fmla="*/ 2147483647 w 360"/>
                    <a:gd name="T81" fmla="*/ 2147483647 h 288"/>
                    <a:gd name="T82" fmla="*/ 2147483647 w 360"/>
                    <a:gd name="T83" fmla="*/ 2147483647 h 288"/>
                    <a:gd name="T84" fmla="*/ 2147483647 w 360"/>
                    <a:gd name="T85" fmla="*/ 2147483647 h 288"/>
                    <a:gd name="T86" fmla="*/ 2147483647 w 360"/>
                    <a:gd name="T87" fmla="*/ 2147483647 h 288"/>
                    <a:gd name="T88" fmla="*/ 2147483647 w 360"/>
                    <a:gd name="T89" fmla="*/ 2147483647 h 288"/>
                    <a:gd name="T90" fmla="*/ 2147483647 w 360"/>
                    <a:gd name="T91" fmla="*/ 2147483647 h 288"/>
                    <a:gd name="T92" fmla="*/ 2147483647 w 360"/>
                    <a:gd name="T93" fmla="*/ 2147483647 h 288"/>
                    <a:gd name="T94" fmla="*/ 2147483647 w 360"/>
                    <a:gd name="T95" fmla="*/ 2147483647 h 288"/>
                    <a:gd name="T96" fmla="*/ 2147483647 w 360"/>
                    <a:gd name="T97" fmla="*/ 2147483647 h 288"/>
                    <a:gd name="T98" fmla="*/ 2147483647 w 360"/>
                    <a:gd name="T99" fmla="*/ 2147483647 h 288"/>
                    <a:gd name="T100" fmla="*/ 2147483647 w 360"/>
                    <a:gd name="T101" fmla="*/ 2147483647 h 288"/>
                    <a:gd name="T102" fmla="*/ 2147483647 w 360"/>
                    <a:gd name="T103" fmla="*/ 2147483647 h 288"/>
                    <a:gd name="T104" fmla="*/ 2147483647 w 360"/>
                    <a:gd name="T105" fmla="*/ 2147483647 h 288"/>
                    <a:gd name="T106" fmla="*/ 2147483647 w 360"/>
                    <a:gd name="T107" fmla="*/ 2147483647 h 288"/>
                    <a:gd name="T108" fmla="*/ 2147483647 w 360"/>
                    <a:gd name="T109" fmla="*/ 2147483647 h 288"/>
                    <a:gd name="T110" fmla="*/ 2147483647 w 360"/>
                    <a:gd name="T111" fmla="*/ 2147483647 h 288"/>
                    <a:gd name="T112" fmla="*/ 2147483647 w 360"/>
                    <a:gd name="T113" fmla="*/ 2147483647 h 288"/>
                    <a:gd name="T114" fmla="*/ 2147483647 w 360"/>
                    <a:gd name="T115" fmla="*/ 2147483647 h 288"/>
                    <a:gd name="T116" fmla="*/ 2147483647 w 360"/>
                    <a:gd name="T117" fmla="*/ 2147483647 h 288"/>
                    <a:gd name="T118" fmla="*/ 2147483647 w 360"/>
                    <a:gd name="T119" fmla="*/ 2147483647 h 288"/>
                    <a:gd name="T120" fmla="*/ 2147483647 w 360"/>
                    <a:gd name="T121" fmla="*/ 2147483647 h 28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60"/>
                    <a:gd name="T184" fmla="*/ 0 h 288"/>
                    <a:gd name="T185" fmla="*/ 360 w 360"/>
                    <a:gd name="T186" fmla="*/ 288 h 28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60" h="288">
                      <a:moveTo>
                        <a:pt x="66" y="186"/>
                      </a:moveTo>
                      <a:lnTo>
                        <a:pt x="36" y="186"/>
                      </a:lnTo>
                      <a:lnTo>
                        <a:pt x="24" y="174"/>
                      </a:lnTo>
                      <a:lnTo>
                        <a:pt x="6" y="174"/>
                      </a:lnTo>
                      <a:lnTo>
                        <a:pt x="12" y="186"/>
                      </a:lnTo>
                      <a:lnTo>
                        <a:pt x="12" y="192"/>
                      </a:lnTo>
                      <a:lnTo>
                        <a:pt x="18" y="204"/>
                      </a:lnTo>
                      <a:lnTo>
                        <a:pt x="36" y="222"/>
                      </a:lnTo>
                      <a:lnTo>
                        <a:pt x="48" y="228"/>
                      </a:lnTo>
                      <a:lnTo>
                        <a:pt x="84" y="240"/>
                      </a:lnTo>
                      <a:lnTo>
                        <a:pt x="90" y="240"/>
                      </a:lnTo>
                      <a:lnTo>
                        <a:pt x="84" y="234"/>
                      </a:lnTo>
                      <a:lnTo>
                        <a:pt x="84" y="222"/>
                      </a:lnTo>
                      <a:lnTo>
                        <a:pt x="78" y="216"/>
                      </a:lnTo>
                      <a:lnTo>
                        <a:pt x="78" y="204"/>
                      </a:lnTo>
                      <a:lnTo>
                        <a:pt x="72" y="198"/>
                      </a:lnTo>
                      <a:lnTo>
                        <a:pt x="72" y="186"/>
                      </a:lnTo>
                      <a:lnTo>
                        <a:pt x="66" y="186"/>
                      </a:lnTo>
                      <a:close/>
                      <a:moveTo>
                        <a:pt x="354" y="108"/>
                      </a:moveTo>
                      <a:lnTo>
                        <a:pt x="348" y="102"/>
                      </a:lnTo>
                      <a:lnTo>
                        <a:pt x="330" y="102"/>
                      </a:lnTo>
                      <a:lnTo>
                        <a:pt x="318" y="108"/>
                      </a:lnTo>
                      <a:lnTo>
                        <a:pt x="306" y="108"/>
                      </a:lnTo>
                      <a:lnTo>
                        <a:pt x="288" y="90"/>
                      </a:lnTo>
                      <a:lnTo>
                        <a:pt x="288" y="84"/>
                      </a:lnTo>
                      <a:lnTo>
                        <a:pt x="264" y="54"/>
                      </a:lnTo>
                      <a:lnTo>
                        <a:pt x="264" y="42"/>
                      </a:lnTo>
                      <a:lnTo>
                        <a:pt x="216" y="0"/>
                      </a:lnTo>
                      <a:lnTo>
                        <a:pt x="216" y="30"/>
                      </a:lnTo>
                      <a:lnTo>
                        <a:pt x="210" y="36"/>
                      </a:lnTo>
                      <a:lnTo>
                        <a:pt x="192" y="36"/>
                      </a:lnTo>
                      <a:lnTo>
                        <a:pt x="192" y="48"/>
                      </a:lnTo>
                      <a:lnTo>
                        <a:pt x="186" y="54"/>
                      </a:lnTo>
                      <a:lnTo>
                        <a:pt x="162" y="54"/>
                      </a:lnTo>
                      <a:lnTo>
                        <a:pt x="156" y="48"/>
                      </a:lnTo>
                      <a:lnTo>
                        <a:pt x="144" y="42"/>
                      </a:lnTo>
                      <a:lnTo>
                        <a:pt x="138" y="30"/>
                      </a:lnTo>
                      <a:lnTo>
                        <a:pt x="120" y="12"/>
                      </a:lnTo>
                      <a:lnTo>
                        <a:pt x="84" y="0"/>
                      </a:lnTo>
                      <a:lnTo>
                        <a:pt x="72" y="0"/>
                      </a:lnTo>
                      <a:lnTo>
                        <a:pt x="60" y="12"/>
                      </a:lnTo>
                      <a:lnTo>
                        <a:pt x="78" y="30"/>
                      </a:lnTo>
                      <a:lnTo>
                        <a:pt x="84" y="30"/>
                      </a:lnTo>
                      <a:lnTo>
                        <a:pt x="90" y="36"/>
                      </a:lnTo>
                      <a:lnTo>
                        <a:pt x="96" y="48"/>
                      </a:lnTo>
                      <a:lnTo>
                        <a:pt x="102" y="54"/>
                      </a:lnTo>
                      <a:lnTo>
                        <a:pt x="108" y="66"/>
                      </a:lnTo>
                      <a:lnTo>
                        <a:pt x="102" y="72"/>
                      </a:lnTo>
                      <a:lnTo>
                        <a:pt x="84" y="54"/>
                      </a:lnTo>
                      <a:lnTo>
                        <a:pt x="72" y="54"/>
                      </a:lnTo>
                      <a:lnTo>
                        <a:pt x="60" y="60"/>
                      </a:lnTo>
                      <a:lnTo>
                        <a:pt x="42" y="42"/>
                      </a:lnTo>
                      <a:lnTo>
                        <a:pt x="42" y="36"/>
                      </a:lnTo>
                      <a:lnTo>
                        <a:pt x="36" y="30"/>
                      </a:lnTo>
                      <a:lnTo>
                        <a:pt x="12" y="30"/>
                      </a:lnTo>
                      <a:lnTo>
                        <a:pt x="0" y="42"/>
                      </a:lnTo>
                      <a:lnTo>
                        <a:pt x="0" y="48"/>
                      </a:lnTo>
                      <a:lnTo>
                        <a:pt x="6" y="48"/>
                      </a:lnTo>
                      <a:lnTo>
                        <a:pt x="12" y="54"/>
                      </a:lnTo>
                      <a:lnTo>
                        <a:pt x="12" y="66"/>
                      </a:lnTo>
                      <a:lnTo>
                        <a:pt x="30" y="66"/>
                      </a:lnTo>
                      <a:lnTo>
                        <a:pt x="36" y="72"/>
                      </a:lnTo>
                      <a:lnTo>
                        <a:pt x="36" y="96"/>
                      </a:lnTo>
                      <a:lnTo>
                        <a:pt x="30" y="102"/>
                      </a:lnTo>
                      <a:lnTo>
                        <a:pt x="36" y="102"/>
                      </a:lnTo>
                      <a:lnTo>
                        <a:pt x="42" y="108"/>
                      </a:lnTo>
                      <a:lnTo>
                        <a:pt x="66" y="120"/>
                      </a:lnTo>
                      <a:lnTo>
                        <a:pt x="72" y="126"/>
                      </a:lnTo>
                      <a:lnTo>
                        <a:pt x="72" y="132"/>
                      </a:lnTo>
                      <a:lnTo>
                        <a:pt x="54" y="150"/>
                      </a:lnTo>
                      <a:lnTo>
                        <a:pt x="42" y="150"/>
                      </a:lnTo>
                      <a:lnTo>
                        <a:pt x="72" y="162"/>
                      </a:lnTo>
                      <a:lnTo>
                        <a:pt x="84" y="180"/>
                      </a:lnTo>
                      <a:lnTo>
                        <a:pt x="114" y="186"/>
                      </a:lnTo>
                      <a:lnTo>
                        <a:pt x="114" y="198"/>
                      </a:lnTo>
                      <a:lnTo>
                        <a:pt x="120" y="210"/>
                      </a:lnTo>
                      <a:lnTo>
                        <a:pt x="120" y="240"/>
                      </a:lnTo>
                      <a:lnTo>
                        <a:pt x="132" y="240"/>
                      </a:lnTo>
                      <a:lnTo>
                        <a:pt x="138" y="228"/>
                      </a:lnTo>
                      <a:lnTo>
                        <a:pt x="144" y="222"/>
                      </a:lnTo>
                      <a:lnTo>
                        <a:pt x="144" y="216"/>
                      </a:lnTo>
                      <a:lnTo>
                        <a:pt x="156" y="204"/>
                      </a:lnTo>
                      <a:lnTo>
                        <a:pt x="174" y="192"/>
                      </a:lnTo>
                      <a:lnTo>
                        <a:pt x="186" y="186"/>
                      </a:lnTo>
                      <a:lnTo>
                        <a:pt x="198" y="174"/>
                      </a:lnTo>
                      <a:lnTo>
                        <a:pt x="210" y="168"/>
                      </a:lnTo>
                      <a:lnTo>
                        <a:pt x="222" y="168"/>
                      </a:lnTo>
                      <a:lnTo>
                        <a:pt x="228" y="180"/>
                      </a:lnTo>
                      <a:lnTo>
                        <a:pt x="234" y="186"/>
                      </a:lnTo>
                      <a:lnTo>
                        <a:pt x="234" y="204"/>
                      </a:lnTo>
                      <a:lnTo>
                        <a:pt x="228" y="210"/>
                      </a:lnTo>
                      <a:lnTo>
                        <a:pt x="228" y="222"/>
                      </a:lnTo>
                      <a:lnTo>
                        <a:pt x="234" y="222"/>
                      </a:lnTo>
                      <a:lnTo>
                        <a:pt x="240" y="228"/>
                      </a:lnTo>
                      <a:lnTo>
                        <a:pt x="240" y="234"/>
                      </a:lnTo>
                      <a:lnTo>
                        <a:pt x="234" y="240"/>
                      </a:lnTo>
                      <a:lnTo>
                        <a:pt x="222" y="240"/>
                      </a:lnTo>
                      <a:lnTo>
                        <a:pt x="222" y="246"/>
                      </a:lnTo>
                      <a:lnTo>
                        <a:pt x="234" y="258"/>
                      </a:lnTo>
                      <a:lnTo>
                        <a:pt x="246" y="264"/>
                      </a:lnTo>
                      <a:lnTo>
                        <a:pt x="252" y="270"/>
                      </a:lnTo>
                      <a:lnTo>
                        <a:pt x="258" y="270"/>
                      </a:lnTo>
                      <a:lnTo>
                        <a:pt x="264" y="276"/>
                      </a:lnTo>
                      <a:lnTo>
                        <a:pt x="264" y="282"/>
                      </a:lnTo>
                      <a:lnTo>
                        <a:pt x="282" y="282"/>
                      </a:lnTo>
                      <a:lnTo>
                        <a:pt x="282" y="288"/>
                      </a:lnTo>
                      <a:lnTo>
                        <a:pt x="288" y="282"/>
                      </a:lnTo>
                      <a:lnTo>
                        <a:pt x="288" y="258"/>
                      </a:lnTo>
                      <a:lnTo>
                        <a:pt x="282" y="252"/>
                      </a:lnTo>
                      <a:lnTo>
                        <a:pt x="276" y="252"/>
                      </a:lnTo>
                      <a:lnTo>
                        <a:pt x="270" y="246"/>
                      </a:lnTo>
                      <a:lnTo>
                        <a:pt x="288" y="240"/>
                      </a:lnTo>
                      <a:lnTo>
                        <a:pt x="288" y="210"/>
                      </a:lnTo>
                      <a:lnTo>
                        <a:pt x="300" y="222"/>
                      </a:lnTo>
                      <a:lnTo>
                        <a:pt x="306" y="222"/>
                      </a:lnTo>
                      <a:lnTo>
                        <a:pt x="318" y="210"/>
                      </a:lnTo>
                      <a:lnTo>
                        <a:pt x="300" y="192"/>
                      </a:lnTo>
                      <a:lnTo>
                        <a:pt x="300" y="138"/>
                      </a:lnTo>
                      <a:lnTo>
                        <a:pt x="318" y="138"/>
                      </a:lnTo>
                      <a:lnTo>
                        <a:pt x="330" y="126"/>
                      </a:lnTo>
                      <a:lnTo>
                        <a:pt x="360" y="132"/>
                      </a:lnTo>
                      <a:lnTo>
                        <a:pt x="360" y="120"/>
                      </a:lnTo>
                      <a:lnTo>
                        <a:pt x="354" y="108"/>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683" name="Austria"/>
                <p:cNvSpPr>
                  <a:spLocks/>
                </p:cNvSpPr>
                <p:nvPr/>
              </p:nvSpPr>
              <p:spPr bwMode="gray">
                <a:xfrm>
                  <a:off x="2828" y="1303"/>
                  <a:ext cx="117" cy="52"/>
                </a:xfrm>
                <a:custGeom>
                  <a:avLst/>
                  <a:gdLst>
                    <a:gd name="T0" fmla="*/ 2147483647 w 456"/>
                    <a:gd name="T1" fmla="*/ 2147483647 h 204"/>
                    <a:gd name="T2" fmla="*/ 2147483647 w 456"/>
                    <a:gd name="T3" fmla="*/ 2147483647 h 204"/>
                    <a:gd name="T4" fmla="*/ 2147483647 w 456"/>
                    <a:gd name="T5" fmla="*/ 2147483647 h 204"/>
                    <a:gd name="T6" fmla="*/ 2147483647 w 456"/>
                    <a:gd name="T7" fmla="*/ 2147483647 h 204"/>
                    <a:gd name="T8" fmla="*/ 2147483647 w 456"/>
                    <a:gd name="T9" fmla="*/ 2147483647 h 204"/>
                    <a:gd name="T10" fmla="*/ 2147483647 w 456"/>
                    <a:gd name="T11" fmla="*/ 2147483647 h 204"/>
                    <a:gd name="T12" fmla="*/ 2147483647 w 456"/>
                    <a:gd name="T13" fmla="*/ 2147483647 h 204"/>
                    <a:gd name="T14" fmla="*/ 2147483647 w 456"/>
                    <a:gd name="T15" fmla="*/ 0 h 204"/>
                    <a:gd name="T16" fmla="*/ 2147483647 w 456"/>
                    <a:gd name="T17" fmla="*/ 2147483647 h 204"/>
                    <a:gd name="T18" fmla="*/ 2147483647 w 456"/>
                    <a:gd name="T19" fmla="*/ 2147483647 h 204"/>
                    <a:gd name="T20" fmla="*/ 2147483647 w 456"/>
                    <a:gd name="T21" fmla="*/ 2147483647 h 204"/>
                    <a:gd name="T22" fmla="*/ 2147483647 w 456"/>
                    <a:gd name="T23" fmla="*/ 2147483647 h 204"/>
                    <a:gd name="T24" fmla="*/ 2147483647 w 456"/>
                    <a:gd name="T25" fmla="*/ 2147483647 h 204"/>
                    <a:gd name="T26" fmla="*/ 2147483647 w 456"/>
                    <a:gd name="T27" fmla="*/ 2147483647 h 204"/>
                    <a:gd name="T28" fmla="*/ 2147483647 w 456"/>
                    <a:gd name="T29" fmla="*/ 2147483647 h 204"/>
                    <a:gd name="T30" fmla="*/ 2147483647 w 456"/>
                    <a:gd name="T31" fmla="*/ 2147483647 h 204"/>
                    <a:gd name="T32" fmla="*/ 2147483647 w 456"/>
                    <a:gd name="T33" fmla="*/ 2147483647 h 204"/>
                    <a:gd name="T34" fmla="*/ 2147483647 w 456"/>
                    <a:gd name="T35" fmla="*/ 2147483647 h 204"/>
                    <a:gd name="T36" fmla="*/ 2147483647 w 456"/>
                    <a:gd name="T37" fmla="*/ 2147483647 h 204"/>
                    <a:gd name="T38" fmla="*/ 2147483647 w 456"/>
                    <a:gd name="T39" fmla="*/ 2147483647 h 204"/>
                    <a:gd name="T40" fmla="*/ 2147483647 w 456"/>
                    <a:gd name="T41" fmla="*/ 2147483647 h 204"/>
                    <a:gd name="T42" fmla="*/ 2147483647 w 456"/>
                    <a:gd name="T43" fmla="*/ 2147483647 h 204"/>
                    <a:gd name="T44" fmla="*/ 2147483647 w 456"/>
                    <a:gd name="T45" fmla="*/ 2147483647 h 204"/>
                    <a:gd name="T46" fmla="*/ 2147483647 w 456"/>
                    <a:gd name="T47" fmla="*/ 2147483647 h 204"/>
                    <a:gd name="T48" fmla="*/ 2147483647 w 456"/>
                    <a:gd name="T49" fmla="*/ 2147483647 h 204"/>
                    <a:gd name="T50" fmla="*/ 2147483647 w 456"/>
                    <a:gd name="T51" fmla="*/ 2147483647 h 204"/>
                    <a:gd name="T52" fmla="*/ 2147483647 w 456"/>
                    <a:gd name="T53" fmla="*/ 2147483647 h 204"/>
                    <a:gd name="T54" fmla="*/ 0 w 456"/>
                    <a:gd name="T55" fmla="*/ 2147483647 h 204"/>
                    <a:gd name="T56" fmla="*/ 2147483647 w 456"/>
                    <a:gd name="T57" fmla="*/ 2147483647 h 204"/>
                    <a:gd name="T58" fmla="*/ 2147483647 w 456"/>
                    <a:gd name="T59" fmla="*/ 2147483647 h 204"/>
                    <a:gd name="T60" fmla="*/ 2147483647 w 456"/>
                    <a:gd name="T61" fmla="*/ 2147483647 h 204"/>
                    <a:gd name="T62" fmla="*/ 2147483647 w 456"/>
                    <a:gd name="T63" fmla="*/ 2147483647 h 204"/>
                    <a:gd name="T64" fmla="*/ 2147483647 w 456"/>
                    <a:gd name="T65" fmla="*/ 2147483647 h 204"/>
                    <a:gd name="T66" fmla="*/ 2147483647 w 456"/>
                    <a:gd name="T67" fmla="*/ 2147483647 h 204"/>
                    <a:gd name="T68" fmla="*/ 2147483647 w 456"/>
                    <a:gd name="T69" fmla="*/ 2147483647 h 204"/>
                    <a:gd name="T70" fmla="*/ 2147483647 w 456"/>
                    <a:gd name="T71" fmla="*/ 2147483647 h 204"/>
                    <a:gd name="T72" fmla="*/ 2147483647 w 456"/>
                    <a:gd name="T73" fmla="*/ 2147483647 h 204"/>
                    <a:gd name="T74" fmla="*/ 2147483647 w 456"/>
                    <a:gd name="T75" fmla="*/ 2147483647 h 204"/>
                    <a:gd name="T76" fmla="*/ 2147483647 w 456"/>
                    <a:gd name="T77" fmla="*/ 2147483647 h 204"/>
                    <a:gd name="T78" fmla="*/ 2147483647 w 456"/>
                    <a:gd name="T79" fmla="*/ 2147483647 h 204"/>
                    <a:gd name="T80" fmla="*/ 2147483647 w 456"/>
                    <a:gd name="T81" fmla="*/ 2147483647 h 204"/>
                    <a:gd name="T82" fmla="*/ 2147483647 w 456"/>
                    <a:gd name="T83" fmla="*/ 2147483647 h 204"/>
                    <a:gd name="T84" fmla="*/ 2147483647 w 456"/>
                    <a:gd name="T85" fmla="*/ 2147483647 h 204"/>
                    <a:gd name="T86" fmla="*/ 2147483647 w 456"/>
                    <a:gd name="T87" fmla="*/ 2147483647 h 204"/>
                    <a:gd name="T88" fmla="*/ 2147483647 w 456"/>
                    <a:gd name="T89" fmla="*/ 2147483647 h 204"/>
                    <a:gd name="T90" fmla="*/ 2147483647 w 456"/>
                    <a:gd name="T91" fmla="*/ 2147483647 h 20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56"/>
                    <a:gd name="T139" fmla="*/ 0 h 204"/>
                    <a:gd name="T140" fmla="*/ 456 w 456"/>
                    <a:gd name="T141" fmla="*/ 204 h 204"/>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56" h="204">
                      <a:moveTo>
                        <a:pt x="456" y="102"/>
                      </a:moveTo>
                      <a:lnTo>
                        <a:pt x="456" y="60"/>
                      </a:lnTo>
                      <a:lnTo>
                        <a:pt x="450" y="60"/>
                      </a:lnTo>
                      <a:lnTo>
                        <a:pt x="450" y="48"/>
                      </a:lnTo>
                      <a:lnTo>
                        <a:pt x="456" y="24"/>
                      </a:lnTo>
                      <a:lnTo>
                        <a:pt x="444" y="18"/>
                      </a:lnTo>
                      <a:lnTo>
                        <a:pt x="438" y="18"/>
                      </a:lnTo>
                      <a:lnTo>
                        <a:pt x="432" y="12"/>
                      </a:lnTo>
                      <a:lnTo>
                        <a:pt x="420" y="12"/>
                      </a:lnTo>
                      <a:lnTo>
                        <a:pt x="414" y="18"/>
                      </a:lnTo>
                      <a:lnTo>
                        <a:pt x="402" y="24"/>
                      </a:lnTo>
                      <a:lnTo>
                        <a:pt x="390" y="12"/>
                      </a:lnTo>
                      <a:lnTo>
                        <a:pt x="378" y="18"/>
                      </a:lnTo>
                      <a:lnTo>
                        <a:pt x="366" y="6"/>
                      </a:lnTo>
                      <a:lnTo>
                        <a:pt x="354" y="0"/>
                      </a:lnTo>
                      <a:lnTo>
                        <a:pt x="336" y="0"/>
                      </a:lnTo>
                      <a:lnTo>
                        <a:pt x="330" y="6"/>
                      </a:lnTo>
                      <a:lnTo>
                        <a:pt x="324" y="18"/>
                      </a:lnTo>
                      <a:lnTo>
                        <a:pt x="318" y="18"/>
                      </a:lnTo>
                      <a:lnTo>
                        <a:pt x="318" y="36"/>
                      </a:lnTo>
                      <a:lnTo>
                        <a:pt x="306" y="30"/>
                      </a:lnTo>
                      <a:lnTo>
                        <a:pt x="300" y="30"/>
                      </a:lnTo>
                      <a:lnTo>
                        <a:pt x="288" y="36"/>
                      </a:lnTo>
                      <a:lnTo>
                        <a:pt x="276" y="36"/>
                      </a:lnTo>
                      <a:lnTo>
                        <a:pt x="258" y="18"/>
                      </a:lnTo>
                      <a:lnTo>
                        <a:pt x="252" y="36"/>
                      </a:lnTo>
                      <a:lnTo>
                        <a:pt x="234" y="36"/>
                      </a:lnTo>
                      <a:lnTo>
                        <a:pt x="240" y="48"/>
                      </a:lnTo>
                      <a:lnTo>
                        <a:pt x="240" y="66"/>
                      </a:lnTo>
                      <a:lnTo>
                        <a:pt x="234" y="66"/>
                      </a:lnTo>
                      <a:lnTo>
                        <a:pt x="228" y="60"/>
                      </a:lnTo>
                      <a:lnTo>
                        <a:pt x="210" y="60"/>
                      </a:lnTo>
                      <a:lnTo>
                        <a:pt x="204" y="66"/>
                      </a:lnTo>
                      <a:lnTo>
                        <a:pt x="204" y="72"/>
                      </a:lnTo>
                      <a:lnTo>
                        <a:pt x="198" y="78"/>
                      </a:lnTo>
                      <a:lnTo>
                        <a:pt x="198" y="84"/>
                      </a:lnTo>
                      <a:lnTo>
                        <a:pt x="210" y="84"/>
                      </a:lnTo>
                      <a:lnTo>
                        <a:pt x="210" y="126"/>
                      </a:lnTo>
                      <a:lnTo>
                        <a:pt x="204" y="126"/>
                      </a:lnTo>
                      <a:lnTo>
                        <a:pt x="192" y="114"/>
                      </a:lnTo>
                      <a:lnTo>
                        <a:pt x="174" y="108"/>
                      </a:lnTo>
                      <a:lnTo>
                        <a:pt x="162" y="102"/>
                      </a:lnTo>
                      <a:lnTo>
                        <a:pt x="144" y="114"/>
                      </a:lnTo>
                      <a:lnTo>
                        <a:pt x="126" y="114"/>
                      </a:lnTo>
                      <a:lnTo>
                        <a:pt x="108" y="126"/>
                      </a:lnTo>
                      <a:lnTo>
                        <a:pt x="102" y="132"/>
                      </a:lnTo>
                      <a:lnTo>
                        <a:pt x="84" y="132"/>
                      </a:lnTo>
                      <a:lnTo>
                        <a:pt x="66" y="114"/>
                      </a:lnTo>
                      <a:lnTo>
                        <a:pt x="48" y="114"/>
                      </a:lnTo>
                      <a:lnTo>
                        <a:pt x="48" y="126"/>
                      </a:lnTo>
                      <a:lnTo>
                        <a:pt x="42" y="132"/>
                      </a:lnTo>
                      <a:lnTo>
                        <a:pt x="30" y="132"/>
                      </a:lnTo>
                      <a:lnTo>
                        <a:pt x="30" y="126"/>
                      </a:lnTo>
                      <a:lnTo>
                        <a:pt x="24" y="120"/>
                      </a:lnTo>
                      <a:lnTo>
                        <a:pt x="0" y="120"/>
                      </a:lnTo>
                      <a:lnTo>
                        <a:pt x="0" y="156"/>
                      </a:lnTo>
                      <a:lnTo>
                        <a:pt x="18" y="156"/>
                      </a:lnTo>
                      <a:lnTo>
                        <a:pt x="18" y="174"/>
                      </a:lnTo>
                      <a:lnTo>
                        <a:pt x="24" y="174"/>
                      </a:lnTo>
                      <a:lnTo>
                        <a:pt x="42" y="156"/>
                      </a:lnTo>
                      <a:lnTo>
                        <a:pt x="48" y="156"/>
                      </a:lnTo>
                      <a:lnTo>
                        <a:pt x="60" y="168"/>
                      </a:lnTo>
                      <a:lnTo>
                        <a:pt x="60" y="174"/>
                      </a:lnTo>
                      <a:lnTo>
                        <a:pt x="72" y="174"/>
                      </a:lnTo>
                      <a:lnTo>
                        <a:pt x="84" y="180"/>
                      </a:lnTo>
                      <a:lnTo>
                        <a:pt x="96" y="162"/>
                      </a:lnTo>
                      <a:lnTo>
                        <a:pt x="138" y="162"/>
                      </a:lnTo>
                      <a:lnTo>
                        <a:pt x="138" y="156"/>
                      </a:lnTo>
                      <a:lnTo>
                        <a:pt x="144" y="150"/>
                      </a:lnTo>
                      <a:lnTo>
                        <a:pt x="162" y="150"/>
                      </a:lnTo>
                      <a:lnTo>
                        <a:pt x="168" y="156"/>
                      </a:lnTo>
                      <a:lnTo>
                        <a:pt x="168" y="174"/>
                      </a:lnTo>
                      <a:lnTo>
                        <a:pt x="180" y="174"/>
                      </a:lnTo>
                      <a:lnTo>
                        <a:pt x="186" y="192"/>
                      </a:lnTo>
                      <a:lnTo>
                        <a:pt x="240" y="192"/>
                      </a:lnTo>
                      <a:lnTo>
                        <a:pt x="240" y="204"/>
                      </a:lnTo>
                      <a:lnTo>
                        <a:pt x="258" y="204"/>
                      </a:lnTo>
                      <a:lnTo>
                        <a:pt x="264" y="198"/>
                      </a:lnTo>
                      <a:lnTo>
                        <a:pt x="282" y="198"/>
                      </a:lnTo>
                      <a:lnTo>
                        <a:pt x="288" y="204"/>
                      </a:lnTo>
                      <a:lnTo>
                        <a:pt x="318" y="204"/>
                      </a:lnTo>
                      <a:lnTo>
                        <a:pt x="318" y="192"/>
                      </a:lnTo>
                      <a:lnTo>
                        <a:pt x="366" y="192"/>
                      </a:lnTo>
                      <a:lnTo>
                        <a:pt x="378" y="186"/>
                      </a:lnTo>
                      <a:lnTo>
                        <a:pt x="402" y="192"/>
                      </a:lnTo>
                      <a:lnTo>
                        <a:pt x="414" y="156"/>
                      </a:lnTo>
                      <a:lnTo>
                        <a:pt x="432" y="156"/>
                      </a:lnTo>
                      <a:lnTo>
                        <a:pt x="432" y="132"/>
                      </a:lnTo>
                      <a:lnTo>
                        <a:pt x="444" y="114"/>
                      </a:lnTo>
                      <a:lnTo>
                        <a:pt x="432" y="114"/>
                      </a:lnTo>
                      <a:lnTo>
                        <a:pt x="438" y="102"/>
                      </a:lnTo>
                      <a:lnTo>
                        <a:pt x="456" y="102"/>
                      </a:lnTo>
                      <a:close/>
                    </a:path>
                  </a:pathLst>
                </a:custGeom>
                <a:solidFill>
                  <a:schemeClr val="accent1"/>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684" name="Australia"/>
                <p:cNvSpPr>
                  <a:spLocks noEditPoints="1"/>
                </p:cNvSpPr>
                <p:nvPr/>
              </p:nvSpPr>
              <p:spPr bwMode="gray">
                <a:xfrm>
                  <a:off x="4633" y="2529"/>
                  <a:ext cx="726" cy="681"/>
                </a:xfrm>
                <a:custGeom>
                  <a:avLst/>
                  <a:gdLst>
                    <a:gd name="T0" fmla="*/ 2147483647 w 2838"/>
                    <a:gd name="T1" fmla="*/ 2147483647 h 2664"/>
                    <a:gd name="T2" fmla="*/ 2147483647 w 2838"/>
                    <a:gd name="T3" fmla="*/ 2147483647 h 2664"/>
                    <a:gd name="T4" fmla="*/ 2147483647 w 2838"/>
                    <a:gd name="T5" fmla="*/ 2147483647 h 2664"/>
                    <a:gd name="T6" fmla="*/ 2147483647 w 2838"/>
                    <a:gd name="T7" fmla="*/ 2147483647 h 2664"/>
                    <a:gd name="T8" fmla="*/ 2147483647 w 2838"/>
                    <a:gd name="T9" fmla="*/ 2147483647 h 2664"/>
                    <a:gd name="T10" fmla="*/ 2147483647 w 2838"/>
                    <a:gd name="T11" fmla="*/ 2147483647 h 2664"/>
                    <a:gd name="T12" fmla="*/ 2147483647 w 2838"/>
                    <a:gd name="T13" fmla="*/ 2147483647 h 2664"/>
                    <a:gd name="T14" fmla="*/ 2147483647 w 2838"/>
                    <a:gd name="T15" fmla="*/ 2147483647 h 2664"/>
                    <a:gd name="T16" fmla="*/ 2147483647 w 2838"/>
                    <a:gd name="T17" fmla="*/ 2147483647 h 2664"/>
                    <a:gd name="T18" fmla="*/ 2147483647 w 2838"/>
                    <a:gd name="T19" fmla="*/ 2147483647 h 2664"/>
                    <a:gd name="T20" fmla="*/ 2147483647 w 2838"/>
                    <a:gd name="T21" fmla="*/ 2147483647 h 2664"/>
                    <a:gd name="T22" fmla="*/ 2147483647 w 2838"/>
                    <a:gd name="T23" fmla="*/ 2147483647 h 2664"/>
                    <a:gd name="T24" fmla="*/ 2147483647 w 2838"/>
                    <a:gd name="T25" fmla="*/ 2147483647 h 2664"/>
                    <a:gd name="T26" fmla="*/ 2147483647 w 2838"/>
                    <a:gd name="T27" fmla="*/ 2147483647 h 2664"/>
                    <a:gd name="T28" fmla="*/ 2147483647 w 2838"/>
                    <a:gd name="T29" fmla="*/ 2147483647 h 2664"/>
                    <a:gd name="T30" fmla="*/ 2147483647 w 2838"/>
                    <a:gd name="T31" fmla="*/ 2147483647 h 2664"/>
                    <a:gd name="T32" fmla="*/ 2147483647 w 2838"/>
                    <a:gd name="T33" fmla="*/ 2147483647 h 2664"/>
                    <a:gd name="T34" fmla="*/ 2147483647 w 2838"/>
                    <a:gd name="T35" fmla="*/ 2147483647 h 2664"/>
                    <a:gd name="T36" fmla="*/ 2147483647 w 2838"/>
                    <a:gd name="T37" fmla="*/ 2147483647 h 2664"/>
                    <a:gd name="T38" fmla="*/ 2147483647 w 2838"/>
                    <a:gd name="T39" fmla="*/ 2147483647 h 2664"/>
                    <a:gd name="T40" fmla="*/ 2147483647 w 2838"/>
                    <a:gd name="T41" fmla="*/ 2147483647 h 2664"/>
                    <a:gd name="T42" fmla="*/ 2147483647 w 2838"/>
                    <a:gd name="T43" fmla="*/ 2147483647 h 2664"/>
                    <a:gd name="T44" fmla="*/ 2147483647 w 2838"/>
                    <a:gd name="T45" fmla="*/ 2147483647 h 2664"/>
                    <a:gd name="T46" fmla="*/ 2147483647 w 2838"/>
                    <a:gd name="T47" fmla="*/ 2147483647 h 2664"/>
                    <a:gd name="T48" fmla="*/ 2147483647 w 2838"/>
                    <a:gd name="T49" fmla="*/ 2147483647 h 2664"/>
                    <a:gd name="T50" fmla="*/ 2147483647 w 2838"/>
                    <a:gd name="T51" fmla="*/ 2147483647 h 2664"/>
                    <a:gd name="T52" fmla="*/ 2147483647 w 2838"/>
                    <a:gd name="T53" fmla="*/ 2147483647 h 2664"/>
                    <a:gd name="T54" fmla="*/ 2147483647 w 2838"/>
                    <a:gd name="T55" fmla="*/ 2147483647 h 2664"/>
                    <a:gd name="T56" fmla="*/ 2147483647 w 2838"/>
                    <a:gd name="T57" fmla="*/ 2147483647 h 2664"/>
                    <a:gd name="T58" fmla="*/ 2147483647 w 2838"/>
                    <a:gd name="T59" fmla="*/ 2147483647 h 2664"/>
                    <a:gd name="T60" fmla="*/ 2147483647 w 2838"/>
                    <a:gd name="T61" fmla="*/ 2147483647 h 2664"/>
                    <a:gd name="T62" fmla="*/ 2147483647 w 2838"/>
                    <a:gd name="T63" fmla="*/ 2147483647 h 2664"/>
                    <a:gd name="T64" fmla="*/ 2147483647 w 2838"/>
                    <a:gd name="T65" fmla="*/ 2147483647 h 2664"/>
                    <a:gd name="T66" fmla="*/ 2147483647 w 2838"/>
                    <a:gd name="T67" fmla="*/ 2147483647 h 2664"/>
                    <a:gd name="T68" fmla="*/ 2147483647 w 2838"/>
                    <a:gd name="T69" fmla="*/ 2147483647 h 2664"/>
                    <a:gd name="T70" fmla="*/ 2147483647 w 2838"/>
                    <a:gd name="T71" fmla="*/ 2147483647 h 2664"/>
                    <a:gd name="T72" fmla="*/ 2147483647 w 2838"/>
                    <a:gd name="T73" fmla="*/ 2147483647 h 2664"/>
                    <a:gd name="T74" fmla="*/ 2147483647 w 2838"/>
                    <a:gd name="T75" fmla="*/ 2147483647 h 2664"/>
                    <a:gd name="T76" fmla="*/ 2147483647 w 2838"/>
                    <a:gd name="T77" fmla="*/ 2147483647 h 2664"/>
                    <a:gd name="T78" fmla="*/ 2147483647 w 2838"/>
                    <a:gd name="T79" fmla="*/ 2147483647 h 2664"/>
                    <a:gd name="T80" fmla="*/ 2147483647 w 2838"/>
                    <a:gd name="T81" fmla="*/ 2147483647 h 2664"/>
                    <a:gd name="T82" fmla="*/ 2147483647 w 2838"/>
                    <a:gd name="T83" fmla="*/ 2147483647 h 2664"/>
                    <a:gd name="T84" fmla="*/ 2147483647 w 2838"/>
                    <a:gd name="T85" fmla="*/ 2147483647 h 2664"/>
                    <a:gd name="T86" fmla="*/ 2147483647 w 2838"/>
                    <a:gd name="T87" fmla="*/ 2147483647 h 2664"/>
                    <a:gd name="T88" fmla="*/ 2147483647 w 2838"/>
                    <a:gd name="T89" fmla="*/ 2147483647 h 2664"/>
                    <a:gd name="T90" fmla="*/ 2147483647 w 2838"/>
                    <a:gd name="T91" fmla="*/ 2147483647 h 2664"/>
                    <a:gd name="T92" fmla="*/ 2147483647 w 2838"/>
                    <a:gd name="T93" fmla="*/ 2147483647 h 2664"/>
                    <a:gd name="T94" fmla="*/ 2147483647 w 2838"/>
                    <a:gd name="T95" fmla="*/ 2147483647 h 2664"/>
                    <a:gd name="T96" fmla="*/ 2147483647 w 2838"/>
                    <a:gd name="T97" fmla="*/ 2147483647 h 2664"/>
                    <a:gd name="T98" fmla="*/ 2147483647 w 2838"/>
                    <a:gd name="T99" fmla="*/ 2147483647 h 2664"/>
                    <a:gd name="T100" fmla="*/ 2147483647 w 2838"/>
                    <a:gd name="T101" fmla="*/ 2147483647 h 2664"/>
                    <a:gd name="T102" fmla="*/ 2147483647 w 2838"/>
                    <a:gd name="T103" fmla="*/ 2147483647 h 2664"/>
                    <a:gd name="T104" fmla="*/ 2147483647 w 2838"/>
                    <a:gd name="T105" fmla="*/ 2147483647 h 2664"/>
                    <a:gd name="T106" fmla="*/ 2147483647 w 2838"/>
                    <a:gd name="T107" fmla="*/ 2147483647 h 2664"/>
                    <a:gd name="T108" fmla="*/ 2147483647 w 2838"/>
                    <a:gd name="T109" fmla="*/ 2147483647 h 2664"/>
                    <a:gd name="T110" fmla="*/ 2147483647 w 2838"/>
                    <a:gd name="T111" fmla="*/ 2147483647 h 2664"/>
                    <a:gd name="T112" fmla="*/ 2147483647 w 2838"/>
                    <a:gd name="T113" fmla="*/ 2147483647 h 2664"/>
                    <a:gd name="T114" fmla="*/ 2147483647 w 2838"/>
                    <a:gd name="T115" fmla="*/ 2147483647 h 2664"/>
                    <a:gd name="T116" fmla="*/ 2147483647 w 2838"/>
                    <a:gd name="T117" fmla="*/ 2147483647 h 266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838"/>
                    <a:gd name="T178" fmla="*/ 0 h 2664"/>
                    <a:gd name="T179" fmla="*/ 2838 w 2838"/>
                    <a:gd name="T180" fmla="*/ 2664 h 266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838" h="2664">
                      <a:moveTo>
                        <a:pt x="1530" y="66"/>
                      </a:moveTo>
                      <a:lnTo>
                        <a:pt x="1524" y="60"/>
                      </a:lnTo>
                      <a:lnTo>
                        <a:pt x="1518" y="60"/>
                      </a:lnTo>
                      <a:lnTo>
                        <a:pt x="1506" y="66"/>
                      </a:lnTo>
                      <a:lnTo>
                        <a:pt x="1500" y="72"/>
                      </a:lnTo>
                      <a:lnTo>
                        <a:pt x="1494" y="84"/>
                      </a:lnTo>
                      <a:lnTo>
                        <a:pt x="1494" y="102"/>
                      </a:lnTo>
                      <a:lnTo>
                        <a:pt x="1506" y="102"/>
                      </a:lnTo>
                      <a:lnTo>
                        <a:pt x="1512" y="90"/>
                      </a:lnTo>
                      <a:lnTo>
                        <a:pt x="1524" y="78"/>
                      </a:lnTo>
                      <a:lnTo>
                        <a:pt x="1530" y="66"/>
                      </a:lnTo>
                      <a:close/>
                      <a:moveTo>
                        <a:pt x="1476" y="2016"/>
                      </a:moveTo>
                      <a:lnTo>
                        <a:pt x="1464" y="2016"/>
                      </a:lnTo>
                      <a:lnTo>
                        <a:pt x="1440" y="2028"/>
                      </a:lnTo>
                      <a:lnTo>
                        <a:pt x="1440" y="2034"/>
                      </a:lnTo>
                      <a:lnTo>
                        <a:pt x="1452" y="2046"/>
                      </a:lnTo>
                      <a:lnTo>
                        <a:pt x="1452" y="2052"/>
                      </a:lnTo>
                      <a:lnTo>
                        <a:pt x="1470" y="2052"/>
                      </a:lnTo>
                      <a:lnTo>
                        <a:pt x="1482" y="2046"/>
                      </a:lnTo>
                      <a:lnTo>
                        <a:pt x="1488" y="2040"/>
                      </a:lnTo>
                      <a:lnTo>
                        <a:pt x="1506" y="2040"/>
                      </a:lnTo>
                      <a:lnTo>
                        <a:pt x="1512" y="2034"/>
                      </a:lnTo>
                      <a:lnTo>
                        <a:pt x="1530" y="2034"/>
                      </a:lnTo>
                      <a:lnTo>
                        <a:pt x="1536" y="2028"/>
                      </a:lnTo>
                      <a:lnTo>
                        <a:pt x="1512" y="2028"/>
                      </a:lnTo>
                      <a:lnTo>
                        <a:pt x="1500" y="2016"/>
                      </a:lnTo>
                      <a:lnTo>
                        <a:pt x="1476" y="2016"/>
                      </a:lnTo>
                      <a:close/>
                      <a:moveTo>
                        <a:pt x="2802" y="1164"/>
                      </a:moveTo>
                      <a:lnTo>
                        <a:pt x="2802" y="1134"/>
                      </a:lnTo>
                      <a:lnTo>
                        <a:pt x="2796" y="1116"/>
                      </a:lnTo>
                      <a:lnTo>
                        <a:pt x="2796" y="1092"/>
                      </a:lnTo>
                      <a:lnTo>
                        <a:pt x="2790" y="1086"/>
                      </a:lnTo>
                      <a:lnTo>
                        <a:pt x="2778" y="1086"/>
                      </a:lnTo>
                      <a:lnTo>
                        <a:pt x="2772" y="1080"/>
                      </a:lnTo>
                      <a:lnTo>
                        <a:pt x="2760" y="1080"/>
                      </a:lnTo>
                      <a:lnTo>
                        <a:pt x="2760" y="1062"/>
                      </a:lnTo>
                      <a:lnTo>
                        <a:pt x="2742" y="1050"/>
                      </a:lnTo>
                      <a:lnTo>
                        <a:pt x="2742" y="1014"/>
                      </a:lnTo>
                      <a:lnTo>
                        <a:pt x="2736" y="1008"/>
                      </a:lnTo>
                      <a:lnTo>
                        <a:pt x="2724" y="1002"/>
                      </a:lnTo>
                      <a:lnTo>
                        <a:pt x="2718" y="996"/>
                      </a:lnTo>
                      <a:lnTo>
                        <a:pt x="2706" y="996"/>
                      </a:lnTo>
                      <a:lnTo>
                        <a:pt x="2712" y="996"/>
                      </a:lnTo>
                      <a:lnTo>
                        <a:pt x="2718" y="990"/>
                      </a:lnTo>
                      <a:lnTo>
                        <a:pt x="2730" y="990"/>
                      </a:lnTo>
                      <a:lnTo>
                        <a:pt x="2742" y="984"/>
                      </a:lnTo>
                      <a:lnTo>
                        <a:pt x="2760" y="966"/>
                      </a:lnTo>
                      <a:lnTo>
                        <a:pt x="2754" y="954"/>
                      </a:lnTo>
                      <a:lnTo>
                        <a:pt x="2736" y="936"/>
                      </a:lnTo>
                      <a:lnTo>
                        <a:pt x="2730" y="936"/>
                      </a:lnTo>
                      <a:lnTo>
                        <a:pt x="2730" y="930"/>
                      </a:lnTo>
                      <a:lnTo>
                        <a:pt x="2712" y="912"/>
                      </a:lnTo>
                      <a:lnTo>
                        <a:pt x="2700" y="906"/>
                      </a:lnTo>
                      <a:lnTo>
                        <a:pt x="2694" y="912"/>
                      </a:lnTo>
                      <a:lnTo>
                        <a:pt x="2694" y="936"/>
                      </a:lnTo>
                      <a:lnTo>
                        <a:pt x="2670" y="930"/>
                      </a:lnTo>
                      <a:lnTo>
                        <a:pt x="2670" y="924"/>
                      </a:lnTo>
                      <a:lnTo>
                        <a:pt x="2676" y="918"/>
                      </a:lnTo>
                      <a:lnTo>
                        <a:pt x="2676" y="906"/>
                      </a:lnTo>
                      <a:lnTo>
                        <a:pt x="2682" y="894"/>
                      </a:lnTo>
                      <a:lnTo>
                        <a:pt x="2688" y="876"/>
                      </a:lnTo>
                      <a:lnTo>
                        <a:pt x="2688" y="858"/>
                      </a:lnTo>
                      <a:lnTo>
                        <a:pt x="2682" y="852"/>
                      </a:lnTo>
                      <a:lnTo>
                        <a:pt x="2676" y="840"/>
                      </a:lnTo>
                      <a:lnTo>
                        <a:pt x="2670" y="840"/>
                      </a:lnTo>
                      <a:lnTo>
                        <a:pt x="2652" y="822"/>
                      </a:lnTo>
                      <a:lnTo>
                        <a:pt x="2652" y="816"/>
                      </a:lnTo>
                      <a:lnTo>
                        <a:pt x="2658" y="804"/>
                      </a:lnTo>
                      <a:lnTo>
                        <a:pt x="2658" y="792"/>
                      </a:lnTo>
                      <a:lnTo>
                        <a:pt x="2664" y="774"/>
                      </a:lnTo>
                      <a:lnTo>
                        <a:pt x="2664" y="762"/>
                      </a:lnTo>
                      <a:lnTo>
                        <a:pt x="2652" y="750"/>
                      </a:lnTo>
                      <a:lnTo>
                        <a:pt x="2628" y="732"/>
                      </a:lnTo>
                      <a:lnTo>
                        <a:pt x="2598" y="720"/>
                      </a:lnTo>
                      <a:lnTo>
                        <a:pt x="2580" y="708"/>
                      </a:lnTo>
                      <a:lnTo>
                        <a:pt x="2568" y="702"/>
                      </a:lnTo>
                      <a:lnTo>
                        <a:pt x="2556" y="708"/>
                      </a:lnTo>
                      <a:lnTo>
                        <a:pt x="2550" y="696"/>
                      </a:lnTo>
                      <a:lnTo>
                        <a:pt x="2538" y="684"/>
                      </a:lnTo>
                      <a:lnTo>
                        <a:pt x="2532" y="672"/>
                      </a:lnTo>
                      <a:lnTo>
                        <a:pt x="2520" y="660"/>
                      </a:lnTo>
                      <a:lnTo>
                        <a:pt x="2514" y="642"/>
                      </a:lnTo>
                      <a:lnTo>
                        <a:pt x="2514" y="594"/>
                      </a:lnTo>
                      <a:lnTo>
                        <a:pt x="2520" y="576"/>
                      </a:lnTo>
                      <a:lnTo>
                        <a:pt x="2526" y="564"/>
                      </a:lnTo>
                      <a:lnTo>
                        <a:pt x="2526" y="546"/>
                      </a:lnTo>
                      <a:lnTo>
                        <a:pt x="2520" y="504"/>
                      </a:lnTo>
                      <a:lnTo>
                        <a:pt x="2502" y="462"/>
                      </a:lnTo>
                      <a:lnTo>
                        <a:pt x="2490" y="426"/>
                      </a:lnTo>
                      <a:lnTo>
                        <a:pt x="2490" y="402"/>
                      </a:lnTo>
                      <a:lnTo>
                        <a:pt x="2496" y="390"/>
                      </a:lnTo>
                      <a:lnTo>
                        <a:pt x="2502" y="384"/>
                      </a:lnTo>
                      <a:lnTo>
                        <a:pt x="2502" y="324"/>
                      </a:lnTo>
                      <a:lnTo>
                        <a:pt x="2496" y="312"/>
                      </a:lnTo>
                      <a:lnTo>
                        <a:pt x="2496" y="300"/>
                      </a:lnTo>
                      <a:lnTo>
                        <a:pt x="2472" y="294"/>
                      </a:lnTo>
                      <a:lnTo>
                        <a:pt x="2460" y="288"/>
                      </a:lnTo>
                      <a:lnTo>
                        <a:pt x="2454" y="276"/>
                      </a:lnTo>
                      <a:lnTo>
                        <a:pt x="2442" y="270"/>
                      </a:lnTo>
                      <a:lnTo>
                        <a:pt x="2424" y="270"/>
                      </a:lnTo>
                      <a:lnTo>
                        <a:pt x="2418" y="282"/>
                      </a:lnTo>
                      <a:lnTo>
                        <a:pt x="2412" y="288"/>
                      </a:lnTo>
                      <a:lnTo>
                        <a:pt x="2412" y="282"/>
                      </a:lnTo>
                      <a:lnTo>
                        <a:pt x="2406" y="276"/>
                      </a:lnTo>
                      <a:lnTo>
                        <a:pt x="2400" y="264"/>
                      </a:lnTo>
                      <a:lnTo>
                        <a:pt x="2400" y="228"/>
                      </a:lnTo>
                      <a:lnTo>
                        <a:pt x="2406" y="216"/>
                      </a:lnTo>
                      <a:lnTo>
                        <a:pt x="2406" y="204"/>
                      </a:lnTo>
                      <a:lnTo>
                        <a:pt x="2388" y="180"/>
                      </a:lnTo>
                      <a:lnTo>
                        <a:pt x="2394" y="96"/>
                      </a:lnTo>
                      <a:lnTo>
                        <a:pt x="2382" y="90"/>
                      </a:lnTo>
                      <a:lnTo>
                        <a:pt x="2364" y="72"/>
                      </a:lnTo>
                      <a:lnTo>
                        <a:pt x="2364" y="66"/>
                      </a:lnTo>
                      <a:lnTo>
                        <a:pt x="2370" y="48"/>
                      </a:lnTo>
                      <a:lnTo>
                        <a:pt x="2370" y="24"/>
                      </a:lnTo>
                      <a:lnTo>
                        <a:pt x="2364" y="18"/>
                      </a:lnTo>
                      <a:lnTo>
                        <a:pt x="2346" y="18"/>
                      </a:lnTo>
                      <a:lnTo>
                        <a:pt x="2346" y="0"/>
                      </a:lnTo>
                      <a:lnTo>
                        <a:pt x="2316" y="12"/>
                      </a:lnTo>
                      <a:lnTo>
                        <a:pt x="2310" y="30"/>
                      </a:lnTo>
                      <a:lnTo>
                        <a:pt x="2298" y="36"/>
                      </a:lnTo>
                      <a:lnTo>
                        <a:pt x="2292" y="42"/>
                      </a:lnTo>
                      <a:lnTo>
                        <a:pt x="2280" y="48"/>
                      </a:lnTo>
                      <a:lnTo>
                        <a:pt x="2280" y="66"/>
                      </a:lnTo>
                      <a:lnTo>
                        <a:pt x="2286" y="78"/>
                      </a:lnTo>
                      <a:lnTo>
                        <a:pt x="2286" y="90"/>
                      </a:lnTo>
                      <a:lnTo>
                        <a:pt x="2292" y="102"/>
                      </a:lnTo>
                      <a:lnTo>
                        <a:pt x="2292" y="114"/>
                      </a:lnTo>
                      <a:lnTo>
                        <a:pt x="2286" y="126"/>
                      </a:lnTo>
                      <a:lnTo>
                        <a:pt x="2274" y="138"/>
                      </a:lnTo>
                      <a:lnTo>
                        <a:pt x="2268" y="150"/>
                      </a:lnTo>
                      <a:lnTo>
                        <a:pt x="2238" y="180"/>
                      </a:lnTo>
                      <a:lnTo>
                        <a:pt x="2256" y="192"/>
                      </a:lnTo>
                      <a:lnTo>
                        <a:pt x="2256" y="198"/>
                      </a:lnTo>
                      <a:lnTo>
                        <a:pt x="2250" y="204"/>
                      </a:lnTo>
                      <a:lnTo>
                        <a:pt x="2238" y="228"/>
                      </a:lnTo>
                      <a:lnTo>
                        <a:pt x="2232" y="234"/>
                      </a:lnTo>
                      <a:lnTo>
                        <a:pt x="2232" y="264"/>
                      </a:lnTo>
                      <a:lnTo>
                        <a:pt x="2238" y="276"/>
                      </a:lnTo>
                      <a:lnTo>
                        <a:pt x="2238" y="288"/>
                      </a:lnTo>
                      <a:lnTo>
                        <a:pt x="2232" y="300"/>
                      </a:lnTo>
                      <a:lnTo>
                        <a:pt x="2214" y="408"/>
                      </a:lnTo>
                      <a:lnTo>
                        <a:pt x="2208" y="432"/>
                      </a:lnTo>
                      <a:lnTo>
                        <a:pt x="2202" y="438"/>
                      </a:lnTo>
                      <a:lnTo>
                        <a:pt x="2190" y="462"/>
                      </a:lnTo>
                      <a:lnTo>
                        <a:pt x="2178" y="474"/>
                      </a:lnTo>
                      <a:lnTo>
                        <a:pt x="2172" y="486"/>
                      </a:lnTo>
                      <a:lnTo>
                        <a:pt x="2166" y="492"/>
                      </a:lnTo>
                      <a:lnTo>
                        <a:pt x="2166" y="516"/>
                      </a:lnTo>
                      <a:lnTo>
                        <a:pt x="2160" y="534"/>
                      </a:lnTo>
                      <a:lnTo>
                        <a:pt x="2154" y="546"/>
                      </a:lnTo>
                      <a:lnTo>
                        <a:pt x="2142" y="552"/>
                      </a:lnTo>
                      <a:lnTo>
                        <a:pt x="2088" y="570"/>
                      </a:lnTo>
                      <a:lnTo>
                        <a:pt x="2076" y="570"/>
                      </a:lnTo>
                      <a:lnTo>
                        <a:pt x="2064" y="576"/>
                      </a:lnTo>
                      <a:lnTo>
                        <a:pt x="2058" y="576"/>
                      </a:lnTo>
                      <a:lnTo>
                        <a:pt x="2058" y="570"/>
                      </a:lnTo>
                      <a:lnTo>
                        <a:pt x="2052" y="564"/>
                      </a:lnTo>
                      <a:lnTo>
                        <a:pt x="2028" y="516"/>
                      </a:lnTo>
                      <a:lnTo>
                        <a:pt x="2022" y="510"/>
                      </a:lnTo>
                      <a:lnTo>
                        <a:pt x="1998" y="492"/>
                      </a:lnTo>
                      <a:lnTo>
                        <a:pt x="1956" y="474"/>
                      </a:lnTo>
                      <a:lnTo>
                        <a:pt x="1920" y="462"/>
                      </a:lnTo>
                      <a:lnTo>
                        <a:pt x="1908" y="456"/>
                      </a:lnTo>
                      <a:lnTo>
                        <a:pt x="1896" y="438"/>
                      </a:lnTo>
                      <a:lnTo>
                        <a:pt x="1884" y="426"/>
                      </a:lnTo>
                      <a:lnTo>
                        <a:pt x="1872" y="402"/>
                      </a:lnTo>
                      <a:lnTo>
                        <a:pt x="1866" y="396"/>
                      </a:lnTo>
                      <a:lnTo>
                        <a:pt x="1830" y="396"/>
                      </a:lnTo>
                      <a:lnTo>
                        <a:pt x="1806" y="348"/>
                      </a:lnTo>
                      <a:lnTo>
                        <a:pt x="1824" y="330"/>
                      </a:lnTo>
                      <a:lnTo>
                        <a:pt x="1824" y="306"/>
                      </a:lnTo>
                      <a:lnTo>
                        <a:pt x="1830" y="294"/>
                      </a:lnTo>
                      <a:lnTo>
                        <a:pt x="1836" y="288"/>
                      </a:lnTo>
                      <a:lnTo>
                        <a:pt x="1848" y="282"/>
                      </a:lnTo>
                      <a:lnTo>
                        <a:pt x="1854" y="276"/>
                      </a:lnTo>
                      <a:lnTo>
                        <a:pt x="1848" y="228"/>
                      </a:lnTo>
                      <a:lnTo>
                        <a:pt x="1866" y="210"/>
                      </a:lnTo>
                      <a:lnTo>
                        <a:pt x="1872" y="216"/>
                      </a:lnTo>
                      <a:lnTo>
                        <a:pt x="1884" y="216"/>
                      </a:lnTo>
                      <a:lnTo>
                        <a:pt x="1890" y="222"/>
                      </a:lnTo>
                      <a:lnTo>
                        <a:pt x="1896" y="222"/>
                      </a:lnTo>
                      <a:lnTo>
                        <a:pt x="1902" y="216"/>
                      </a:lnTo>
                      <a:lnTo>
                        <a:pt x="1908" y="204"/>
                      </a:lnTo>
                      <a:lnTo>
                        <a:pt x="1908" y="180"/>
                      </a:lnTo>
                      <a:lnTo>
                        <a:pt x="1944" y="144"/>
                      </a:lnTo>
                      <a:lnTo>
                        <a:pt x="1938" y="132"/>
                      </a:lnTo>
                      <a:lnTo>
                        <a:pt x="1914" y="108"/>
                      </a:lnTo>
                      <a:lnTo>
                        <a:pt x="1890" y="108"/>
                      </a:lnTo>
                      <a:lnTo>
                        <a:pt x="1872" y="114"/>
                      </a:lnTo>
                      <a:lnTo>
                        <a:pt x="1848" y="126"/>
                      </a:lnTo>
                      <a:lnTo>
                        <a:pt x="1842" y="138"/>
                      </a:lnTo>
                      <a:lnTo>
                        <a:pt x="1842" y="120"/>
                      </a:lnTo>
                      <a:lnTo>
                        <a:pt x="1812" y="126"/>
                      </a:lnTo>
                      <a:lnTo>
                        <a:pt x="1794" y="138"/>
                      </a:lnTo>
                      <a:lnTo>
                        <a:pt x="1788" y="120"/>
                      </a:lnTo>
                      <a:lnTo>
                        <a:pt x="1752" y="114"/>
                      </a:lnTo>
                      <a:lnTo>
                        <a:pt x="1746" y="108"/>
                      </a:lnTo>
                      <a:lnTo>
                        <a:pt x="1734" y="102"/>
                      </a:lnTo>
                      <a:lnTo>
                        <a:pt x="1728" y="96"/>
                      </a:lnTo>
                      <a:lnTo>
                        <a:pt x="1716" y="90"/>
                      </a:lnTo>
                      <a:lnTo>
                        <a:pt x="1674" y="90"/>
                      </a:lnTo>
                      <a:lnTo>
                        <a:pt x="1662" y="84"/>
                      </a:lnTo>
                      <a:lnTo>
                        <a:pt x="1650" y="84"/>
                      </a:lnTo>
                      <a:lnTo>
                        <a:pt x="1650" y="78"/>
                      </a:lnTo>
                      <a:lnTo>
                        <a:pt x="1644" y="72"/>
                      </a:lnTo>
                      <a:lnTo>
                        <a:pt x="1632" y="48"/>
                      </a:lnTo>
                      <a:lnTo>
                        <a:pt x="1626" y="42"/>
                      </a:lnTo>
                      <a:lnTo>
                        <a:pt x="1620" y="42"/>
                      </a:lnTo>
                      <a:lnTo>
                        <a:pt x="1620" y="54"/>
                      </a:lnTo>
                      <a:lnTo>
                        <a:pt x="1614" y="60"/>
                      </a:lnTo>
                      <a:lnTo>
                        <a:pt x="1602" y="54"/>
                      </a:lnTo>
                      <a:lnTo>
                        <a:pt x="1596" y="54"/>
                      </a:lnTo>
                      <a:lnTo>
                        <a:pt x="1584" y="48"/>
                      </a:lnTo>
                      <a:lnTo>
                        <a:pt x="1566" y="48"/>
                      </a:lnTo>
                      <a:lnTo>
                        <a:pt x="1566" y="60"/>
                      </a:lnTo>
                      <a:lnTo>
                        <a:pt x="1572" y="66"/>
                      </a:lnTo>
                      <a:lnTo>
                        <a:pt x="1554" y="66"/>
                      </a:lnTo>
                      <a:lnTo>
                        <a:pt x="1548" y="72"/>
                      </a:lnTo>
                      <a:lnTo>
                        <a:pt x="1548" y="78"/>
                      </a:lnTo>
                      <a:lnTo>
                        <a:pt x="1554" y="84"/>
                      </a:lnTo>
                      <a:lnTo>
                        <a:pt x="1566" y="84"/>
                      </a:lnTo>
                      <a:lnTo>
                        <a:pt x="1590" y="96"/>
                      </a:lnTo>
                      <a:lnTo>
                        <a:pt x="1596" y="96"/>
                      </a:lnTo>
                      <a:lnTo>
                        <a:pt x="1608" y="90"/>
                      </a:lnTo>
                      <a:lnTo>
                        <a:pt x="1614" y="84"/>
                      </a:lnTo>
                      <a:lnTo>
                        <a:pt x="1644" y="102"/>
                      </a:lnTo>
                      <a:lnTo>
                        <a:pt x="1638" y="102"/>
                      </a:lnTo>
                      <a:lnTo>
                        <a:pt x="1632" y="108"/>
                      </a:lnTo>
                      <a:lnTo>
                        <a:pt x="1596" y="126"/>
                      </a:lnTo>
                      <a:lnTo>
                        <a:pt x="1572" y="126"/>
                      </a:lnTo>
                      <a:lnTo>
                        <a:pt x="1554" y="132"/>
                      </a:lnTo>
                      <a:lnTo>
                        <a:pt x="1512" y="132"/>
                      </a:lnTo>
                      <a:lnTo>
                        <a:pt x="1500" y="138"/>
                      </a:lnTo>
                      <a:lnTo>
                        <a:pt x="1482" y="144"/>
                      </a:lnTo>
                      <a:lnTo>
                        <a:pt x="1470" y="156"/>
                      </a:lnTo>
                      <a:lnTo>
                        <a:pt x="1452" y="162"/>
                      </a:lnTo>
                      <a:lnTo>
                        <a:pt x="1440" y="168"/>
                      </a:lnTo>
                      <a:lnTo>
                        <a:pt x="1434" y="174"/>
                      </a:lnTo>
                      <a:lnTo>
                        <a:pt x="1428" y="174"/>
                      </a:lnTo>
                      <a:lnTo>
                        <a:pt x="1428" y="186"/>
                      </a:lnTo>
                      <a:lnTo>
                        <a:pt x="1422" y="204"/>
                      </a:lnTo>
                      <a:lnTo>
                        <a:pt x="1422" y="228"/>
                      </a:lnTo>
                      <a:lnTo>
                        <a:pt x="1428" y="234"/>
                      </a:lnTo>
                      <a:lnTo>
                        <a:pt x="1440" y="240"/>
                      </a:lnTo>
                      <a:lnTo>
                        <a:pt x="1446" y="246"/>
                      </a:lnTo>
                      <a:lnTo>
                        <a:pt x="1452" y="246"/>
                      </a:lnTo>
                      <a:lnTo>
                        <a:pt x="1398" y="246"/>
                      </a:lnTo>
                      <a:lnTo>
                        <a:pt x="1368" y="282"/>
                      </a:lnTo>
                      <a:lnTo>
                        <a:pt x="1368" y="312"/>
                      </a:lnTo>
                      <a:lnTo>
                        <a:pt x="1362" y="324"/>
                      </a:lnTo>
                      <a:lnTo>
                        <a:pt x="1362" y="330"/>
                      </a:lnTo>
                      <a:lnTo>
                        <a:pt x="1368" y="336"/>
                      </a:lnTo>
                      <a:lnTo>
                        <a:pt x="1380" y="336"/>
                      </a:lnTo>
                      <a:lnTo>
                        <a:pt x="1404" y="348"/>
                      </a:lnTo>
                      <a:lnTo>
                        <a:pt x="1410" y="354"/>
                      </a:lnTo>
                      <a:lnTo>
                        <a:pt x="1410" y="390"/>
                      </a:lnTo>
                      <a:lnTo>
                        <a:pt x="1386" y="366"/>
                      </a:lnTo>
                      <a:lnTo>
                        <a:pt x="1356" y="366"/>
                      </a:lnTo>
                      <a:lnTo>
                        <a:pt x="1344" y="390"/>
                      </a:lnTo>
                      <a:lnTo>
                        <a:pt x="1308" y="354"/>
                      </a:lnTo>
                      <a:lnTo>
                        <a:pt x="1302" y="384"/>
                      </a:lnTo>
                      <a:lnTo>
                        <a:pt x="1278" y="396"/>
                      </a:lnTo>
                      <a:lnTo>
                        <a:pt x="1284" y="420"/>
                      </a:lnTo>
                      <a:lnTo>
                        <a:pt x="1254" y="414"/>
                      </a:lnTo>
                      <a:lnTo>
                        <a:pt x="1284" y="354"/>
                      </a:lnTo>
                      <a:lnTo>
                        <a:pt x="1278" y="348"/>
                      </a:lnTo>
                      <a:lnTo>
                        <a:pt x="1272" y="336"/>
                      </a:lnTo>
                      <a:lnTo>
                        <a:pt x="1272" y="324"/>
                      </a:lnTo>
                      <a:lnTo>
                        <a:pt x="1266" y="318"/>
                      </a:lnTo>
                      <a:lnTo>
                        <a:pt x="1254" y="312"/>
                      </a:lnTo>
                      <a:lnTo>
                        <a:pt x="1236" y="312"/>
                      </a:lnTo>
                      <a:lnTo>
                        <a:pt x="1224" y="282"/>
                      </a:lnTo>
                      <a:lnTo>
                        <a:pt x="1224" y="276"/>
                      </a:lnTo>
                      <a:lnTo>
                        <a:pt x="1230" y="270"/>
                      </a:lnTo>
                      <a:lnTo>
                        <a:pt x="1230" y="258"/>
                      </a:lnTo>
                      <a:lnTo>
                        <a:pt x="1224" y="246"/>
                      </a:lnTo>
                      <a:lnTo>
                        <a:pt x="1218" y="240"/>
                      </a:lnTo>
                      <a:lnTo>
                        <a:pt x="1206" y="234"/>
                      </a:lnTo>
                      <a:lnTo>
                        <a:pt x="1194" y="240"/>
                      </a:lnTo>
                      <a:lnTo>
                        <a:pt x="1188" y="246"/>
                      </a:lnTo>
                      <a:lnTo>
                        <a:pt x="1176" y="252"/>
                      </a:lnTo>
                      <a:lnTo>
                        <a:pt x="1176" y="264"/>
                      </a:lnTo>
                      <a:lnTo>
                        <a:pt x="1182" y="270"/>
                      </a:lnTo>
                      <a:lnTo>
                        <a:pt x="1182" y="282"/>
                      </a:lnTo>
                      <a:lnTo>
                        <a:pt x="1146" y="276"/>
                      </a:lnTo>
                      <a:lnTo>
                        <a:pt x="1152" y="306"/>
                      </a:lnTo>
                      <a:lnTo>
                        <a:pt x="1134" y="300"/>
                      </a:lnTo>
                      <a:lnTo>
                        <a:pt x="1116" y="306"/>
                      </a:lnTo>
                      <a:lnTo>
                        <a:pt x="1122" y="312"/>
                      </a:lnTo>
                      <a:lnTo>
                        <a:pt x="1122" y="330"/>
                      </a:lnTo>
                      <a:lnTo>
                        <a:pt x="1116" y="342"/>
                      </a:lnTo>
                      <a:lnTo>
                        <a:pt x="1110" y="348"/>
                      </a:lnTo>
                      <a:lnTo>
                        <a:pt x="1098" y="354"/>
                      </a:lnTo>
                      <a:lnTo>
                        <a:pt x="1092" y="360"/>
                      </a:lnTo>
                      <a:lnTo>
                        <a:pt x="1104" y="324"/>
                      </a:lnTo>
                      <a:lnTo>
                        <a:pt x="1080" y="348"/>
                      </a:lnTo>
                      <a:lnTo>
                        <a:pt x="1062" y="348"/>
                      </a:lnTo>
                      <a:lnTo>
                        <a:pt x="1056" y="360"/>
                      </a:lnTo>
                      <a:lnTo>
                        <a:pt x="1050" y="366"/>
                      </a:lnTo>
                      <a:lnTo>
                        <a:pt x="1050" y="378"/>
                      </a:lnTo>
                      <a:lnTo>
                        <a:pt x="1056" y="390"/>
                      </a:lnTo>
                      <a:lnTo>
                        <a:pt x="1056" y="396"/>
                      </a:lnTo>
                      <a:lnTo>
                        <a:pt x="1062" y="408"/>
                      </a:lnTo>
                      <a:lnTo>
                        <a:pt x="1014" y="384"/>
                      </a:lnTo>
                      <a:lnTo>
                        <a:pt x="1008" y="420"/>
                      </a:lnTo>
                      <a:lnTo>
                        <a:pt x="996" y="426"/>
                      </a:lnTo>
                      <a:lnTo>
                        <a:pt x="1008" y="450"/>
                      </a:lnTo>
                      <a:lnTo>
                        <a:pt x="1032" y="450"/>
                      </a:lnTo>
                      <a:lnTo>
                        <a:pt x="1026" y="468"/>
                      </a:lnTo>
                      <a:lnTo>
                        <a:pt x="954" y="474"/>
                      </a:lnTo>
                      <a:lnTo>
                        <a:pt x="948" y="468"/>
                      </a:lnTo>
                      <a:lnTo>
                        <a:pt x="936" y="462"/>
                      </a:lnTo>
                      <a:lnTo>
                        <a:pt x="930" y="462"/>
                      </a:lnTo>
                      <a:lnTo>
                        <a:pt x="918" y="468"/>
                      </a:lnTo>
                      <a:lnTo>
                        <a:pt x="912" y="474"/>
                      </a:lnTo>
                      <a:lnTo>
                        <a:pt x="918" y="486"/>
                      </a:lnTo>
                      <a:lnTo>
                        <a:pt x="918" y="492"/>
                      </a:lnTo>
                      <a:lnTo>
                        <a:pt x="924" y="504"/>
                      </a:lnTo>
                      <a:lnTo>
                        <a:pt x="930" y="510"/>
                      </a:lnTo>
                      <a:lnTo>
                        <a:pt x="930" y="540"/>
                      </a:lnTo>
                      <a:lnTo>
                        <a:pt x="924" y="564"/>
                      </a:lnTo>
                      <a:lnTo>
                        <a:pt x="930" y="600"/>
                      </a:lnTo>
                      <a:lnTo>
                        <a:pt x="912" y="600"/>
                      </a:lnTo>
                      <a:lnTo>
                        <a:pt x="906" y="522"/>
                      </a:lnTo>
                      <a:lnTo>
                        <a:pt x="888" y="510"/>
                      </a:lnTo>
                      <a:lnTo>
                        <a:pt x="888" y="480"/>
                      </a:lnTo>
                      <a:lnTo>
                        <a:pt x="870" y="480"/>
                      </a:lnTo>
                      <a:lnTo>
                        <a:pt x="852" y="504"/>
                      </a:lnTo>
                      <a:lnTo>
                        <a:pt x="822" y="534"/>
                      </a:lnTo>
                      <a:lnTo>
                        <a:pt x="804" y="546"/>
                      </a:lnTo>
                      <a:lnTo>
                        <a:pt x="792" y="558"/>
                      </a:lnTo>
                      <a:lnTo>
                        <a:pt x="786" y="570"/>
                      </a:lnTo>
                      <a:lnTo>
                        <a:pt x="786" y="600"/>
                      </a:lnTo>
                      <a:lnTo>
                        <a:pt x="792" y="606"/>
                      </a:lnTo>
                      <a:lnTo>
                        <a:pt x="792" y="618"/>
                      </a:lnTo>
                      <a:lnTo>
                        <a:pt x="798" y="618"/>
                      </a:lnTo>
                      <a:lnTo>
                        <a:pt x="816" y="636"/>
                      </a:lnTo>
                      <a:lnTo>
                        <a:pt x="810" y="648"/>
                      </a:lnTo>
                      <a:lnTo>
                        <a:pt x="792" y="654"/>
                      </a:lnTo>
                      <a:lnTo>
                        <a:pt x="774" y="666"/>
                      </a:lnTo>
                      <a:lnTo>
                        <a:pt x="750" y="678"/>
                      </a:lnTo>
                      <a:lnTo>
                        <a:pt x="750" y="696"/>
                      </a:lnTo>
                      <a:lnTo>
                        <a:pt x="720" y="726"/>
                      </a:lnTo>
                      <a:lnTo>
                        <a:pt x="702" y="732"/>
                      </a:lnTo>
                      <a:lnTo>
                        <a:pt x="690" y="744"/>
                      </a:lnTo>
                      <a:lnTo>
                        <a:pt x="666" y="756"/>
                      </a:lnTo>
                      <a:lnTo>
                        <a:pt x="630" y="762"/>
                      </a:lnTo>
                      <a:lnTo>
                        <a:pt x="600" y="768"/>
                      </a:lnTo>
                      <a:lnTo>
                        <a:pt x="588" y="768"/>
                      </a:lnTo>
                      <a:lnTo>
                        <a:pt x="534" y="762"/>
                      </a:lnTo>
                      <a:lnTo>
                        <a:pt x="492" y="780"/>
                      </a:lnTo>
                      <a:lnTo>
                        <a:pt x="438" y="786"/>
                      </a:lnTo>
                      <a:lnTo>
                        <a:pt x="432" y="798"/>
                      </a:lnTo>
                      <a:lnTo>
                        <a:pt x="414" y="798"/>
                      </a:lnTo>
                      <a:lnTo>
                        <a:pt x="402" y="804"/>
                      </a:lnTo>
                      <a:lnTo>
                        <a:pt x="396" y="810"/>
                      </a:lnTo>
                      <a:lnTo>
                        <a:pt x="384" y="816"/>
                      </a:lnTo>
                      <a:lnTo>
                        <a:pt x="372" y="828"/>
                      </a:lnTo>
                      <a:lnTo>
                        <a:pt x="342" y="828"/>
                      </a:lnTo>
                      <a:lnTo>
                        <a:pt x="324" y="834"/>
                      </a:lnTo>
                      <a:lnTo>
                        <a:pt x="312" y="840"/>
                      </a:lnTo>
                      <a:lnTo>
                        <a:pt x="306" y="852"/>
                      </a:lnTo>
                      <a:lnTo>
                        <a:pt x="294" y="858"/>
                      </a:lnTo>
                      <a:lnTo>
                        <a:pt x="288" y="870"/>
                      </a:lnTo>
                      <a:lnTo>
                        <a:pt x="282" y="876"/>
                      </a:lnTo>
                      <a:lnTo>
                        <a:pt x="282" y="882"/>
                      </a:lnTo>
                      <a:lnTo>
                        <a:pt x="276" y="882"/>
                      </a:lnTo>
                      <a:lnTo>
                        <a:pt x="270" y="888"/>
                      </a:lnTo>
                      <a:lnTo>
                        <a:pt x="252" y="888"/>
                      </a:lnTo>
                      <a:lnTo>
                        <a:pt x="240" y="894"/>
                      </a:lnTo>
                      <a:lnTo>
                        <a:pt x="228" y="894"/>
                      </a:lnTo>
                      <a:lnTo>
                        <a:pt x="216" y="900"/>
                      </a:lnTo>
                      <a:lnTo>
                        <a:pt x="210" y="906"/>
                      </a:lnTo>
                      <a:lnTo>
                        <a:pt x="198" y="912"/>
                      </a:lnTo>
                      <a:lnTo>
                        <a:pt x="192" y="930"/>
                      </a:lnTo>
                      <a:lnTo>
                        <a:pt x="150" y="972"/>
                      </a:lnTo>
                      <a:lnTo>
                        <a:pt x="150" y="978"/>
                      </a:lnTo>
                      <a:lnTo>
                        <a:pt x="162" y="912"/>
                      </a:lnTo>
                      <a:lnTo>
                        <a:pt x="144" y="918"/>
                      </a:lnTo>
                      <a:lnTo>
                        <a:pt x="120" y="978"/>
                      </a:lnTo>
                      <a:lnTo>
                        <a:pt x="90" y="1038"/>
                      </a:lnTo>
                      <a:lnTo>
                        <a:pt x="90" y="1056"/>
                      </a:lnTo>
                      <a:lnTo>
                        <a:pt x="96" y="1062"/>
                      </a:lnTo>
                      <a:lnTo>
                        <a:pt x="108" y="1068"/>
                      </a:lnTo>
                      <a:lnTo>
                        <a:pt x="114" y="1068"/>
                      </a:lnTo>
                      <a:lnTo>
                        <a:pt x="108" y="1080"/>
                      </a:lnTo>
                      <a:lnTo>
                        <a:pt x="96" y="1086"/>
                      </a:lnTo>
                      <a:lnTo>
                        <a:pt x="90" y="1098"/>
                      </a:lnTo>
                      <a:lnTo>
                        <a:pt x="66" y="1122"/>
                      </a:lnTo>
                      <a:lnTo>
                        <a:pt x="66" y="1134"/>
                      </a:lnTo>
                      <a:lnTo>
                        <a:pt x="72" y="1152"/>
                      </a:lnTo>
                      <a:lnTo>
                        <a:pt x="72" y="1164"/>
                      </a:lnTo>
                      <a:lnTo>
                        <a:pt x="84" y="1188"/>
                      </a:lnTo>
                      <a:lnTo>
                        <a:pt x="84" y="1200"/>
                      </a:lnTo>
                      <a:lnTo>
                        <a:pt x="102" y="1236"/>
                      </a:lnTo>
                      <a:lnTo>
                        <a:pt x="108" y="1254"/>
                      </a:lnTo>
                      <a:lnTo>
                        <a:pt x="114" y="1266"/>
                      </a:lnTo>
                      <a:lnTo>
                        <a:pt x="114" y="1278"/>
                      </a:lnTo>
                      <a:lnTo>
                        <a:pt x="108" y="1278"/>
                      </a:lnTo>
                      <a:lnTo>
                        <a:pt x="96" y="1266"/>
                      </a:lnTo>
                      <a:lnTo>
                        <a:pt x="90" y="1254"/>
                      </a:lnTo>
                      <a:lnTo>
                        <a:pt x="72" y="1236"/>
                      </a:lnTo>
                      <a:lnTo>
                        <a:pt x="66" y="1224"/>
                      </a:lnTo>
                      <a:lnTo>
                        <a:pt x="48" y="1218"/>
                      </a:lnTo>
                      <a:lnTo>
                        <a:pt x="66" y="1266"/>
                      </a:lnTo>
                      <a:lnTo>
                        <a:pt x="30" y="1236"/>
                      </a:lnTo>
                      <a:lnTo>
                        <a:pt x="30" y="1290"/>
                      </a:lnTo>
                      <a:lnTo>
                        <a:pt x="60" y="1350"/>
                      </a:lnTo>
                      <a:lnTo>
                        <a:pt x="66" y="1356"/>
                      </a:lnTo>
                      <a:lnTo>
                        <a:pt x="66" y="1368"/>
                      </a:lnTo>
                      <a:lnTo>
                        <a:pt x="60" y="1374"/>
                      </a:lnTo>
                      <a:lnTo>
                        <a:pt x="54" y="1386"/>
                      </a:lnTo>
                      <a:lnTo>
                        <a:pt x="54" y="1398"/>
                      </a:lnTo>
                      <a:lnTo>
                        <a:pt x="48" y="1410"/>
                      </a:lnTo>
                      <a:lnTo>
                        <a:pt x="54" y="1416"/>
                      </a:lnTo>
                      <a:lnTo>
                        <a:pt x="60" y="1428"/>
                      </a:lnTo>
                      <a:lnTo>
                        <a:pt x="78" y="1446"/>
                      </a:lnTo>
                      <a:lnTo>
                        <a:pt x="84" y="1458"/>
                      </a:lnTo>
                      <a:lnTo>
                        <a:pt x="90" y="1464"/>
                      </a:lnTo>
                      <a:lnTo>
                        <a:pt x="96" y="1476"/>
                      </a:lnTo>
                      <a:lnTo>
                        <a:pt x="96" y="1506"/>
                      </a:lnTo>
                      <a:lnTo>
                        <a:pt x="90" y="1518"/>
                      </a:lnTo>
                      <a:lnTo>
                        <a:pt x="84" y="1524"/>
                      </a:lnTo>
                      <a:lnTo>
                        <a:pt x="90" y="1542"/>
                      </a:lnTo>
                      <a:lnTo>
                        <a:pt x="90" y="1554"/>
                      </a:lnTo>
                      <a:lnTo>
                        <a:pt x="96" y="1572"/>
                      </a:lnTo>
                      <a:lnTo>
                        <a:pt x="96" y="1590"/>
                      </a:lnTo>
                      <a:lnTo>
                        <a:pt x="102" y="1596"/>
                      </a:lnTo>
                      <a:lnTo>
                        <a:pt x="102" y="1602"/>
                      </a:lnTo>
                      <a:lnTo>
                        <a:pt x="96" y="1602"/>
                      </a:lnTo>
                      <a:lnTo>
                        <a:pt x="78" y="1620"/>
                      </a:lnTo>
                      <a:lnTo>
                        <a:pt x="84" y="1626"/>
                      </a:lnTo>
                      <a:lnTo>
                        <a:pt x="84" y="1638"/>
                      </a:lnTo>
                      <a:lnTo>
                        <a:pt x="90" y="1650"/>
                      </a:lnTo>
                      <a:lnTo>
                        <a:pt x="90" y="1662"/>
                      </a:lnTo>
                      <a:lnTo>
                        <a:pt x="96" y="1668"/>
                      </a:lnTo>
                      <a:lnTo>
                        <a:pt x="96" y="1674"/>
                      </a:lnTo>
                      <a:lnTo>
                        <a:pt x="102" y="1674"/>
                      </a:lnTo>
                      <a:lnTo>
                        <a:pt x="108" y="1680"/>
                      </a:lnTo>
                      <a:lnTo>
                        <a:pt x="126" y="1716"/>
                      </a:lnTo>
                      <a:lnTo>
                        <a:pt x="126" y="1728"/>
                      </a:lnTo>
                      <a:lnTo>
                        <a:pt x="108" y="1764"/>
                      </a:lnTo>
                      <a:lnTo>
                        <a:pt x="90" y="1782"/>
                      </a:lnTo>
                      <a:lnTo>
                        <a:pt x="90" y="1824"/>
                      </a:lnTo>
                      <a:lnTo>
                        <a:pt x="84" y="1842"/>
                      </a:lnTo>
                      <a:lnTo>
                        <a:pt x="60" y="1866"/>
                      </a:lnTo>
                      <a:lnTo>
                        <a:pt x="42" y="1866"/>
                      </a:lnTo>
                      <a:lnTo>
                        <a:pt x="30" y="1872"/>
                      </a:lnTo>
                      <a:lnTo>
                        <a:pt x="18" y="1866"/>
                      </a:lnTo>
                      <a:lnTo>
                        <a:pt x="6" y="1866"/>
                      </a:lnTo>
                      <a:lnTo>
                        <a:pt x="0" y="1920"/>
                      </a:lnTo>
                      <a:lnTo>
                        <a:pt x="12" y="1920"/>
                      </a:lnTo>
                      <a:lnTo>
                        <a:pt x="24" y="1926"/>
                      </a:lnTo>
                      <a:lnTo>
                        <a:pt x="42" y="1926"/>
                      </a:lnTo>
                      <a:lnTo>
                        <a:pt x="54" y="1932"/>
                      </a:lnTo>
                      <a:lnTo>
                        <a:pt x="72" y="1950"/>
                      </a:lnTo>
                      <a:lnTo>
                        <a:pt x="78" y="1962"/>
                      </a:lnTo>
                      <a:lnTo>
                        <a:pt x="108" y="1956"/>
                      </a:lnTo>
                      <a:lnTo>
                        <a:pt x="114" y="1968"/>
                      </a:lnTo>
                      <a:lnTo>
                        <a:pt x="138" y="1980"/>
                      </a:lnTo>
                      <a:lnTo>
                        <a:pt x="174" y="1980"/>
                      </a:lnTo>
                      <a:lnTo>
                        <a:pt x="210" y="1968"/>
                      </a:lnTo>
                      <a:lnTo>
                        <a:pt x="234" y="1968"/>
                      </a:lnTo>
                      <a:lnTo>
                        <a:pt x="234" y="1950"/>
                      </a:lnTo>
                      <a:lnTo>
                        <a:pt x="228" y="1944"/>
                      </a:lnTo>
                      <a:lnTo>
                        <a:pt x="264" y="1950"/>
                      </a:lnTo>
                      <a:lnTo>
                        <a:pt x="276" y="1932"/>
                      </a:lnTo>
                      <a:lnTo>
                        <a:pt x="318" y="1926"/>
                      </a:lnTo>
                      <a:lnTo>
                        <a:pt x="354" y="1890"/>
                      </a:lnTo>
                      <a:lnTo>
                        <a:pt x="366" y="1884"/>
                      </a:lnTo>
                      <a:lnTo>
                        <a:pt x="372" y="1884"/>
                      </a:lnTo>
                      <a:lnTo>
                        <a:pt x="420" y="1908"/>
                      </a:lnTo>
                      <a:lnTo>
                        <a:pt x="426" y="1902"/>
                      </a:lnTo>
                      <a:lnTo>
                        <a:pt x="474" y="1878"/>
                      </a:lnTo>
                      <a:lnTo>
                        <a:pt x="480" y="1872"/>
                      </a:lnTo>
                      <a:lnTo>
                        <a:pt x="486" y="1872"/>
                      </a:lnTo>
                      <a:lnTo>
                        <a:pt x="498" y="1878"/>
                      </a:lnTo>
                      <a:lnTo>
                        <a:pt x="504" y="1884"/>
                      </a:lnTo>
                      <a:lnTo>
                        <a:pt x="516" y="1884"/>
                      </a:lnTo>
                      <a:lnTo>
                        <a:pt x="528" y="1890"/>
                      </a:lnTo>
                      <a:lnTo>
                        <a:pt x="534" y="1890"/>
                      </a:lnTo>
                      <a:lnTo>
                        <a:pt x="552" y="1884"/>
                      </a:lnTo>
                      <a:lnTo>
                        <a:pt x="576" y="1872"/>
                      </a:lnTo>
                      <a:lnTo>
                        <a:pt x="582" y="1872"/>
                      </a:lnTo>
                      <a:lnTo>
                        <a:pt x="594" y="1878"/>
                      </a:lnTo>
                      <a:lnTo>
                        <a:pt x="606" y="1878"/>
                      </a:lnTo>
                      <a:lnTo>
                        <a:pt x="624" y="1884"/>
                      </a:lnTo>
                      <a:lnTo>
                        <a:pt x="636" y="1884"/>
                      </a:lnTo>
                      <a:lnTo>
                        <a:pt x="648" y="1878"/>
                      </a:lnTo>
                      <a:lnTo>
                        <a:pt x="654" y="1872"/>
                      </a:lnTo>
                      <a:lnTo>
                        <a:pt x="654" y="1848"/>
                      </a:lnTo>
                      <a:lnTo>
                        <a:pt x="666" y="1848"/>
                      </a:lnTo>
                      <a:lnTo>
                        <a:pt x="672" y="1842"/>
                      </a:lnTo>
                      <a:lnTo>
                        <a:pt x="678" y="1842"/>
                      </a:lnTo>
                      <a:lnTo>
                        <a:pt x="684" y="1836"/>
                      </a:lnTo>
                      <a:lnTo>
                        <a:pt x="690" y="1824"/>
                      </a:lnTo>
                      <a:lnTo>
                        <a:pt x="702" y="1788"/>
                      </a:lnTo>
                      <a:lnTo>
                        <a:pt x="714" y="1776"/>
                      </a:lnTo>
                      <a:lnTo>
                        <a:pt x="726" y="1770"/>
                      </a:lnTo>
                      <a:lnTo>
                        <a:pt x="744" y="1764"/>
                      </a:lnTo>
                      <a:lnTo>
                        <a:pt x="756" y="1764"/>
                      </a:lnTo>
                      <a:lnTo>
                        <a:pt x="774" y="1770"/>
                      </a:lnTo>
                      <a:lnTo>
                        <a:pt x="798" y="1770"/>
                      </a:lnTo>
                      <a:lnTo>
                        <a:pt x="822" y="1758"/>
                      </a:lnTo>
                      <a:lnTo>
                        <a:pt x="840" y="1752"/>
                      </a:lnTo>
                      <a:lnTo>
                        <a:pt x="858" y="1740"/>
                      </a:lnTo>
                      <a:lnTo>
                        <a:pt x="876" y="1734"/>
                      </a:lnTo>
                      <a:lnTo>
                        <a:pt x="912" y="1734"/>
                      </a:lnTo>
                      <a:lnTo>
                        <a:pt x="918" y="1740"/>
                      </a:lnTo>
                      <a:lnTo>
                        <a:pt x="930" y="1740"/>
                      </a:lnTo>
                      <a:lnTo>
                        <a:pt x="942" y="1746"/>
                      </a:lnTo>
                      <a:lnTo>
                        <a:pt x="972" y="1740"/>
                      </a:lnTo>
                      <a:lnTo>
                        <a:pt x="1044" y="1704"/>
                      </a:lnTo>
                      <a:lnTo>
                        <a:pt x="1074" y="1692"/>
                      </a:lnTo>
                      <a:lnTo>
                        <a:pt x="1098" y="1686"/>
                      </a:lnTo>
                      <a:lnTo>
                        <a:pt x="1140" y="1680"/>
                      </a:lnTo>
                      <a:lnTo>
                        <a:pt x="1176" y="1674"/>
                      </a:lnTo>
                      <a:lnTo>
                        <a:pt x="1224" y="1674"/>
                      </a:lnTo>
                      <a:lnTo>
                        <a:pt x="1236" y="1662"/>
                      </a:lnTo>
                      <a:lnTo>
                        <a:pt x="1254" y="1680"/>
                      </a:lnTo>
                      <a:lnTo>
                        <a:pt x="1266" y="1686"/>
                      </a:lnTo>
                      <a:lnTo>
                        <a:pt x="1278" y="1698"/>
                      </a:lnTo>
                      <a:lnTo>
                        <a:pt x="1302" y="1710"/>
                      </a:lnTo>
                      <a:lnTo>
                        <a:pt x="1320" y="1716"/>
                      </a:lnTo>
                      <a:lnTo>
                        <a:pt x="1332" y="1716"/>
                      </a:lnTo>
                      <a:lnTo>
                        <a:pt x="1338" y="1710"/>
                      </a:lnTo>
                      <a:lnTo>
                        <a:pt x="1338" y="1716"/>
                      </a:lnTo>
                      <a:lnTo>
                        <a:pt x="1344" y="1722"/>
                      </a:lnTo>
                      <a:lnTo>
                        <a:pt x="1350" y="1734"/>
                      </a:lnTo>
                      <a:lnTo>
                        <a:pt x="1356" y="1740"/>
                      </a:lnTo>
                      <a:lnTo>
                        <a:pt x="1374" y="1740"/>
                      </a:lnTo>
                      <a:lnTo>
                        <a:pt x="1380" y="1734"/>
                      </a:lnTo>
                      <a:lnTo>
                        <a:pt x="1380" y="1752"/>
                      </a:lnTo>
                      <a:lnTo>
                        <a:pt x="1392" y="1752"/>
                      </a:lnTo>
                      <a:lnTo>
                        <a:pt x="1398" y="1758"/>
                      </a:lnTo>
                      <a:lnTo>
                        <a:pt x="1398" y="1770"/>
                      </a:lnTo>
                      <a:lnTo>
                        <a:pt x="1386" y="1794"/>
                      </a:lnTo>
                      <a:lnTo>
                        <a:pt x="1380" y="1800"/>
                      </a:lnTo>
                      <a:lnTo>
                        <a:pt x="1374" y="1812"/>
                      </a:lnTo>
                      <a:lnTo>
                        <a:pt x="1392" y="1842"/>
                      </a:lnTo>
                      <a:lnTo>
                        <a:pt x="1410" y="1830"/>
                      </a:lnTo>
                      <a:lnTo>
                        <a:pt x="1428" y="1866"/>
                      </a:lnTo>
                      <a:lnTo>
                        <a:pt x="1428" y="1872"/>
                      </a:lnTo>
                      <a:lnTo>
                        <a:pt x="1434" y="1878"/>
                      </a:lnTo>
                      <a:lnTo>
                        <a:pt x="1434" y="1902"/>
                      </a:lnTo>
                      <a:lnTo>
                        <a:pt x="1440" y="1914"/>
                      </a:lnTo>
                      <a:lnTo>
                        <a:pt x="1440" y="1926"/>
                      </a:lnTo>
                      <a:lnTo>
                        <a:pt x="1422" y="1926"/>
                      </a:lnTo>
                      <a:lnTo>
                        <a:pt x="1410" y="1920"/>
                      </a:lnTo>
                      <a:lnTo>
                        <a:pt x="1404" y="1920"/>
                      </a:lnTo>
                      <a:lnTo>
                        <a:pt x="1410" y="1956"/>
                      </a:lnTo>
                      <a:lnTo>
                        <a:pt x="1446" y="1956"/>
                      </a:lnTo>
                      <a:lnTo>
                        <a:pt x="1452" y="1962"/>
                      </a:lnTo>
                      <a:lnTo>
                        <a:pt x="1452" y="1968"/>
                      </a:lnTo>
                      <a:lnTo>
                        <a:pt x="1470" y="1968"/>
                      </a:lnTo>
                      <a:lnTo>
                        <a:pt x="1470" y="1956"/>
                      </a:lnTo>
                      <a:lnTo>
                        <a:pt x="1464" y="1938"/>
                      </a:lnTo>
                      <a:lnTo>
                        <a:pt x="1464" y="1926"/>
                      </a:lnTo>
                      <a:lnTo>
                        <a:pt x="1470" y="1914"/>
                      </a:lnTo>
                      <a:lnTo>
                        <a:pt x="1476" y="1908"/>
                      </a:lnTo>
                      <a:lnTo>
                        <a:pt x="1500" y="1896"/>
                      </a:lnTo>
                      <a:lnTo>
                        <a:pt x="1512" y="1896"/>
                      </a:lnTo>
                      <a:lnTo>
                        <a:pt x="1518" y="1890"/>
                      </a:lnTo>
                      <a:lnTo>
                        <a:pt x="1530" y="1884"/>
                      </a:lnTo>
                      <a:lnTo>
                        <a:pt x="1542" y="1872"/>
                      </a:lnTo>
                      <a:lnTo>
                        <a:pt x="1548" y="1860"/>
                      </a:lnTo>
                      <a:lnTo>
                        <a:pt x="1566" y="1842"/>
                      </a:lnTo>
                      <a:lnTo>
                        <a:pt x="1566" y="1836"/>
                      </a:lnTo>
                      <a:lnTo>
                        <a:pt x="1590" y="1842"/>
                      </a:lnTo>
                      <a:lnTo>
                        <a:pt x="1608" y="1788"/>
                      </a:lnTo>
                      <a:lnTo>
                        <a:pt x="1638" y="1788"/>
                      </a:lnTo>
                      <a:lnTo>
                        <a:pt x="1650" y="1782"/>
                      </a:lnTo>
                      <a:lnTo>
                        <a:pt x="1662" y="1770"/>
                      </a:lnTo>
                      <a:lnTo>
                        <a:pt x="1668" y="1752"/>
                      </a:lnTo>
                      <a:lnTo>
                        <a:pt x="1668" y="1740"/>
                      </a:lnTo>
                      <a:lnTo>
                        <a:pt x="1668" y="1746"/>
                      </a:lnTo>
                      <a:lnTo>
                        <a:pt x="1674" y="1752"/>
                      </a:lnTo>
                      <a:lnTo>
                        <a:pt x="1674" y="1764"/>
                      </a:lnTo>
                      <a:lnTo>
                        <a:pt x="1680" y="1776"/>
                      </a:lnTo>
                      <a:lnTo>
                        <a:pt x="1680" y="1782"/>
                      </a:lnTo>
                      <a:lnTo>
                        <a:pt x="1668" y="1794"/>
                      </a:lnTo>
                      <a:lnTo>
                        <a:pt x="1662" y="1806"/>
                      </a:lnTo>
                      <a:lnTo>
                        <a:pt x="1650" y="1812"/>
                      </a:lnTo>
                      <a:lnTo>
                        <a:pt x="1644" y="1818"/>
                      </a:lnTo>
                      <a:lnTo>
                        <a:pt x="1620" y="1818"/>
                      </a:lnTo>
                      <a:lnTo>
                        <a:pt x="1614" y="1830"/>
                      </a:lnTo>
                      <a:lnTo>
                        <a:pt x="1632" y="1866"/>
                      </a:lnTo>
                      <a:lnTo>
                        <a:pt x="1620" y="1866"/>
                      </a:lnTo>
                      <a:lnTo>
                        <a:pt x="1614" y="1872"/>
                      </a:lnTo>
                      <a:lnTo>
                        <a:pt x="1602" y="1878"/>
                      </a:lnTo>
                      <a:lnTo>
                        <a:pt x="1566" y="1914"/>
                      </a:lnTo>
                      <a:lnTo>
                        <a:pt x="1566" y="1926"/>
                      </a:lnTo>
                      <a:lnTo>
                        <a:pt x="1560" y="1932"/>
                      </a:lnTo>
                      <a:lnTo>
                        <a:pt x="1554" y="1944"/>
                      </a:lnTo>
                      <a:lnTo>
                        <a:pt x="1542" y="1956"/>
                      </a:lnTo>
                      <a:lnTo>
                        <a:pt x="1518" y="1968"/>
                      </a:lnTo>
                      <a:lnTo>
                        <a:pt x="1512" y="1974"/>
                      </a:lnTo>
                      <a:lnTo>
                        <a:pt x="1512" y="1980"/>
                      </a:lnTo>
                      <a:lnTo>
                        <a:pt x="1518" y="1986"/>
                      </a:lnTo>
                      <a:lnTo>
                        <a:pt x="1548" y="1986"/>
                      </a:lnTo>
                      <a:lnTo>
                        <a:pt x="1560" y="1980"/>
                      </a:lnTo>
                      <a:lnTo>
                        <a:pt x="1572" y="1980"/>
                      </a:lnTo>
                      <a:lnTo>
                        <a:pt x="1584" y="1968"/>
                      </a:lnTo>
                      <a:lnTo>
                        <a:pt x="1602" y="1932"/>
                      </a:lnTo>
                      <a:lnTo>
                        <a:pt x="1608" y="1926"/>
                      </a:lnTo>
                      <a:lnTo>
                        <a:pt x="1614" y="1914"/>
                      </a:lnTo>
                      <a:lnTo>
                        <a:pt x="1626" y="1908"/>
                      </a:lnTo>
                      <a:lnTo>
                        <a:pt x="1632" y="1902"/>
                      </a:lnTo>
                      <a:lnTo>
                        <a:pt x="1632" y="1920"/>
                      </a:lnTo>
                      <a:lnTo>
                        <a:pt x="1638" y="1932"/>
                      </a:lnTo>
                      <a:lnTo>
                        <a:pt x="1638" y="1956"/>
                      </a:lnTo>
                      <a:lnTo>
                        <a:pt x="1626" y="1968"/>
                      </a:lnTo>
                      <a:lnTo>
                        <a:pt x="1614" y="1974"/>
                      </a:lnTo>
                      <a:lnTo>
                        <a:pt x="1602" y="1986"/>
                      </a:lnTo>
                      <a:lnTo>
                        <a:pt x="1602" y="2004"/>
                      </a:lnTo>
                      <a:lnTo>
                        <a:pt x="1608" y="2010"/>
                      </a:lnTo>
                      <a:lnTo>
                        <a:pt x="1614" y="2010"/>
                      </a:lnTo>
                      <a:lnTo>
                        <a:pt x="1632" y="2016"/>
                      </a:lnTo>
                      <a:lnTo>
                        <a:pt x="1662" y="2016"/>
                      </a:lnTo>
                      <a:lnTo>
                        <a:pt x="1668" y="2028"/>
                      </a:lnTo>
                      <a:lnTo>
                        <a:pt x="1644" y="2052"/>
                      </a:lnTo>
                      <a:lnTo>
                        <a:pt x="1644" y="2058"/>
                      </a:lnTo>
                      <a:lnTo>
                        <a:pt x="1650" y="2064"/>
                      </a:lnTo>
                      <a:lnTo>
                        <a:pt x="1668" y="2100"/>
                      </a:lnTo>
                      <a:lnTo>
                        <a:pt x="1674" y="2106"/>
                      </a:lnTo>
                      <a:lnTo>
                        <a:pt x="1674" y="2118"/>
                      </a:lnTo>
                      <a:lnTo>
                        <a:pt x="1626" y="2166"/>
                      </a:lnTo>
                      <a:lnTo>
                        <a:pt x="1626" y="2178"/>
                      </a:lnTo>
                      <a:lnTo>
                        <a:pt x="1638" y="2190"/>
                      </a:lnTo>
                      <a:lnTo>
                        <a:pt x="1644" y="2202"/>
                      </a:lnTo>
                      <a:lnTo>
                        <a:pt x="1668" y="2214"/>
                      </a:lnTo>
                      <a:lnTo>
                        <a:pt x="1680" y="2226"/>
                      </a:lnTo>
                      <a:lnTo>
                        <a:pt x="1692" y="2232"/>
                      </a:lnTo>
                      <a:lnTo>
                        <a:pt x="1716" y="2256"/>
                      </a:lnTo>
                      <a:lnTo>
                        <a:pt x="1728" y="2262"/>
                      </a:lnTo>
                      <a:lnTo>
                        <a:pt x="1800" y="2262"/>
                      </a:lnTo>
                      <a:lnTo>
                        <a:pt x="1824" y="2286"/>
                      </a:lnTo>
                      <a:lnTo>
                        <a:pt x="1842" y="2292"/>
                      </a:lnTo>
                      <a:lnTo>
                        <a:pt x="1872" y="2286"/>
                      </a:lnTo>
                      <a:lnTo>
                        <a:pt x="1902" y="2274"/>
                      </a:lnTo>
                      <a:lnTo>
                        <a:pt x="1932" y="2256"/>
                      </a:lnTo>
                      <a:lnTo>
                        <a:pt x="1944" y="2250"/>
                      </a:lnTo>
                      <a:lnTo>
                        <a:pt x="1944" y="2226"/>
                      </a:lnTo>
                      <a:lnTo>
                        <a:pt x="1956" y="2214"/>
                      </a:lnTo>
                      <a:lnTo>
                        <a:pt x="1962" y="2214"/>
                      </a:lnTo>
                      <a:lnTo>
                        <a:pt x="1974" y="2226"/>
                      </a:lnTo>
                      <a:lnTo>
                        <a:pt x="1974" y="2256"/>
                      </a:lnTo>
                      <a:lnTo>
                        <a:pt x="1992" y="2256"/>
                      </a:lnTo>
                      <a:lnTo>
                        <a:pt x="1980" y="2280"/>
                      </a:lnTo>
                      <a:lnTo>
                        <a:pt x="1998" y="2280"/>
                      </a:lnTo>
                      <a:lnTo>
                        <a:pt x="1998" y="2292"/>
                      </a:lnTo>
                      <a:lnTo>
                        <a:pt x="2004" y="2298"/>
                      </a:lnTo>
                      <a:lnTo>
                        <a:pt x="2010" y="2310"/>
                      </a:lnTo>
                      <a:lnTo>
                        <a:pt x="2016" y="2316"/>
                      </a:lnTo>
                      <a:lnTo>
                        <a:pt x="2028" y="2316"/>
                      </a:lnTo>
                      <a:lnTo>
                        <a:pt x="2040" y="2304"/>
                      </a:lnTo>
                      <a:lnTo>
                        <a:pt x="2046" y="2304"/>
                      </a:lnTo>
                      <a:lnTo>
                        <a:pt x="2052" y="2298"/>
                      </a:lnTo>
                      <a:lnTo>
                        <a:pt x="2070" y="2292"/>
                      </a:lnTo>
                      <a:lnTo>
                        <a:pt x="2082" y="2286"/>
                      </a:lnTo>
                      <a:lnTo>
                        <a:pt x="2088" y="2280"/>
                      </a:lnTo>
                      <a:lnTo>
                        <a:pt x="2100" y="2274"/>
                      </a:lnTo>
                      <a:lnTo>
                        <a:pt x="2124" y="2250"/>
                      </a:lnTo>
                      <a:lnTo>
                        <a:pt x="2136" y="2244"/>
                      </a:lnTo>
                      <a:lnTo>
                        <a:pt x="2148" y="2232"/>
                      </a:lnTo>
                      <a:lnTo>
                        <a:pt x="2160" y="2226"/>
                      </a:lnTo>
                      <a:lnTo>
                        <a:pt x="2154" y="2214"/>
                      </a:lnTo>
                      <a:lnTo>
                        <a:pt x="2190" y="2202"/>
                      </a:lnTo>
                      <a:lnTo>
                        <a:pt x="2202" y="2214"/>
                      </a:lnTo>
                      <a:lnTo>
                        <a:pt x="2220" y="2214"/>
                      </a:lnTo>
                      <a:lnTo>
                        <a:pt x="2256" y="2208"/>
                      </a:lnTo>
                      <a:lnTo>
                        <a:pt x="2298" y="2196"/>
                      </a:lnTo>
                      <a:lnTo>
                        <a:pt x="2316" y="2178"/>
                      </a:lnTo>
                      <a:lnTo>
                        <a:pt x="2328" y="2148"/>
                      </a:lnTo>
                      <a:lnTo>
                        <a:pt x="2334" y="2118"/>
                      </a:lnTo>
                      <a:lnTo>
                        <a:pt x="2340" y="2100"/>
                      </a:lnTo>
                      <a:lnTo>
                        <a:pt x="2346" y="2088"/>
                      </a:lnTo>
                      <a:lnTo>
                        <a:pt x="2376" y="2058"/>
                      </a:lnTo>
                      <a:lnTo>
                        <a:pt x="2382" y="2058"/>
                      </a:lnTo>
                      <a:lnTo>
                        <a:pt x="2382" y="2034"/>
                      </a:lnTo>
                      <a:lnTo>
                        <a:pt x="2388" y="2034"/>
                      </a:lnTo>
                      <a:lnTo>
                        <a:pt x="2394" y="2028"/>
                      </a:lnTo>
                      <a:lnTo>
                        <a:pt x="2406" y="2022"/>
                      </a:lnTo>
                      <a:lnTo>
                        <a:pt x="2418" y="2010"/>
                      </a:lnTo>
                      <a:lnTo>
                        <a:pt x="2424" y="1998"/>
                      </a:lnTo>
                      <a:lnTo>
                        <a:pt x="2442" y="1980"/>
                      </a:lnTo>
                      <a:lnTo>
                        <a:pt x="2442" y="1956"/>
                      </a:lnTo>
                      <a:lnTo>
                        <a:pt x="2448" y="1944"/>
                      </a:lnTo>
                      <a:lnTo>
                        <a:pt x="2454" y="1926"/>
                      </a:lnTo>
                      <a:lnTo>
                        <a:pt x="2460" y="1914"/>
                      </a:lnTo>
                      <a:lnTo>
                        <a:pt x="2490" y="1884"/>
                      </a:lnTo>
                      <a:lnTo>
                        <a:pt x="2502" y="1866"/>
                      </a:lnTo>
                      <a:lnTo>
                        <a:pt x="2526" y="1842"/>
                      </a:lnTo>
                      <a:lnTo>
                        <a:pt x="2538" y="1836"/>
                      </a:lnTo>
                      <a:lnTo>
                        <a:pt x="2550" y="1824"/>
                      </a:lnTo>
                      <a:lnTo>
                        <a:pt x="2556" y="1812"/>
                      </a:lnTo>
                      <a:lnTo>
                        <a:pt x="2556" y="1800"/>
                      </a:lnTo>
                      <a:lnTo>
                        <a:pt x="2562" y="1788"/>
                      </a:lnTo>
                      <a:lnTo>
                        <a:pt x="2562" y="1782"/>
                      </a:lnTo>
                      <a:lnTo>
                        <a:pt x="2586" y="1782"/>
                      </a:lnTo>
                      <a:lnTo>
                        <a:pt x="2610" y="1770"/>
                      </a:lnTo>
                      <a:lnTo>
                        <a:pt x="2622" y="1752"/>
                      </a:lnTo>
                      <a:lnTo>
                        <a:pt x="2646" y="1728"/>
                      </a:lnTo>
                      <a:lnTo>
                        <a:pt x="2670" y="1698"/>
                      </a:lnTo>
                      <a:lnTo>
                        <a:pt x="2688" y="1674"/>
                      </a:lnTo>
                      <a:lnTo>
                        <a:pt x="2700" y="1662"/>
                      </a:lnTo>
                      <a:lnTo>
                        <a:pt x="2700" y="1656"/>
                      </a:lnTo>
                      <a:lnTo>
                        <a:pt x="2706" y="1638"/>
                      </a:lnTo>
                      <a:lnTo>
                        <a:pt x="2706" y="1614"/>
                      </a:lnTo>
                      <a:lnTo>
                        <a:pt x="2712" y="1596"/>
                      </a:lnTo>
                      <a:lnTo>
                        <a:pt x="2718" y="1590"/>
                      </a:lnTo>
                      <a:lnTo>
                        <a:pt x="2730" y="1572"/>
                      </a:lnTo>
                      <a:lnTo>
                        <a:pt x="2754" y="1542"/>
                      </a:lnTo>
                      <a:lnTo>
                        <a:pt x="2772" y="1494"/>
                      </a:lnTo>
                      <a:lnTo>
                        <a:pt x="2796" y="1458"/>
                      </a:lnTo>
                      <a:lnTo>
                        <a:pt x="2808" y="1428"/>
                      </a:lnTo>
                      <a:lnTo>
                        <a:pt x="2814" y="1416"/>
                      </a:lnTo>
                      <a:lnTo>
                        <a:pt x="2814" y="1386"/>
                      </a:lnTo>
                      <a:lnTo>
                        <a:pt x="2802" y="1362"/>
                      </a:lnTo>
                      <a:lnTo>
                        <a:pt x="2820" y="1308"/>
                      </a:lnTo>
                      <a:lnTo>
                        <a:pt x="2832" y="1290"/>
                      </a:lnTo>
                      <a:lnTo>
                        <a:pt x="2838" y="1266"/>
                      </a:lnTo>
                      <a:lnTo>
                        <a:pt x="2838" y="1224"/>
                      </a:lnTo>
                      <a:lnTo>
                        <a:pt x="2832" y="1194"/>
                      </a:lnTo>
                      <a:lnTo>
                        <a:pt x="2832" y="1176"/>
                      </a:lnTo>
                      <a:lnTo>
                        <a:pt x="2802" y="1164"/>
                      </a:lnTo>
                      <a:close/>
                      <a:moveTo>
                        <a:pt x="2016" y="2436"/>
                      </a:moveTo>
                      <a:lnTo>
                        <a:pt x="2022" y="2442"/>
                      </a:lnTo>
                      <a:lnTo>
                        <a:pt x="2028" y="2442"/>
                      </a:lnTo>
                      <a:lnTo>
                        <a:pt x="2040" y="2436"/>
                      </a:lnTo>
                      <a:lnTo>
                        <a:pt x="2046" y="2430"/>
                      </a:lnTo>
                      <a:lnTo>
                        <a:pt x="2034" y="2418"/>
                      </a:lnTo>
                      <a:lnTo>
                        <a:pt x="2016" y="2436"/>
                      </a:lnTo>
                      <a:close/>
                      <a:moveTo>
                        <a:pt x="1992" y="2454"/>
                      </a:moveTo>
                      <a:lnTo>
                        <a:pt x="1974" y="2454"/>
                      </a:lnTo>
                      <a:lnTo>
                        <a:pt x="1962" y="2466"/>
                      </a:lnTo>
                      <a:lnTo>
                        <a:pt x="1962" y="2472"/>
                      </a:lnTo>
                      <a:lnTo>
                        <a:pt x="1962" y="2460"/>
                      </a:lnTo>
                      <a:lnTo>
                        <a:pt x="1938" y="2460"/>
                      </a:lnTo>
                      <a:lnTo>
                        <a:pt x="1926" y="2466"/>
                      </a:lnTo>
                      <a:lnTo>
                        <a:pt x="1914" y="2466"/>
                      </a:lnTo>
                      <a:lnTo>
                        <a:pt x="1908" y="2478"/>
                      </a:lnTo>
                      <a:lnTo>
                        <a:pt x="1890" y="2460"/>
                      </a:lnTo>
                      <a:lnTo>
                        <a:pt x="1854" y="2460"/>
                      </a:lnTo>
                      <a:lnTo>
                        <a:pt x="1830" y="2430"/>
                      </a:lnTo>
                      <a:lnTo>
                        <a:pt x="1824" y="2436"/>
                      </a:lnTo>
                      <a:lnTo>
                        <a:pt x="1818" y="2436"/>
                      </a:lnTo>
                      <a:lnTo>
                        <a:pt x="1812" y="2442"/>
                      </a:lnTo>
                      <a:lnTo>
                        <a:pt x="1806" y="2442"/>
                      </a:lnTo>
                      <a:lnTo>
                        <a:pt x="1776" y="2412"/>
                      </a:lnTo>
                      <a:lnTo>
                        <a:pt x="1776" y="2424"/>
                      </a:lnTo>
                      <a:lnTo>
                        <a:pt x="1782" y="2448"/>
                      </a:lnTo>
                      <a:lnTo>
                        <a:pt x="1782" y="2472"/>
                      </a:lnTo>
                      <a:lnTo>
                        <a:pt x="1776" y="2478"/>
                      </a:lnTo>
                      <a:lnTo>
                        <a:pt x="1776" y="2484"/>
                      </a:lnTo>
                      <a:lnTo>
                        <a:pt x="1770" y="2490"/>
                      </a:lnTo>
                      <a:lnTo>
                        <a:pt x="1770" y="2502"/>
                      </a:lnTo>
                      <a:lnTo>
                        <a:pt x="1776" y="2514"/>
                      </a:lnTo>
                      <a:lnTo>
                        <a:pt x="1776" y="2532"/>
                      </a:lnTo>
                      <a:lnTo>
                        <a:pt x="1764" y="2538"/>
                      </a:lnTo>
                      <a:lnTo>
                        <a:pt x="1758" y="2544"/>
                      </a:lnTo>
                      <a:lnTo>
                        <a:pt x="1752" y="2544"/>
                      </a:lnTo>
                      <a:lnTo>
                        <a:pt x="1740" y="2532"/>
                      </a:lnTo>
                      <a:lnTo>
                        <a:pt x="1740" y="2538"/>
                      </a:lnTo>
                      <a:lnTo>
                        <a:pt x="1734" y="2544"/>
                      </a:lnTo>
                      <a:lnTo>
                        <a:pt x="1734" y="2556"/>
                      </a:lnTo>
                      <a:lnTo>
                        <a:pt x="1728" y="2574"/>
                      </a:lnTo>
                      <a:lnTo>
                        <a:pt x="1728" y="2586"/>
                      </a:lnTo>
                      <a:lnTo>
                        <a:pt x="1740" y="2610"/>
                      </a:lnTo>
                      <a:lnTo>
                        <a:pt x="1740" y="2616"/>
                      </a:lnTo>
                      <a:lnTo>
                        <a:pt x="1746" y="2628"/>
                      </a:lnTo>
                      <a:lnTo>
                        <a:pt x="1770" y="2628"/>
                      </a:lnTo>
                      <a:lnTo>
                        <a:pt x="1752" y="2640"/>
                      </a:lnTo>
                      <a:lnTo>
                        <a:pt x="1758" y="2664"/>
                      </a:lnTo>
                      <a:lnTo>
                        <a:pt x="1770" y="2658"/>
                      </a:lnTo>
                      <a:lnTo>
                        <a:pt x="1776" y="2658"/>
                      </a:lnTo>
                      <a:lnTo>
                        <a:pt x="1782" y="2652"/>
                      </a:lnTo>
                      <a:lnTo>
                        <a:pt x="1794" y="2652"/>
                      </a:lnTo>
                      <a:lnTo>
                        <a:pt x="1800" y="2658"/>
                      </a:lnTo>
                      <a:lnTo>
                        <a:pt x="1818" y="2658"/>
                      </a:lnTo>
                      <a:lnTo>
                        <a:pt x="1830" y="2652"/>
                      </a:lnTo>
                      <a:lnTo>
                        <a:pt x="1836" y="2646"/>
                      </a:lnTo>
                      <a:lnTo>
                        <a:pt x="1842" y="2634"/>
                      </a:lnTo>
                      <a:lnTo>
                        <a:pt x="1854" y="2634"/>
                      </a:lnTo>
                      <a:lnTo>
                        <a:pt x="1860" y="2640"/>
                      </a:lnTo>
                      <a:lnTo>
                        <a:pt x="1860" y="2646"/>
                      </a:lnTo>
                      <a:lnTo>
                        <a:pt x="1848" y="2658"/>
                      </a:lnTo>
                      <a:lnTo>
                        <a:pt x="1866" y="2664"/>
                      </a:lnTo>
                      <a:lnTo>
                        <a:pt x="1884" y="2646"/>
                      </a:lnTo>
                      <a:lnTo>
                        <a:pt x="1890" y="2634"/>
                      </a:lnTo>
                      <a:lnTo>
                        <a:pt x="1902" y="2628"/>
                      </a:lnTo>
                      <a:lnTo>
                        <a:pt x="1908" y="2616"/>
                      </a:lnTo>
                      <a:lnTo>
                        <a:pt x="1920" y="2604"/>
                      </a:lnTo>
                      <a:lnTo>
                        <a:pt x="1914" y="2604"/>
                      </a:lnTo>
                      <a:lnTo>
                        <a:pt x="1902" y="2592"/>
                      </a:lnTo>
                      <a:lnTo>
                        <a:pt x="1920" y="2562"/>
                      </a:lnTo>
                      <a:lnTo>
                        <a:pt x="1950" y="2562"/>
                      </a:lnTo>
                      <a:lnTo>
                        <a:pt x="1962" y="2538"/>
                      </a:lnTo>
                      <a:lnTo>
                        <a:pt x="1962" y="2514"/>
                      </a:lnTo>
                      <a:lnTo>
                        <a:pt x="1968" y="2502"/>
                      </a:lnTo>
                      <a:lnTo>
                        <a:pt x="1980" y="2496"/>
                      </a:lnTo>
                      <a:lnTo>
                        <a:pt x="1986" y="2484"/>
                      </a:lnTo>
                      <a:lnTo>
                        <a:pt x="1992" y="2478"/>
                      </a:lnTo>
                      <a:lnTo>
                        <a:pt x="1998" y="2466"/>
                      </a:lnTo>
                      <a:lnTo>
                        <a:pt x="1998" y="2460"/>
                      </a:lnTo>
                      <a:lnTo>
                        <a:pt x="1992" y="2454"/>
                      </a:lnTo>
                      <a:close/>
                      <a:moveTo>
                        <a:pt x="1902" y="246"/>
                      </a:moveTo>
                      <a:lnTo>
                        <a:pt x="1890" y="258"/>
                      </a:lnTo>
                      <a:lnTo>
                        <a:pt x="1890" y="270"/>
                      </a:lnTo>
                      <a:lnTo>
                        <a:pt x="1884" y="282"/>
                      </a:lnTo>
                      <a:lnTo>
                        <a:pt x="1884" y="294"/>
                      </a:lnTo>
                      <a:lnTo>
                        <a:pt x="1896" y="300"/>
                      </a:lnTo>
                      <a:lnTo>
                        <a:pt x="1920" y="300"/>
                      </a:lnTo>
                      <a:lnTo>
                        <a:pt x="1926" y="294"/>
                      </a:lnTo>
                      <a:lnTo>
                        <a:pt x="1932" y="294"/>
                      </a:lnTo>
                      <a:lnTo>
                        <a:pt x="1926" y="282"/>
                      </a:lnTo>
                      <a:lnTo>
                        <a:pt x="1932" y="252"/>
                      </a:lnTo>
                      <a:lnTo>
                        <a:pt x="1920" y="252"/>
                      </a:lnTo>
                      <a:lnTo>
                        <a:pt x="1908" y="246"/>
                      </a:lnTo>
                      <a:lnTo>
                        <a:pt x="1902" y="246"/>
                      </a:lnTo>
                      <a:close/>
                      <a:moveTo>
                        <a:pt x="1770" y="2334"/>
                      </a:moveTo>
                      <a:lnTo>
                        <a:pt x="1758" y="2376"/>
                      </a:lnTo>
                      <a:lnTo>
                        <a:pt x="1812" y="2328"/>
                      </a:lnTo>
                      <a:lnTo>
                        <a:pt x="1770" y="2334"/>
                      </a:lnTo>
                      <a:close/>
                      <a:moveTo>
                        <a:pt x="2034" y="2400"/>
                      </a:moveTo>
                      <a:lnTo>
                        <a:pt x="2016" y="2358"/>
                      </a:lnTo>
                      <a:lnTo>
                        <a:pt x="1998" y="2376"/>
                      </a:lnTo>
                      <a:lnTo>
                        <a:pt x="1998" y="2394"/>
                      </a:lnTo>
                      <a:lnTo>
                        <a:pt x="2010" y="2406"/>
                      </a:lnTo>
                      <a:lnTo>
                        <a:pt x="2028" y="2406"/>
                      </a:lnTo>
                      <a:lnTo>
                        <a:pt x="2034" y="2400"/>
                      </a:lnTo>
                      <a:close/>
                    </a:path>
                  </a:pathLst>
                </a:custGeom>
                <a:solidFill>
                  <a:schemeClr val="accent1"/>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685" name="Armenia"/>
                <p:cNvSpPr>
                  <a:spLocks/>
                </p:cNvSpPr>
                <p:nvPr/>
              </p:nvSpPr>
              <p:spPr bwMode="gray">
                <a:xfrm>
                  <a:off x="3393" y="1458"/>
                  <a:ext cx="57" cy="54"/>
                </a:xfrm>
                <a:custGeom>
                  <a:avLst/>
                  <a:gdLst>
                    <a:gd name="T0" fmla="*/ 2147483647 w 222"/>
                    <a:gd name="T1" fmla="*/ 2147483647 h 210"/>
                    <a:gd name="T2" fmla="*/ 2147483647 w 222"/>
                    <a:gd name="T3" fmla="*/ 2147483647 h 210"/>
                    <a:gd name="T4" fmla="*/ 2147483647 w 222"/>
                    <a:gd name="T5" fmla="*/ 2147483647 h 210"/>
                    <a:gd name="T6" fmla="*/ 2147483647 w 222"/>
                    <a:gd name="T7" fmla="*/ 2147483647 h 210"/>
                    <a:gd name="T8" fmla="*/ 2147483647 w 222"/>
                    <a:gd name="T9" fmla="*/ 2147483647 h 210"/>
                    <a:gd name="T10" fmla="*/ 2147483647 w 222"/>
                    <a:gd name="T11" fmla="*/ 2147483647 h 210"/>
                    <a:gd name="T12" fmla="*/ 2147483647 w 222"/>
                    <a:gd name="T13" fmla="*/ 2147483647 h 210"/>
                    <a:gd name="T14" fmla="*/ 2147483647 w 222"/>
                    <a:gd name="T15" fmla="*/ 2147483647 h 210"/>
                    <a:gd name="T16" fmla="*/ 2147483647 w 222"/>
                    <a:gd name="T17" fmla="*/ 2147483647 h 210"/>
                    <a:gd name="T18" fmla="*/ 2147483647 w 222"/>
                    <a:gd name="T19" fmla="*/ 2147483647 h 210"/>
                    <a:gd name="T20" fmla="*/ 2147483647 w 222"/>
                    <a:gd name="T21" fmla="*/ 2147483647 h 210"/>
                    <a:gd name="T22" fmla="*/ 2147483647 w 222"/>
                    <a:gd name="T23" fmla="*/ 2147483647 h 210"/>
                    <a:gd name="T24" fmla="*/ 2147483647 w 222"/>
                    <a:gd name="T25" fmla="*/ 2147483647 h 210"/>
                    <a:gd name="T26" fmla="*/ 2147483647 w 222"/>
                    <a:gd name="T27" fmla="*/ 2147483647 h 210"/>
                    <a:gd name="T28" fmla="*/ 2147483647 w 222"/>
                    <a:gd name="T29" fmla="*/ 2147483647 h 210"/>
                    <a:gd name="T30" fmla="*/ 2147483647 w 222"/>
                    <a:gd name="T31" fmla="*/ 2147483647 h 210"/>
                    <a:gd name="T32" fmla="*/ 2147483647 w 222"/>
                    <a:gd name="T33" fmla="*/ 2147483647 h 210"/>
                    <a:gd name="T34" fmla="*/ 2147483647 w 222"/>
                    <a:gd name="T35" fmla="*/ 2147483647 h 210"/>
                    <a:gd name="T36" fmla="*/ 2147483647 w 222"/>
                    <a:gd name="T37" fmla="*/ 2147483647 h 210"/>
                    <a:gd name="T38" fmla="*/ 2147483647 w 222"/>
                    <a:gd name="T39" fmla="*/ 0 h 210"/>
                    <a:gd name="T40" fmla="*/ 2147483647 w 222"/>
                    <a:gd name="T41" fmla="*/ 0 h 210"/>
                    <a:gd name="T42" fmla="*/ 2147483647 w 222"/>
                    <a:gd name="T43" fmla="*/ 2147483647 h 210"/>
                    <a:gd name="T44" fmla="*/ 2147483647 w 222"/>
                    <a:gd name="T45" fmla="*/ 2147483647 h 210"/>
                    <a:gd name="T46" fmla="*/ 2147483647 w 222"/>
                    <a:gd name="T47" fmla="*/ 2147483647 h 210"/>
                    <a:gd name="T48" fmla="*/ 0 w 222"/>
                    <a:gd name="T49" fmla="*/ 2147483647 h 210"/>
                    <a:gd name="T50" fmla="*/ 2147483647 w 222"/>
                    <a:gd name="T51" fmla="*/ 2147483647 h 210"/>
                    <a:gd name="T52" fmla="*/ 2147483647 w 222"/>
                    <a:gd name="T53" fmla="*/ 2147483647 h 210"/>
                    <a:gd name="T54" fmla="*/ 2147483647 w 222"/>
                    <a:gd name="T55" fmla="*/ 2147483647 h 210"/>
                    <a:gd name="T56" fmla="*/ 2147483647 w 222"/>
                    <a:gd name="T57" fmla="*/ 2147483647 h 210"/>
                    <a:gd name="T58" fmla="*/ 2147483647 w 222"/>
                    <a:gd name="T59" fmla="*/ 2147483647 h 210"/>
                    <a:gd name="T60" fmla="*/ 2147483647 w 222"/>
                    <a:gd name="T61" fmla="*/ 2147483647 h 210"/>
                    <a:gd name="T62" fmla="*/ 2147483647 w 222"/>
                    <a:gd name="T63" fmla="*/ 2147483647 h 210"/>
                    <a:gd name="T64" fmla="*/ 2147483647 w 222"/>
                    <a:gd name="T65" fmla="*/ 2147483647 h 210"/>
                    <a:gd name="T66" fmla="*/ 2147483647 w 222"/>
                    <a:gd name="T67" fmla="*/ 2147483647 h 210"/>
                    <a:gd name="T68" fmla="*/ 2147483647 w 222"/>
                    <a:gd name="T69" fmla="*/ 2147483647 h 210"/>
                    <a:gd name="T70" fmla="*/ 2147483647 w 222"/>
                    <a:gd name="T71" fmla="*/ 2147483647 h 210"/>
                    <a:gd name="T72" fmla="*/ 2147483647 w 222"/>
                    <a:gd name="T73" fmla="*/ 2147483647 h 210"/>
                    <a:gd name="T74" fmla="*/ 2147483647 w 222"/>
                    <a:gd name="T75" fmla="*/ 2147483647 h 210"/>
                    <a:gd name="T76" fmla="*/ 2147483647 w 222"/>
                    <a:gd name="T77" fmla="*/ 2147483647 h 210"/>
                    <a:gd name="T78" fmla="*/ 2147483647 w 222"/>
                    <a:gd name="T79" fmla="*/ 2147483647 h 210"/>
                    <a:gd name="T80" fmla="*/ 2147483647 w 222"/>
                    <a:gd name="T81" fmla="*/ 2147483647 h 210"/>
                    <a:gd name="T82" fmla="*/ 2147483647 w 222"/>
                    <a:gd name="T83" fmla="*/ 2147483647 h 210"/>
                    <a:gd name="T84" fmla="*/ 2147483647 w 222"/>
                    <a:gd name="T85" fmla="*/ 2147483647 h 210"/>
                    <a:gd name="T86" fmla="*/ 2147483647 w 222"/>
                    <a:gd name="T87" fmla="*/ 2147483647 h 210"/>
                    <a:gd name="T88" fmla="*/ 2147483647 w 222"/>
                    <a:gd name="T89" fmla="*/ 2147483647 h 210"/>
                    <a:gd name="T90" fmla="*/ 2147483647 w 222"/>
                    <a:gd name="T91" fmla="*/ 2147483647 h 210"/>
                    <a:gd name="T92" fmla="*/ 2147483647 w 222"/>
                    <a:gd name="T93" fmla="*/ 2147483647 h 210"/>
                    <a:gd name="T94" fmla="*/ 2147483647 w 222"/>
                    <a:gd name="T95" fmla="*/ 2147483647 h 210"/>
                    <a:gd name="T96" fmla="*/ 2147483647 w 222"/>
                    <a:gd name="T97" fmla="*/ 2147483647 h 210"/>
                    <a:gd name="T98" fmla="*/ 2147483647 w 222"/>
                    <a:gd name="T99" fmla="*/ 2147483647 h 210"/>
                    <a:gd name="T100" fmla="*/ 2147483647 w 222"/>
                    <a:gd name="T101" fmla="*/ 2147483647 h 210"/>
                    <a:gd name="T102" fmla="*/ 2147483647 w 222"/>
                    <a:gd name="T103" fmla="*/ 2147483647 h 210"/>
                    <a:gd name="T104" fmla="*/ 2147483647 w 222"/>
                    <a:gd name="T105" fmla="*/ 2147483647 h 210"/>
                    <a:gd name="T106" fmla="*/ 2147483647 w 222"/>
                    <a:gd name="T107" fmla="*/ 2147483647 h 21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22"/>
                    <a:gd name="T163" fmla="*/ 0 h 210"/>
                    <a:gd name="T164" fmla="*/ 222 w 222"/>
                    <a:gd name="T165" fmla="*/ 210 h 21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22" h="210">
                      <a:moveTo>
                        <a:pt x="222" y="168"/>
                      </a:moveTo>
                      <a:lnTo>
                        <a:pt x="216" y="156"/>
                      </a:lnTo>
                      <a:lnTo>
                        <a:pt x="216" y="144"/>
                      </a:lnTo>
                      <a:lnTo>
                        <a:pt x="186" y="138"/>
                      </a:lnTo>
                      <a:lnTo>
                        <a:pt x="174" y="120"/>
                      </a:lnTo>
                      <a:lnTo>
                        <a:pt x="144" y="108"/>
                      </a:lnTo>
                      <a:lnTo>
                        <a:pt x="156" y="108"/>
                      </a:lnTo>
                      <a:lnTo>
                        <a:pt x="174" y="90"/>
                      </a:lnTo>
                      <a:lnTo>
                        <a:pt x="174" y="84"/>
                      </a:lnTo>
                      <a:lnTo>
                        <a:pt x="168" y="78"/>
                      </a:lnTo>
                      <a:lnTo>
                        <a:pt x="144" y="66"/>
                      </a:lnTo>
                      <a:lnTo>
                        <a:pt x="138" y="60"/>
                      </a:lnTo>
                      <a:lnTo>
                        <a:pt x="132" y="60"/>
                      </a:lnTo>
                      <a:lnTo>
                        <a:pt x="138" y="54"/>
                      </a:lnTo>
                      <a:lnTo>
                        <a:pt x="138" y="30"/>
                      </a:lnTo>
                      <a:lnTo>
                        <a:pt x="132" y="24"/>
                      </a:lnTo>
                      <a:lnTo>
                        <a:pt x="114" y="24"/>
                      </a:lnTo>
                      <a:lnTo>
                        <a:pt x="114" y="12"/>
                      </a:lnTo>
                      <a:lnTo>
                        <a:pt x="102" y="6"/>
                      </a:lnTo>
                      <a:lnTo>
                        <a:pt x="96" y="0"/>
                      </a:lnTo>
                      <a:lnTo>
                        <a:pt x="84" y="0"/>
                      </a:lnTo>
                      <a:lnTo>
                        <a:pt x="84" y="18"/>
                      </a:lnTo>
                      <a:lnTo>
                        <a:pt x="30" y="12"/>
                      </a:lnTo>
                      <a:lnTo>
                        <a:pt x="24" y="18"/>
                      </a:lnTo>
                      <a:lnTo>
                        <a:pt x="0" y="24"/>
                      </a:lnTo>
                      <a:lnTo>
                        <a:pt x="6" y="30"/>
                      </a:lnTo>
                      <a:lnTo>
                        <a:pt x="6" y="42"/>
                      </a:lnTo>
                      <a:lnTo>
                        <a:pt x="18" y="78"/>
                      </a:lnTo>
                      <a:lnTo>
                        <a:pt x="18" y="90"/>
                      </a:lnTo>
                      <a:lnTo>
                        <a:pt x="24" y="102"/>
                      </a:lnTo>
                      <a:lnTo>
                        <a:pt x="30" y="108"/>
                      </a:lnTo>
                      <a:lnTo>
                        <a:pt x="42" y="114"/>
                      </a:lnTo>
                      <a:lnTo>
                        <a:pt x="54" y="114"/>
                      </a:lnTo>
                      <a:lnTo>
                        <a:pt x="66" y="108"/>
                      </a:lnTo>
                      <a:lnTo>
                        <a:pt x="72" y="108"/>
                      </a:lnTo>
                      <a:lnTo>
                        <a:pt x="72" y="114"/>
                      </a:lnTo>
                      <a:lnTo>
                        <a:pt x="78" y="120"/>
                      </a:lnTo>
                      <a:lnTo>
                        <a:pt x="78" y="132"/>
                      </a:lnTo>
                      <a:lnTo>
                        <a:pt x="84" y="144"/>
                      </a:lnTo>
                      <a:lnTo>
                        <a:pt x="84" y="150"/>
                      </a:lnTo>
                      <a:lnTo>
                        <a:pt x="90" y="156"/>
                      </a:lnTo>
                      <a:lnTo>
                        <a:pt x="108" y="132"/>
                      </a:lnTo>
                      <a:lnTo>
                        <a:pt x="126" y="132"/>
                      </a:lnTo>
                      <a:lnTo>
                        <a:pt x="138" y="144"/>
                      </a:lnTo>
                      <a:lnTo>
                        <a:pt x="174" y="144"/>
                      </a:lnTo>
                      <a:lnTo>
                        <a:pt x="174" y="156"/>
                      </a:lnTo>
                      <a:lnTo>
                        <a:pt x="180" y="162"/>
                      </a:lnTo>
                      <a:lnTo>
                        <a:pt x="180" y="174"/>
                      </a:lnTo>
                      <a:lnTo>
                        <a:pt x="186" y="186"/>
                      </a:lnTo>
                      <a:lnTo>
                        <a:pt x="186" y="198"/>
                      </a:lnTo>
                      <a:lnTo>
                        <a:pt x="192" y="204"/>
                      </a:lnTo>
                      <a:lnTo>
                        <a:pt x="192" y="210"/>
                      </a:lnTo>
                      <a:lnTo>
                        <a:pt x="222" y="210"/>
                      </a:lnTo>
                      <a:lnTo>
                        <a:pt x="222" y="168"/>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686" name="Argentina"/>
                <p:cNvSpPr>
                  <a:spLocks noEditPoints="1"/>
                </p:cNvSpPr>
                <p:nvPr/>
              </p:nvSpPr>
              <p:spPr bwMode="gray">
                <a:xfrm>
                  <a:off x="1431" y="2761"/>
                  <a:ext cx="279" cy="624"/>
                </a:xfrm>
                <a:custGeom>
                  <a:avLst/>
                  <a:gdLst>
                    <a:gd name="T0" fmla="*/ 2147483647 w 1092"/>
                    <a:gd name="T1" fmla="*/ 2147483647 h 2442"/>
                    <a:gd name="T2" fmla="*/ 2147483647 w 1092"/>
                    <a:gd name="T3" fmla="*/ 2147483647 h 2442"/>
                    <a:gd name="T4" fmla="*/ 2147483647 w 1092"/>
                    <a:gd name="T5" fmla="*/ 2147483647 h 2442"/>
                    <a:gd name="T6" fmla="*/ 2147483647 w 1092"/>
                    <a:gd name="T7" fmla="*/ 2147483647 h 2442"/>
                    <a:gd name="T8" fmla="*/ 2147483647 w 1092"/>
                    <a:gd name="T9" fmla="*/ 2147483647 h 2442"/>
                    <a:gd name="T10" fmla="*/ 2147483647 w 1092"/>
                    <a:gd name="T11" fmla="*/ 2147483647 h 2442"/>
                    <a:gd name="T12" fmla="*/ 2147483647 w 1092"/>
                    <a:gd name="T13" fmla="*/ 2147483647 h 2442"/>
                    <a:gd name="T14" fmla="*/ 2147483647 w 1092"/>
                    <a:gd name="T15" fmla="*/ 2147483647 h 2442"/>
                    <a:gd name="T16" fmla="*/ 2147483647 w 1092"/>
                    <a:gd name="T17" fmla="*/ 2147483647 h 2442"/>
                    <a:gd name="T18" fmla="*/ 2147483647 w 1092"/>
                    <a:gd name="T19" fmla="*/ 2147483647 h 2442"/>
                    <a:gd name="T20" fmla="*/ 2147483647 w 1092"/>
                    <a:gd name="T21" fmla="*/ 0 h 2442"/>
                    <a:gd name="T22" fmla="*/ 2147483647 w 1092"/>
                    <a:gd name="T23" fmla="*/ 2147483647 h 2442"/>
                    <a:gd name="T24" fmla="*/ 2147483647 w 1092"/>
                    <a:gd name="T25" fmla="*/ 2147483647 h 2442"/>
                    <a:gd name="T26" fmla="*/ 2147483647 w 1092"/>
                    <a:gd name="T27" fmla="*/ 2147483647 h 2442"/>
                    <a:gd name="T28" fmla="*/ 2147483647 w 1092"/>
                    <a:gd name="T29" fmla="*/ 2147483647 h 2442"/>
                    <a:gd name="T30" fmla="*/ 2147483647 w 1092"/>
                    <a:gd name="T31" fmla="*/ 2147483647 h 2442"/>
                    <a:gd name="T32" fmla="*/ 2147483647 w 1092"/>
                    <a:gd name="T33" fmla="*/ 2147483647 h 2442"/>
                    <a:gd name="T34" fmla="*/ 2147483647 w 1092"/>
                    <a:gd name="T35" fmla="*/ 2147483647 h 2442"/>
                    <a:gd name="T36" fmla="*/ 2147483647 w 1092"/>
                    <a:gd name="T37" fmla="*/ 2147483647 h 2442"/>
                    <a:gd name="T38" fmla="*/ 2147483647 w 1092"/>
                    <a:gd name="T39" fmla="*/ 2147483647 h 2442"/>
                    <a:gd name="T40" fmla="*/ 2147483647 w 1092"/>
                    <a:gd name="T41" fmla="*/ 2147483647 h 2442"/>
                    <a:gd name="T42" fmla="*/ 2147483647 w 1092"/>
                    <a:gd name="T43" fmla="*/ 2147483647 h 2442"/>
                    <a:gd name="T44" fmla="*/ 2147483647 w 1092"/>
                    <a:gd name="T45" fmla="*/ 2147483647 h 2442"/>
                    <a:gd name="T46" fmla="*/ 2147483647 w 1092"/>
                    <a:gd name="T47" fmla="*/ 2147483647 h 2442"/>
                    <a:gd name="T48" fmla="*/ 2147483647 w 1092"/>
                    <a:gd name="T49" fmla="*/ 2147483647 h 2442"/>
                    <a:gd name="T50" fmla="*/ 2147483647 w 1092"/>
                    <a:gd name="T51" fmla="*/ 2147483647 h 2442"/>
                    <a:gd name="T52" fmla="*/ 2147483647 w 1092"/>
                    <a:gd name="T53" fmla="*/ 2147483647 h 2442"/>
                    <a:gd name="T54" fmla="*/ 2147483647 w 1092"/>
                    <a:gd name="T55" fmla="*/ 2147483647 h 2442"/>
                    <a:gd name="T56" fmla="*/ 2147483647 w 1092"/>
                    <a:gd name="T57" fmla="*/ 2147483647 h 2442"/>
                    <a:gd name="T58" fmla="*/ 2147483647 w 1092"/>
                    <a:gd name="T59" fmla="*/ 2147483647 h 2442"/>
                    <a:gd name="T60" fmla="*/ 2147483647 w 1092"/>
                    <a:gd name="T61" fmla="*/ 2147483647 h 2442"/>
                    <a:gd name="T62" fmla="*/ 2147483647 w 1092"/>
                    <a:gd name="T63" fmla="*/ 2147483647 h 2442"/>
                    <a:gd name="T64" fmla="*/ 2147483647 w 1092"/>
                    <a:gd name="T65" fmla="*/ 2147483647 h 2442"/>
                    <a:gd name="T66" fmla="*/ 2147483647 w 1092"/>
                    <a:gd name="T67" fmla="*/ 2147483647 h 2442"/>
                    <a:gd name="T68" fmla="*/ 2147483647 w 1092"/>
                    <a:gd name="T69" fmla="*/ 2147483647 h 2442"/>
                    <a:gd name="T70" fmla="*/ 2147483647 w 1092"/>
                    <a:gd name="T71" fmla="*/ 2147483647 h 2442"/>
                    <a:gd name="T72" fmla="*/ 2147483647 w 1092"/>
                    <a:gd name="T73" fmla="*/ 2147483647 h 2442"/>
                    <a:gd name="T74" fmla="*/ 2147483647 w 1092"/>
                    <a:gd name="T75" fmla="*/ 2147483647 h 2442"/>
                    <a:gd name="T76" fmla="*/ 2147483647 w 1092"/>
                    <a:gd name="T77" fmla="*/ 2147483647 h 2442"/>
                    <a:gd name="T78" fmla="*/ 2147483647 w 1092"/>
                    <a:gd name="T79" fmla="*/ 2147483647 h 2442"/>
                    <a:gd name="T80" fmla="*/ 2147483647 w 1092"/>
                    <a:gd name="T81" fmla="*/ 2147483647 h 2442"/>
                    <a:gd name="T82" fmla="*/ 2147483647 w 1092"/>
                    <a:gd name="T83" fmla="*/ 2147483647 h 2442"/>
                    <a:gd name="T84" fmla="*/ 2147483647 w 1092"/>
                    <a:gd name="T85" fmla="*/ 2147483647 h 2442"/>
                    <a:gd name="T86" fmla="*/ 2147483647 w 1092"/>
                    <a:gd name="T87" fmla="*/ 2147483647 h 2442"/>
                    <a:gd name="T88" fmla="*/ 2147483647 w 1092"/>
                    <a:gd name="T89" fmla="*/ 2147483647 h 2442"/>
                    <a:gd name="T90" fmla="*/ 2147483647 w 1092"/>
                    <a:gd name="T91" fmla="*/ 2147483647 h 2442"/>
                    <a:gd name="T92" fmla="*/ 2147483647 w 1092"/>
                    <a:gd name="T93" fmla="*/ 2147483647 h 2442"/>
                    <a:gd name="T94" fmla="*/ 2147483647 w 1092"/>
                    <a:gd name="T95" fmla="*/ 2147483647 h 2442"/>
                    <a:gd name="T96" fmla="*/ 2147483647 w 1092"/>
                    <a:gd name="T97" fmla="*/ 2147483647 h 2442"/>
                    <a:gd name="T98" fmla="*/ 2147483647 w 1092"/>
                    <a:gd name="T99" fmla="*/ 2147483647 h 2442"/>
                    <a:gd name="T100" fmla="*/ 2147483647 w 1092"/>
                    <a:gd name="T101" fmla="*/ 2147483647 h 2442"/>
                    <a:gd name="T102" fmla="*/ 2147483647 w 1092"/>
                    <a:gd name="T103" fmla="*/ 2147483647 h 2442"/>
                    <a:gd name="T104" fmla="*/ 2147483647 w 1092"/>
                    <a:gd name="T105" fmla="*/ 2147483647 h 2442"/>
                    <a:gd name="T106" fmla="*/ 2147483647 w 1092"/>
                    <a:gd name="T107" fmla="*/ 2147483647 h 2442"/>
                    <a:gd name="T108" fmla="*/ 2147483647 w 1092"/>
                    <a:gd name="T109" fmla="*/ 2147483647 h 2442"/>
                    <a:gd name="T110" fmla="*/ 2147483647 w 1092"/>
                    <a:gd name="T111" fmla="*/ 2147483647 h 2442"/>
                    <a:gd name="T112" fmla="*/ 2147483647 w 1092"/>
                    <a:gd name="T113" fmla="*/ 2147483647 h 244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092"/>
                    <a:gd name="T172" fmla="*/ 0 h 2442"/>
                    <a:gd name="T173" fmla="*/ 1092 w 1092"/>
                    <a:gd name="T174" fmla="*/ 2442 h 244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092" h="2442">
                      <a:moveTo>
                        <a:pt x="954" y="534"/>
                      </a:moveTo>
                      <a:lnTo>
                        <a:pt x="978" y="528"/>
                      </a:lnTo>
                      <a:lnTo>
                        <a:pt x="984" y="504"/>
                      </a:lnTo>
                      <a:lnTo>
                        <a:pt x="990" y="498"/>
                      </a:lnTo>
                      <a:lnTo>
                        <a:pt x="990" y="480"/>
                      </a:lnTo>
                      <a:lnTo>
                        <a:pt x="1026" y="480"/>
                      </a:lnTo>
                      <a:lnTo>
                        <a:pt x="1026" y="462"/>
                      </a:lnTo>
                      <a:lnTo>
                        <a:pt x="1032" y="450"/>
                      </a:lnTo>
                      <a:lnTo>
                        <a:pt x="1038" y="444"/>
                      </a:lnTo>
                      <a:lnTo>
                        <a:pt x="1092" y="426"/>
                      </a:lnTo>
                      <a:lnTo>
                        <a:pt x="1092" y="390"/>
                      </a:lnTo>
                      <a:lnTo>
                        <a:pt x="1086" y="372"/>
                      </a:lnTo>
                      <a:lnTo>
                        <a:pt x="1086" y="342"/>
                      </a:lnTo>
                      <a:lnTo>
                        <a:pt x="1080" y="336"/>
                      </a:lnTo>
                      <a:lnTo>
                        <a:pt x="1074" y="336"/>
                      </a:lnTo>
                      <a:lnTo>
                        <a:pt x="1074" y="324"/>
                      </a:lnTo>
                      <a:lnTo>
                        <a:pt x="1062" y="300"/>
                      </a:lnTo>
                      <a:lnTo>
                        <a:pt x="1056" y="294"/>
                      </a:lnTo>
                      <a:lnTo>
                        <a:pt x="1038" y="294"/>
                      </a:lnTo>
                      <a:lnTo>
                        <a:pt x="1032" y="300"/>
                      </a:lnTo>
                      <a:lnTo>
                        <a:pt x="1020" y="306"/>
                      </a:lnTo>
                      <a:lnTo>
                        <a:pt x="1020" y="384"/>
                      </a:lnTo>
                      <a:lnTo>
                        <a:pt x="1008" y="390"/>
                      </a:lnTo>
                      <a:lnTo>
                        <a:pt x="1002" y="402"/>
                      </a:lnTo>
                      <a:lnTo>
                        <a:pt x="990" y="408"/>
                      </a:lnTo>
                      <a:lnTo>
                        <a:pt x="984" y="414"/>
                      </a:lnTo>
                      <a:lnTo>
                        <a:pt x="978" y="414"/>
                      </a:lnTo>
                      <a:lnTo>
                        <a:pt x="966" y="426"/>
                      </a:lnTo>
                      <a:lnTo>
                        <a:pt x="954" y="450"/>
                      </a:lnTo>
                      <a:lnTo>
                        <a:pt x="948" y="456"/>
                      </a:lnTo>
                      <a:lnTo>
                        <a:pt x="948" y="450"/>
                      </a:lnTo>
                      <a:lnTo>
                        <a:pt x="942" y="444"/>
                      </a:lnTo>
                      <a:lnTo>
                        <a:pt x="930" y="444"/>
                      </a:lnTo>
                      <a:lnTo>
                        <a:pt x="924" y="450"/>
                      </a:lnTo>
                      <a:lnTo>
                        <a:pt x="924" y="468"/>
                      </a:lnTo>
                      <a:lnTo>
                        <a:pt x="912" y="450"/>
                      </a:lnTo>
                      <a:lnTo>
                        <a:pt x="852" y="450"/>
                      </a:lnTo>
                      <a:lnTo>
                        <a:pt x="834" y="444"/>
                      </a:lnTo>
                      <a:lnTo>
                        <a:pt x="822" y="438"/>
                      </a:lnTo>
                      <a:lnTo>
                        <a:pt x="816" y="432"/>
                      </a:lnTo>
                      <a:lnTo>
                        <a:pt x="804" y="426"/>
                      </a:lnTo>
                      <a:lnTo>
                        <a:pt x="798" y="426"/>
                      </a:lnTo>
                      <a:lnTo>
                        <a:pt x="786" y="432"/>
                      </a:lnTo>
                      <a:lnTo>
                        <a:pt x="762" y="432"/>
                      </a:lnTo>
                      <a:lnTo>
                        <a:pt x="756" y="426"/>
                      </a:lnTo>
                      <a:lnTo>
                        <a:pt x="756" y="414"/>
                      </a:lnTo>
                      <a:lnTo>
                        <a:pt x="762" y="402"/>
                      </a:lnTo>
                      <a:lnTo>
                        <a:pt x="768" y="396"/>
                      </a:lnTo>
                      <a:lnTo>
                        <a:pt x="774" y="384"/>
                      </a:lnTo>
                      <a:lnTo>
                        <a:pt x="780" y="378"/>
                      </a:lnTo>
                      <a:lnTo>
                        <a:pt x="780" y="342"/>
                      </a:lnTo>
                      <a:lnTo>
                        <a:pt x="798" y="342"/>
                      </a:lnTo>
                      <a:lnTo>
                        <a:pt x="804" y="336"/>
                      </a:lnTo>
                      <a:lnTo>
                        <a:pt x="804" y="330"/>
                      </a:lnTo>
                      <a:lnTo>
                        <a:pt x="798" y="318"/>
                      </a:lnTo>
                      <a:lnTo>
                        <a:pt x="792" y="312"/>
                      </a:lnTo>
                      <a:lnTo>
                        <a:pt x="798" y="300"/>
                      </a:lnTo>
                      <a:lnTo>
                        <a:pt x="804" y="294"/>
                      </a:lnTo>
                      <a:lnTo>
                        <a:pt x="804" y="282"/>
                      </a:lnTo>
                      <a:lnTo>
                        <a:pt x="810" y="276"/>
                      </a:lnTo>
                      <a:lnTo>
                        <a:pt x="804" y="270"/>
                      </a:lnTo>
                      <a:lnTo>
                        <a:pt x="792" y="264"/>
                      </a:lnTo>
                      <a:lnTo>
                        <a:pt x="774" y="258"/>
                      </a:lnTo>
                      <a:lnTo>
                        <a:pt x="762" y="252"/>
                      </a:lnTo>
                      <a:lnTo>
                        <a:pt x="750" y="252"/>
                      </a:lnTo>
                      <a:lnTo>
                        <a:pt x="744" y="246"/>
                      </a:lnTo>
                      <a:lnTo>
                        <a:pt x="708" y="228"/>
                      </a:lnTo>
                      <a:lnTo>
                        <a:pt x="690" y="216"/>
                      </a:lnTo>
                      <a:lnTo>
                        <a:pt x="678" y="210"/>
                      </a:lnTo>
                      <a:lnTo>
                        <a:pt x="672" y="204"/>
                      </a:lnTo>
                      <a:lnTo>
                        <a:pt x="666" y="204"/>
                      </a:lnTo>
                      <a:lnTo>
                        <a:pt x="660" y="198"/>
                      </a:lnTo>
                      <a:lnTo>
                        <a:pt x="648" y="192"/>
                      </a:lnTo>
                      <a:lnTo>
                        <a:pt x="642" y="186"/>
                      </a:lnTo>
                      <a:lnTo>
                        <a:pt x="630" y="180"/>
                      </a:lnTo>
                      <a:lnTo>
                        <a:pt x="600" y="180"/>
                      </a:lnTo>
                      <a:lnTo>
                        <a:pt x="564" y="162"/>
                      </a:lnTo>
                      <a:lnTo>
                        <a:pt x="558" y="156"/>
                      </a:lnTo>
                      <a:lnTo>
                        <a:pt x="552" y="156"/>
                      </a:lnTo>
                      <a:lnTo>
                        <a:pt x="546" y="138"/>
                      </a:lnTo>
                      <a:lnTo>
                        <a:pt x="534" y="132"/>
                      </a:lnTo>
                      <a:lnTo>
                        <a:pt x="516" y="114"/>
                      </a:lnTo>
                      <a:lnTo>
                        <a:pt x="492" y="102"/>
                      </a:lnTo>
                      <a:lnTo>
                        <a:pt x="486" y="96"/>
                      </a:lnTo>
                      <a:lnTo>
                        <a:pt x="480" y="84"/>
                      </a:lnTo>
                      <a:lnTo>
                        <a:pt x="468" y="78"/>
                      </a:lnTo>
                      <a:lnTo>
                        <a:pt x="462" y="66"/>
                      </a:lnTo>
                      <a:lnTo>
                        <a:pt x="456" y="60"/>
                      </a:lnTo>
                      <a:lnTo>
                        <a:pt x="456" y="54"/>
                      </a:lnTo>
                      <a:lnTo>
                        <a:pt x="438" y="36"/>
                      </a:lnTo>
                      <a:lnTo>
                        <a:pt x="402" y="12"/>
                      </a:lnTo>
                      <a:lnTo>
                        <a:pt x="330" y="18"/>
                      </a:lnTo>
                      <a:lnTo>
                        <a:pt x="318" y="72"/>
                      </a:lnTo>
                      <a:lnTo>
                        <a:pt x="288" y="24"/>
                      </a:lnTo>
                      <a:lnTo>
                        <a:pt x="234" y="24"/>
                      </a:lnTo>
                      <a:lnTo>
                        <a:pt x="216" y="18"/>
                      </a:lnTo>
                      <a:lnTo>
                        <a:pt x="204" y="18"/>
                      </a:lnTo>
                      <a:lnTo>
                        <a:pt x="180" y="6"/>
                      </a:lnTo>
                      <a:lnTo>
                        <a:pt x="174" y="0"/>
                      </a:lnTo>
                      <a:lnTo>
                        <a:pt x="162" y="24"/>
                      </a:lnTo>
                      <a:lnTo>
                        <a:pt x="138" y="30"/>
                      </a:lnTo>
                      <a:lnTo>
                        <a:pt x="138" y="48"/>
                      </a:lnTo>
                      <a:lnTo>
                        <a:pt x="126" y="48"/>
                      </a:lnTo>
                      <a:lnTo>
                        <a:pt x="126" y="78"/>
                      </a:lnTo>
                      <a:lnTo>
                        <a:pt x="114" y="78"/>
                      </a:lnTo>
                      <a:lnTo>
                        <a:pt x="126" y="96"/>
                      </a:lnTo>
                      <a:lnTo>
                        <a:pt x="114" y="180"/>
                      </a:lnTo>
                      <a:lnTo>
                        <a:pt x="108" y="180"/>
                      </a:lnTo>
                      <a:lnTo>
                        <a:pt x="102" y="186"/>
                      </a:lnTo>
                      <a:lnTo>
                        <a:pt x="90" y="192"/>
                      </a:lnTo>
                      <a:lnTo>
                        <a:pt x="72" y="198"/>
                      </a:lnTo>
                      <a:lnTo>
                        <a:pt x="60" y="210"/>
                      </a:lnTo>
                      <a:lnTo>
                        <a:pt x="48" y="216"/>
                      </a:lnTo>
                      <a:lnTo>
                        <a:pt x="42" y="228"/>
                      </a:lnTo>
                      <a:lnTo>
                        <a:pt x="36" y="234"/>
                      </a:lnTo>
                      <a:lnTo>
                        <a:pt x="36" y="240"/>
                      </a:lnTo>
                      <a:lnTo>
                        <a:pt x="42" y="246"/>
                      </a:lnTo>
                      <a:lnTo>
                        <a:pt x="54" y="252"/>
                      </a:lnTo>
                      <a:lnTo>
                        <a:pt x="66" y="252"/>
                      </a:lnTo>
                      <a:lnTo>
                        <a:pt x="66" y="258"/>
                      </a:lnTo>
                      <a:lnTo>
                        <a:pt x="42" y="282"/>
                      </a:lnTo>
                      <a:lnTo>
                        <a:pt x="42" y="300"/>
                      </a:lnTo>
                      <a:lnTo>
                        <a:pt x="48" y="306"/>
                      </a:lnTo>
                      <a:lnTo>
                        <a:pt x="60" y="312"/>
                      </a:lnTo>
                      <a:lnTo>
                        <a:pt x="72" y="324"/>
                      </a:lnTo>
                      <a:lnTo>
                        <a:pt x="78" y="336"/>
                      </a:lnTo>
                      <a:lnTo>
                        <a:pt x="72" y="342"/>
                      </a:lnTo>
                      <a:lnTo>
                        <a:pt x="66" y="354"/>
                      </a:lnTo>
                      <a:lnTo>
                        <a:pt x="54" y="366"/>
                      </a:lnTo>
                      <a:lnTo>
                        <a:pt x="48" y="366"/>
                      </a:lnTo>
                      <a:lnTo>
                        <a:pt x="54" y="366"/>
                      </a:lnTo>
                      <a:lnTo>
                        <a:pt x="60" y="372"/>
                      </a:lnTo>
                      <a:lnTo>
                        <a:pt x="84" y="384"/>
                      </a:lnTo>
                      <a:lnTo>
                        <a:pt x="90" y="396"/>
                      </a:lnTo>
                      <a:lnTo>
                        <a:pt x="90" y="408"/>
                      </a:lnTo>
                      <a:lnTo>
                        <a:pt x="78" y="414"/>
                      </a:lnTo>
                      <a:lnTo>
                        <a:pt x="72" y="420"/>
                      </a:lnTo>
                      <a:lnTo>
                        <a:pt x="54" y="420"/>
                      </a:lnTo>
                      <a:lnTo>
                        <a:pt x="54" y="432"/>
                      </a:lnTo>
                      <a:lnTo>
                        <a:pt x="48" y="450"/>
                      </a:lnTo>
                      <a:lnTo>
                        <a:pt x="48" y="462"/>
                      </a:lnTo>
                      <a:lnTo>
                        <a:pt x="42" y="474"/>
                      </a:lnTo>
                      <a:lnTo>
                        <a:pt x="42" y="486"/>
                      </a:lnTo>
                      <a:lnTo>
                        <a:pt x="30" y="498"/>
                      </a:lnTo>
                      <a:lnTo>
                        <a:pt x="24" y="510"/>
                      </a:lnTo>
                      <a:lnTo>
                        <a:pt x="18" y="516"/>
                      </a:lnTo>
                      <a:lnTo>
                        <a:pt x="18" y="582"/>
                      </a:lnTo>
                      <a:lnTo>
                        <a:pt x="6" y="594"/>
                      </a:lnTo>
                      <a:lnTo>
                        <a:pt x="6" y="606"/>
                      </a:lnTo>
                      <a:lnTo>
                        <a:pt x="18" y="630"/>
                      </a:lnTo>
                      <a:lnTo>
                        <a:pt x="30" y="666"/>
                      </a:lnTo>
                      <a:lnTo>
                        <a:pt x="36" y="678"/>
                      </a:lnTo>
                      <a:lnTo>
                        <a:pt x="36" y="684"/>
                      </a:lnTo>
                      <a:lnTo>
                        <a:pt x="12" y="684"/>
                      </a:lnTo>
                      <a:lnTo>
                        <a:pt x="18" y="738"/>
                      </a:lnTo>
                      <a:lnTo>
                        <a:pt x="6" y="744"/>
                      </a:lnTo>
                      <a:lnTo>
                        <a:pt x="0" y="744"/>
                      </a:lnTo>
                      <a:lnTo>
                        <a:pt x="0" y="768"/>
                      </a:lnTo>
                      <a:lnTo>
                        <a:pt x="6" y="774"/>
                      </a:lnTo>
                      <a:lnTo>
                        <a:pt x="6" y="780"/>
                      </a:lnTo>
                      <a:lnTo>
                        <a:pt x="18" y="786"/>
                      </a:lnTo>
                      <a:lnTo>
                        <a:pt x="36" y="804"/>
                      </a:lnTo>
                      <a:lnTo>
                        <a:pt x="36" y="816"/>
                      </a:lnTo>
                      <a:lnTo>
                        <a:pt x="30" y="822"/>
                      </a:lnTo>
                      <a:lnTo>
                        <a:pt x="30" y="828"/>
                      </a:lnTo>
                      <a:lnTo>
                        <a:pt x="48" y="846"/>
                      </a:lnTo>
                      <a:lnTo>
                        <a:pt x="60" y="876"/>
                      </a:lnTo>
                      <a:lnTo>
                        <a:pt x="66" y="888"/>
                      </a:lnTo>
                      <a:lnTo>
                        <a:pt x="60" y="894"/>
                      </a:lnTo>
                      <a:lnTo>
                        <a:pt x="60" y="906"/>
                      </a:lnTo>
                      <a:lnTo>
                        <a:pt x="72" y="918"/>
                      </a:lnTo>
                      <a:lnTo>
                        <a:pt x="96" y="918"/>
                      </a:lnTo>
                      <a:lnTo>
                        <a:pt x="102" y="960"/>
                      </a:lnTo>
                      <a:lnTo>
                        <a:pt x="108" y="972"/>
                      </a:lnTo>
                      <a:lnTo>
                        <a:pt x="114" y="978"/>
                      </a:lnTo>
                      <a:lnTo>
                        <a:pt x="120" y="990"/>
                      </a:lnTo>
                      <a:lnTo>
                        <a:pt x="120" y="996"/>
                      </a:lnTo>
                      <a:lnTo>
                        <a:pt x="102" y="1014"/>
                      </a:lnTo>
                      <a:lnTo>
                        <a:pt x="102" y="1038"/>
                      </a:lnTo>
                      <a:lnTo>
                        <a:pt x="96" y="1056"/>
                      </a:lnTo>
                      <a:lnTo>
                        <a:pt x="96" y="1086"/>
                      </a:lnTo>
                      <a:lnTo>
                        <a:pt x="84" y="1086"/>
                      </a:lnTo>
                      <a:lnTo>
                        <a:pt x="90" y="1092"/>
                      </a:lnTo>
                      <a:lnTo>
                        <a:pt x="96" y="1104"/>
                      </a:lnTo>
                      <a:lnTo>
                        <a:pt x="102" y="1110"/>
                      </a:lnTo>
                      <a:lnTo>
                        <a:pt x="108" y="1122"/>
                      </a:lnTo>
                      <a:lnTo>
                        <a:pt x="114" y="1128"/>
                      </a:lnTo>
                      <a:lnTo>
                        <a:pt x="114" y="1140"/>
                      </a:lnTo>
                      <a:lnTo>
                        <a:pt x="108" y="1152"/>
                      </a:lnTo>
                      <a:lnTo>
                        <a:pt x="108" y="1158"/>
                      </a:lnTo>
                      <a:lnTo>
                        <a:pt x="102" y="1176"/>
                      </a:lnTo>
                      <a:lnTo>
                        <a:pt x="78" y="1182"/>
                      </a:lnTo>
                      <a:lnTo>
                        <a:pt x="78" y="1188"/>
                      </a:lnTo>
                      <a:lnTo>
                        <a:pt x="84" y="1194"/>
                      </a:lnTo>
                      <a:lnTo>
                        <a:pt x="84" y="1206"/>
                      </a:lnTo>
                      <a:lnTo>
                        <a:pt x="90" y="1224"/>
                      </a:lnTo>
                      <a:lnTo>
                        <a:pt x="96" y="1236"/>
                      </a:lnTo>
                      <a:lnTo>
                        <a:pt x="96" y="1284"/>
                      </a:lnTo>
                      <a:lnTo>
                        <a:pt x="126" y="1308"/>
                      </a:lnTo>
                      <a:lnTo>
                        <a:pt x="126" y="1326"/>
                      </a:lnTo>
                      <a:lnTo>
                        <a:pt x="132" y="1326"/>
                      </a:lnTo>
                      <a:lnTo>
                        <a:pt x="150" y="1344"/>
                      </a:lnTo>
                      <a:lnTo>
                        <a:pt x="150" y="1350"/>
                      </a:lnTo>
                      <a:lnTo>
                        <a:pt x="144" y="1362"/>
                      </a:lnTo>
                      <a:lnTo>
                        <a:pt x="132" y="1368"/>
                      </a:lnTo>
                      <a:lnTo>
                        <a:pt x="126" y="1374"/>
                      </a:lnTo>
                      <a:lnTo>
                        <a:pt x="120" y="1374"/>
                      </a:lnTo>
                      <a:lnTo>
                        <a:pt x="132" y="1416"/>
                      </a:lnTo>
                      <a:lnTo>
                        <a:pt x="114" y="1428"/>
                      </a:lnTo>
                      <a:lnTo>
                        <a:pt x="132" y="1446"/>
                      </a:lnTo>
                      <a:lnTo>
                        <a:pt x="132" y="1452"/>
                      </a:lnTo>
                      <a:lnTo>
                        <a:pt x="126" y="1464"/>
                      </a:lnTo>
                      <a:lnTo>
                        <a:pt x="126" y="1470"/>
                      </a:lnTo>
                      <a:lnTo>
                        <a:pt x="144" y="1482"/>
                      </a:lnTo>
                      <a:lnTo>
                        <a:pt x="144" y="1494"/>
                      </a:lnTo>
                      <a:lnTo>
                        <a:pt x="138" y="1500"/>
                      </a:lnTo>
                      <a:lnTo>
                        <a:pt x="138" y="1530"/>
                      </a:lnTo>
                      <a:lnTo>
                        <a:pt x="144" y="1536"/>
                      </a:lnTo>
                      <a:lnTo>
                        <a:pt x="150" y="1548"/>
                      </a:lnTo>
                      <a:lnTo>
                        <a:pt x="150" y="1572"/>
                      </a:lnTo>
                      <a:lnTo>
                        <a:pt x="156" y="1584"/>
                      </a:lnTo>
                      <a:lnTo>
                        <a:pt x="174" y="1602"/>
                      </a:lnTo>
                      <a:lnTo>
                        <a:pt x="186" y="1608"/>
                      </a:lnTo>
                      <a:lnTo>
                        <a:pt x="198" y="1620"/>
                      </a:lnTo>
                      <a:lnTo>
                        <a:pt x="192" y="1620"/>
                      </a:lnTo>
                      <a:lnTo>
                        <a:pt x="180" y="1626"/>
                      </a:lnTo>
                      <a:lnTo>
                        <a:pt x="174" y="1632"/>
                      </a:lnTo>
                      <a:lnTo>
                        <a:pt x="174" y="1644"/>
                      </a:lnTo>
                      <a:lnTo>
                        <a:pt x="180" y="1656"/>
                      </a:lnTo>
                      <a:lnTo>
                        <a:pt x="180" y="1674"/>
                      </a:lnTo>
                      <a:lnTo>
                        <a:pt x="186" y="1686"/>
                      </a:lnTo>
                      <a:lnTo>
                        <a:pt x="186" y="1698"/>
                      </a:lnTo>
                      <a:lnTo>
                        <a:pt x="192" y="1704"/>
                      </a:lnTo>
                      <a:lnTo>
                        <a:pt x="216" y="1716"/>
                      </a:lnTo>
                      <a:lnTo>
                        <a:pt x="210" y="1746"/>
                      </a:lnTo>
                      <a:lnTo>
                        <a:pt x="216" y="1746"/>
                      </a:lnTo>
                      <a:lnTo>
                        <a:pt x="228" y="1752"/>
                      </a:lnTo>
                      <a:lnTo>
                        <a:pt x="234" y="1758"/>
                      </a:lnTo>
                      <a:lnTo>
                        <a:pt x="234" y="1764"/>
                      </a:lnTo>
                      <a:lnTo>
                        <a:pt x="240" y="1776"/>
                      </a:lnTo>
                      <a:lnTo>
                        <a:pt x="240" y="1806"/>
                      </a:lnTo>
                      <a:lnTo>
                        <a:pt x="252" y="1818"/>
                      </a:lnTo>
                      <a:lnTo>
                        <a:pt x="282" y="1818"/>
                      </a:lnTo>
                      <a:lnTo>
                        <a:pt x="294" y="1824"/>
                      </a:lnTo>
                      <a:lnTo>
                        <a:pt x="294" y="1830"/>
                      </a:lnTo>
                      <a:lnTo>
                        <a:pt x="288" y="1836"/>
                      </a:lnTo>
                      <a:lnTo>
                        <a:pt x="276" y="1836"/>
                      </a:lnTo>
                      <a:lnTo>
                        <a:pt x="264" y="1842"/>
                      </a:lnTo>
                      <a:lnTo>
                        <a:pt x="246" y="1842"/>
                      </a:lnTo>
                      <a:lnTo>
                        <a:pt x="252" y="1848"/>
                      </a:lnTo>
                      <a:lnTo>
                        <a:pt x="258" y="1848"/>
                      </a:lnTo>
                      <a:lnTo>
                        <a:pt x="270" y="1854"/>
                      </a:lnTo>
                      <a:lnTo>
                        <a:pt x="276" y="1860"/>
                      </a:lnTo>
                      <a:lnTo>
                        <a:pt x="288" y="1860"/>
                      </a:lnTo>
                      <a:lnTo>
                        <a:pt x="312" y="1884"/>
                      </a:lnTo>
                      <a:lnTo>
                        <a:pt x="306" y="1890"/>
                      </a:lnTo>
                      <a:lnTo>
                        <a:pt x="300" y="1902"/>
                      </a:lnTo>
                      <a:lnTo>
                        <a:pt x="288" y="1914"/>
                      </a:lnTo>
                      <a:lnTo>
                        <a:pt x="312" y="1932"/>
                      </a:lnTo>
                      <a:lnTo>
                        <a:pt x="306" y="1956"/>
                      </a:lnTo>
                      <a:lnTo>
                        <a:pt x="330" y="1980"/>
                      </a:lnTo>
                      <a:lnTo>
                        <a:pt x="324" y="2016"/>
                      </a:lnTo>
                      <a:lnTo>
                        <a:pt x="336" y="2040"/>
                      </a:lnTo>
                      <a:lnTo>
                        <a:pt x="324" y="2046"/>
                      </a:lnTo>
                      <a:lnTo>
                        <a:pt x="318" y="2088"/>
                      </a:lnTo>
                      <a:lnTo>
                        <a:pt x="324" y="2088"/>
                      </a:lnTo>
                      <a:lnTo>
                        <a:pt x="348" y="2112"/>
                      </a:lnTo>
                      <a:lnTo>
                        <a:pt x="348" y="2118"/>
                      </a:lnTo>
                      <a:lnTo>
                        <a:pt x="342" y="2118"/>
                      </a:lnTo>
                      <a:lnTo>
                        <a:pt x="330" y="2124"/>
                      </a:lnTo>
                      <a:lnTo>
                        <a:pt x="324" y="2130"/>
                      </a:lnTo>
                      <a:lnTo>
                        <a:pt x="348" y="2154"/>
                      </a:lnTo>
                      <a:lnTo>
                        <a:pt x="348" y="2160"/>
                      </a:lnTo>
                      <a:lnTo>
                        <a:pt x="342" y="2166"/>
                      </a:lnTo>
                      <a:lnTo>
                        <a:pt x="336" y="2166"/>
                      </a:lnTo>
                      <a:lnTo>
                        <a:pt x="330" y="2172"/>
                      </a:lnTo>
                      <a:lnTo>
                        <a:pt x="324" y="2172"/>
                      </a:lnTo>
                      <a:lnTo>
                        <a:pt x="324" y="2196"/>
                      </a:lnTo>
                      <a:lnTo>
                        <a:pt x="312" y="2202"/>
                      </a:lnTo>
                      <a:lnTo>
                        <a:pt x="312" y="2214"/>
                      </a:lnTo>
                      <a:lnTo>
                        <a:pt x="318" y="2226"/>
                      </a:lnTo>
                      <a:lnTo>
                        <a:pt x="324" y="2232"/>
                      </a:lnTo>
                      <a:lnTo>
                        <a:pt x="324" y="2268"/>
                      </a:lnTo>
                      <a:lnTo>
                        <a:pt x="354" y="2274"/>
                      </a:lnTo>
                      <a:lnTo>
                        <a:pt x="354" y="2280"/>
                      </a:lnTo>
                      <a:lnTo>
                        <a:pt x="360" y="2286"/>
                      </a:lnTo>
                      <a:lnTo>
                        <a:pt x="360" y="2298"/>
                      </a:lnTo>
                      <a:lnTo>
                        <a:pt x="366" y="2304"/>
                      </a:lnTo>
                      <a:lnTo>
                        <a:pt x="378" y="2310"/>
                      </a:lnTo>
                      <a:lnTo>
                        <a:pt x="384" y="2310"/>
                      </a:lnTo>
                      <a:lnTo>
                        <a:pt x="396" y="2298"/>
                      </a:lnTo>
                      <a:lnTo>
                        <a:pt x="414" y="2298"/>
                      </a:lnTo>
                      <a:lnTo>
                        <a:pt x="426" y="2304"/>
                      </a:lnTo>
                      <a:lnTo>
                        <a:pt x="438" y="2316"/>
                      </a:lnTo>
                      <a:lnTo>
                        <a:pt x="438" y="2340"/>
                      </a:lnTo>
                      <a:lnTo>
                        <a:pt x="456" y="2364"/>
                      </a:lnTo>
                      <a:lnTo>
                        <a:pt x="468" y="2382"/>
                      </a:lnTo>
                      <a:lnTo>
                        <a:pt x="504" y="2400"/>
                      </a:lnTo>
                      <a:lnTo>
                        <a:pt x="522" y="2418"/>
                      </a:lnTo>
                      <a:lnTo>
                        <a:pt x="534" y="2418"/>
                      </a:lnTo>
                      <a:lnTo>
                        <a:pt x="546" y="2412"/>
                      </a:lnTo>
                      <a:lnTo>
                        <a:pt x="642" y="2412"/>
                      </a:lnTo>
                      <a:lnTo>
                        <a:pt x="666" y="2430"/>
                      </a:lnTo>
                      <a:lnTo>
                        <a:pt x="660" y="2442"/>
                      </a:lnTo>
                      <a:lnTo>
                        <a:pt x="666" y="2424"/>
                      </a:lnTo>
                      <a:lnTo>
                        <a:pt x="672" y="2418"/>
                      </a:lnTo>
                      <a:lnTo>
                        <a:pt x="684" y="2418"/>
                      </a:lnTo>
                      <a:lnTo>
                        <a:pt x="690" y="2424"/>
                      </a:lnTo>
                      <a:lnTo>
                        <a:pt x="702" y="2424"/>
                      </a:lnTo>
                      <a:lnTo>
                        <a:pt x="714" y="2430"/>
                      </a:lnTo>
                      <a:lnTo>
                        <a:pt x="720" y="2436"/>
                      </a:lnTo>
                      <a:lnTo>
                        <a:pt x="678" y="2382"/>
                      </a:lnTo>
                      <a:lnTo>
                        <a:pt x="660" y="2382"/>
                      </a:lnTo>
                      <a:lnTo>
                        <a:pt x="666" y="2370"/>
                      </a:lnTo>
                      <a:lnTo>
                        <a:pt x="630" y="2340"/>
                      </a:lnTo>
                      <a:lnTo>
                        <a:pt x="630" y="2310"/>
                      </a:lnTo>
                      <a:lnTo>
                        <a:pt x="618" y="2298"/>
                      </a:lnTo>
                      <a:lnTo>
                        <a:pt x="624" y="2286"/>
                      </a:lnTo>
                      <a:lnTo>
                        <a:pt x="630" y="2286"/>
                      </a:lnTo>
                      <a:lnTo>
                        <a:pt x="642" y="2274"/>
                      </a:lnTo>
                      <a:lnTo>
                        <a:pt x="642" y="2268"/>
                      </a:lnTo>
                      <a:lnTo>
                        <a:pt x="636" y="2268"/>
                      </a:lnTo>
                      <a:lnTo>
                        <a:pt x="624" y="2262"/>
                      </a:lnTo>
                      <a:lnTo>
                        <a:pt x="606" y="2262"/>
                      </a:lnTo>
                      <a:lnTo>
                        <a:pt x="618" y="2250"/>
                      </a:lnTo>
                      <a:lnTo>
                        <a:pt x="618" y="2232"/>
                      </a:lnTo>
                      <a:lnTo>
                        <a:pt x="636" y="2256"/>
                      </a:lnTo>
                      <a:lnTo>
                        <a:pt x="648" y="2262"/>
                      </a:lnTo>
                      <a:lnTo>
                        <a:pt x="666" y="2262"/>
                      </a:lnTo>
                      <a:lnTo>
                        <a:pt x="672" y="2256"/>
                      </a:lnTo>
                      <a:lnTo>
                        <a:pt x="678" y="2244"/>
                      </a:lnTo>
                      <a:lnTo>
                        <a:pt x="678" y="2226"/>
                      </a:lnTo>
                      <a:lnTo>
                        <a:pt x="672" y="2208"/>
                      </a:lnTo>
                      <a:lnTo>
                        <a:pt x="666" y="2196"/>
                      </a:lnTo>
                      <a:lnTo>
                        <a:pt x="666" y="2178"/>
                      </a:lnTo>
                      <a:lnTo>
                        <a:pt x="678" y="2154"/>
                      </a:lnTo>
                      <a:lnTo>
                        <a:pt x="690" y="2142"/>
                      </a:lnTo>
                      <a:lnTo>
                        <a:pt x="708" y="2130"/>
                      </a:lnTo>
                      <a:lnTo>
                        <a:pt x="738" y="2100"/>
                      </a:lnTo>
                      <a:lnTo>
                        <a:pt x="726" y="2088"/>
                      </a:lnTo>
                      <a:lnTo>
                        <a:pt x="702" y="2088"/>
                      </a:lnTo>
                      <a:lnTo>
                        <a:pt x="726" y="2082"/>
                      </a:lnTo>
                      <a:lnTo>
                        <a:pt x="726" y="2064"/>
                      </a:lnTo>
                      <a:lnTo>
                        <a:pt x="714" y="2040"/>
                      </a:lnTo>
                      <a:lnTo>
                        <a:pt x="708" y="2034"/>
                      </a:lnTo>
                      <a:lnTo>
                        <a:pt x="696" y="2028"/>
                      </a:lnTo>
                      <a:lnTo>
                        <a:pt x="690" y="2028"/>
                      </a:lnTo>
                      <a:lnTo>
                        <a:pt x="684" y="2034"/>
                      </a:lnTo>
                      <a:lnTo>
                        <a:pt x="672" y="2016"/>
                      </a:lnTo>
                      <a:lnTo>
                        <a:pt x="642" y="2016"/>
                      </a:lnTo>
                      <a:lnTo>
                        <a:pt x="636" y="2010"/>
                      </a:lnTo>
                      <a:lnTo>
                        <a:pt x="624" y="2004"/>
                      </a:lnTo>
                      <a:lnTo>
                        <a:pt x="606" y="1992"/>
                      </a:lnTo>
                      <a:lnTo>
                        <a:pt x="582" y="1968"/>
                      </a:lnTo>
                      <a:lnTo>
                        <a:pt x="570" y="1950"/>
                      </a:lnTo>
                      <a:lnTo>
                        <a:pt x="564" y="1938"/>
                      </a:lnTo>
                      <a:lnTo>
                        <a:pt x="564" y="1926"/>
                      </a:lnTo>
                      <a:lnTo>
                        <a:pt x="570" y="1914"/>
                      </a:lnTo>
                      <a:lnTo>
                        <a:pt x="570" y="1908"/>
                      </a:lnTo>
                      <a:lnTo>
                        <a:pt x="576" y="1908"/>
                      </a:lnTo>
                      <a:lnTo>
                        <a:pt x="582" y="1902"/>
                      </a:lnTo>
                      <a:lnTo>
                        <a:pt x="594" y="1878"/>
                      </a:lnTo>
                      <a:lnTo>
                        <a:pt x="606" y="1878"/>
                      </a:lnTo>
                      <a:lnTo>
                        <a:pt x="612" y="1860"/>
                      </a:lnTo>
                      <a:lnTo>
                        <a:pt x="666" y="1860"/>
                      </a:lnTo>
                      <a:lnTo>
                        <a:pt x="654" y="1848"/>
                      </a:lnTo>
                      <a:lnTo>
                        <a:pt x="654" y="1824"/>
                      </a:lnTo>
                      <a:lnTo>
                        <a:pt x="666" y="1824"/>
                      </a:lnTo>
                      <a:lnTo>
                        <a:pt x="666" y="1794"/>
                      </a:lnTo>
                      <a:lnTo>
                        <a:pt x="660" y="1788"/>
                      </a:lnTo>
                      <a:lnTo>
                        <a:pt x="654" y="1776"/>
                      </a:lnTo>
                      <a:lnTo>
                        <a:pt x="642" y="1764"/>
                      </a:lnTo>
                      <a:lnTo>
                        <a:pt x="642" y="1746"/>
                      </a:lnTo>
                      <a:lnTo>
                        <a:pt x="648" y="1728"/>
                      </a:lnTo>
                      <a:lnTo>
                        <a:pt x="654" y="1716"/>
                      </a:lnTo>
                      <a:lnTo>
                        <a:pt x="666" y="1710"/>
                      </a:lnTo>
                      <a:lnTo>
                        <a:pt x="672" y="1704"/>
                      </a:lnTo>
                      <a:lnTo>
                        <a:pt x="684" y="1704"/>
                      </a:lnTo>
                      <a:lnTo>
                        <a:pt x="684" y="1692"/>
                      </a:lnTo>
                      <a:lnTo>
                        <a:pt x="660" y="1692"/>
                      </a:lnTo>
                      <a:lnTo>
                        <a:pt x="648" y="1686"/>
                      </a:lnTo>
                      <a:lnTo>
                        <a:pt x="642" y="1680"/>
                      </a:lnTo>
                      <a:lnTo>
                        <a:pt x="642" y="1674"/>
                      </a:lnTo>
                      <a:lnTo>
                        <a:pt x="654" y="1668"/>
                      </a:lnTo>
                      <a:lnTo>
                        <a:pt x="666" y="1668"/>
                      </a:lnTo>
                      <a:lnTo>
                        <a:pt x="702" y="1686"/>
                      </a:lnTo>
                      <a:lnTo>
                        <a:pt x="708" y="1692"/>
                      </a:lnTo>
                      <a:lnTo>
                        <a:pt x="714" y="1692"/>
                      </a:lnTo>
                      <a:lnTo>
                        <a:pt x="720" y="1686"/>
                      </a:lnTo>
                      <a:lnTo>
                        <a:pt x="732" y="1680"/>
                      </a:lnTo>
                      <a:lnTo>
                        <a:pt x="732" y="1656"/>
                      </a:lnTo>
                      <a:lnTo>
                        <a:pt x="726" y="1644"/>
                      </a:lnTo>
                      <a:lnTo>
                        <a:pt x="708" y="1626"/>
                      </a:lnTo>
                      <a:lnTo>
                        <a:pt x="696" y="1626"/>
                      </a:lnTo>
                      <a:lnTo>
                        <a:pt x="690" y="1632"/>
                      </a:lnTo>
                      <a:lnTo>
                        <a:pt x="690" y="1650"/>
                      </a:lnTo>
                      <a:lnTo>
                        <a:pt x="684" y="1656"/>
                      </a:lnTo>
                      <a:lnTo>
                        <a:pt x="666" y="1656"/>
                      </a:lnTo>
                      <a:lnTo>
                        <a:pt x="654" y="1650"/>
                      </a:lnTo>
                      <a:lnTo>
                        <a:pt x="648" y="1644"/>
                      </a:lnTo>
                      <a:lnTo>
                        <a:pt x="648" y="1638"/>
                      </a:lnTo>
                      <a:lnTo>
                        <a:pt x="612" y="1638"/>
                      </a:lnTo>
                      <a:lnTo>
                        <a:pt x="606" y="1632"/>
                      </a:lnTo>
                      <a:lnTo>
                        <a:pt x="606" y="1572"/>
                      </a:lnTo>
                      <a:lnTo>
                        <a:pt x="600" y="1566"/>
                      </a:lnTo>
                      <a:lnTo>
                        <a:pt x="594" y="1554"/>
                      </a:lnTo>
                      <a:lnTo>
                        <a:pt x="588" y="1536"/>
                      </a:lnTo>
                      <a:lnTo>
                        <a:pt x="588" y="1524"/>
                      </a:lnTo>
                      <a:lnTo>
                        <a:pt x="594" y="1518"/>
                      </a:lnTo>
                      <a:lnTo>
                        <a:pt x="600" y="1518"/>
                      </a:lnTo>
                      <a:lnTo>
                        <a:pt x="606" y="1524"/>
                      </a:lnTo>
                      <a:lnTo>
                        <a:pt x="618" y="1524"/>
                      </a:lnTo>
                      <a:lnTo>
                        <a:pt x="624" y="1530"/>
                      </a:lnTo>
                      <a:lnTo>
                        <a:pt x="636" y="1536"/>
                      </a:lnTo>
                      <a:lnTo>
                        <a:pt x="672" y="1548"/>
                      </a:lnTo>
                      <a:lnTo>
                        <a:pt x="690" y="1560"/>
                      </a:lnTo>
                      <a:lnTo>
                        <a:pt x="708" y="1560"/>
                      </a:lnTo>
                      <a:lnTo>
                        <a:pt x="726" y="1554"/>
                      </a:lnTo>
                      <a:lnTo>
                        <a:pt x="738" y="1542"/>
                      </a:lnTo>
                      <a:lnTo>
                        <a:pt x="750" y="1536"/>
                      </a:lnTo>
                      <a:lnTo>
                        <a:pt x="768" y="1530"/>
                      </a:lnTo>
                      <a:lnTo>
                        <a:pt x="774" y="1524"/>
                      </a:lnTo>
                      <a:lnTo>
                        <a:pt x="774" y="1512"/>
                      </a:lnTo>
                      <a:lnTo>
                        <a:pt x="762" y="1506"/>
                      </a:lnTo>
                      <a:lnTo>
                        <a:pt x="750" y="1494"/>
                      </a:lnTo>
                      <a:lnTo>
                        <a:pt x="738" y="1488"/>
                      </a:lnTo>
                      <a:lnTo>
                        <a:pt x="738" y="1464"/>
                      </a:lnTo>
                      <a:lnTo>
                        <a:pt x="744" y="1452"/>
                      </a:lnTo>
                      <a:lnTo>
                        <a:pt x="750" y="1446"/>
                      </a:lnTo>
                      <a:lnTo>
                        <a:pt x="750" y="1434"/>
                      </a:lnTo>
                      <a:lnTo>
                        <a:pt x="756" y="1422"/>
                      </a:lnTo>
                      <a:lnTo>
                        <a:pt x="744" y="1410"/>
                      </a:lnTo>
                      <a:lnTo>
                        <a:pt x="726" y="1410"/>
                      </a:lnTo>
                      <a:lnTo>
                        <a:pt x="720" y="1386"/>
                      </a:lnTo>
                      <a:lnTo>
                        <a:pt x="714" y="1380"/>
                      </a:lnTo>
                      <a:lnTo>
                        <a:pt x="714" y="1368"/>
                      </a:lnTo>
                      <a:lnTo>
                        <a:pt x="720" y="1362"/>
                      </a:lnTo>
                      <a:lnTo>
                        <a:pt x="726" y="1362"/>
                      </a:lnTo>
                      <a:lnTo>
                        <a:pt x="732" y="1374"/>
                      </a:lnTo>
                      <a:lnTo>
                        <a:pt x="738" y="1380"/>
                      </a:lnTo>
                      <a:lnTo>
                        <a:pt x="738" y="1386"/>
                      </a:lnTo>
                      <a:lnTo>
                        <a:pt x="744" y="1398"/>
                      </a:lnTo>
                      <a:lnTo>
                        <a:pt x="756" y="1398"/>
                      </a:lnTo>
                      <a:lnTo>
                        <a:pt x="750" y="1380"/>
                      </a:lnTo>
                      <a:lnTo>
                        <a:pt x="828" y="1386"/>
                      </a:lnTo>
                      <a:lnTo>
                        <a:pt x="834" y="1380"/>
                      </a:lnTo>
                      <a:lnTo>
                        <a:pt x="840" y="1380"/>
                      </a:lnTo>
                      <a:lnTo>
                        <a:pt x="846" y="1374"/>
                      </a:lnTo>
                      <a:lnTo>
                        <a:pt x="864" y="1368"/>
                      </a:lnTo>
                      <a:lnTo>
                        <a:pt x="894" y="1362"/>
                      </a:lnTo>
                      <a:lnTo>
                        <a:pt x="930" y="1350"/>
                      </a:lnTo>
                      <a:lnTo>
                        <a:pt x="972" y="1338"/>
                      </a:lnTo>
                      <a:lnTo>
                        <a:pt x="1002" y="1326"/>
                      </a:lnTo>
                      <a:lnTo>
                        <a:pt x="1014" y="1320"/>
                      </a:lnTo>
                      <a:lnTo>
                        <a:pt x="1014" y="1284"/>
                      </a:lnTo>
                      <a:lnTo>
                        <a:pt x="1032" y="1272"/>
                      </a:lnTo>
                      <a:lnTo>
                        <a:pt x="1044" y="1218"/>
                      </a:lnTo>
                      <a:lnTo>
                        <a:pt x="1038" y="1194"/>
                      </a:lnTo>
                      <a:lnTo>
                        <a:pt x="1038" y="1170"/>
                      </a:lnTo>
                      <a:lnTo>
                        <a:pt x="1032" y="1170"/>
                      </a:lnTo>
                      <a:lnTo>
                        <a:pt x="1026" y="1164"/>
                      </a:lnTo>
                      <a:lnTo>
                        <a:pt x="1002" y="1152"/>
                      </a:lnTo>
                      <a:lnTo>
                        <a:pt x="990" y="1152"/>
                      </a:lnTo>
                      <a:lnTo>
                        <a:pt x="984" y="1146"/>
                      </a:lnTo>
                      <a:lnTo>
                        <a:pt x="978" y="1146"/>
                      </a:lnTo>
                      <a:lnTo>
                        <a:pt x="972" y="1140"/>
                      </a:lnTo>
                      <a:lnTo>
                        <a:pt x="990" y="1122"/>
                      </a:lnTo>
                      <a:lnTo>
                        <a:pt x="990" y="1092"/>
                      </a:lnTo>
                      <a:lnTo>
                        <a:pt x="984" y="1080"/>
                      </a:lnTo>
                      <a:lnTo>
                        <a:pt x="978" y="1074"/>
                      </a:lnTo>
                      <a:lnTo>
                        <a:pt x="954" y="1062"/>
                      </a:lnTo>
                      <a:lnTo>
                        <a:pt x="918" y="1050"/>
                      </a:lnTo>
                      <a:lnTo>
                        <a:pt x="906" y="1044"/>
                      </a:lnTo>
                      <a:lnTo>
                        <a:pt x="888" y="1032"/>
                      </a:lnTo>
                      <a:lnTo>
                        <a:pt x="876" y="1020"/>
                      </a:lnTo>
                      <a:lnTo>
                        <a:pt x="876" y="1002"/>
                      </a:lnTo>
                      <a:lnTo>
                        <a:pt x="882" y="990"/>
                      </a:lnTo>
                      <a:lnTo>
                        <a:pt x="888" y="990"/>
                      </a:lnTo>
                      <a:lnTo>
                        <a:pt x="888" y="984"/>
                      </a:lnTo>
                      <a:lnTo>
                        <a:pt x="858" y="948"/>
                      </a:lnTo>
                      <a:lnTo>
                        <a:pt x="858" y="900"/>
                      </a:lnTo>
                      <a:lnTo>
                        <a:pt x="882" y="900"/>
                      </a:lnTo>
                      <a:lnTo>
                        <a:pt x="888" y="894"/>
                      </a:lnTo>
                      <a:lnTo>
                        <a:pt x="894" y="894"/>
                      </a:lnTo>
                      <a:lnTo>
                        <a:pt x="894" y="888"/>
                      </a:lnTo>
                      <a:lnTo>
                        <a:pt x="888" y="876"/>
                      </a:lnTo>
                      <a:lnTo>
                        <a:pt x="876" y="870"/>
                      </a:lnTo>
                      <a:lnTo>
                        <a:pt x="870" y="858"/>
                      </a:lnTo>
                      <a:lnTo>
                        <a:pt x="864" y="852"/>
                      </a:lnTo>
                      <a:lnTo>
                        <a:pt x="876" y="834"/>
                      </a:lnTo>
                      <a:lnTo>
                        <a:pt x="864" y="822"/>
                      </a:lnTo>
                      <a:lnTo>
                        <a:pt x="858" y="810"/>
                      </a:lnTo>
                      <a:lnTo>
                        <a:pt x="852" y="804"/>
                      </a:lnTo>
                      <a:lnTo>
                        <a:pt x="864" y="792"/>
                      </a:lnTo>
                      <a:lnTo>
                        <a:pt x="882" y="792"/>
                      </a:lnTo>
                      <a:lnTo>
                        <a:pt x="858" y="774"/>
                      </a:lnTo>
                      <a:lnTo>
                        <a:pt x="858" y="738"/>
                      </a:lnTo>
                      <a:lnTo>
                        <a:pt x="882" y="726"/>
                      </a:lnTo>
                      <a:lnTo>
                        <a:pt x="876" y="726"/>
                      </a:lnTo>
                      <a:lnTo>
                        <a:pt x="852" y="702"/>
                      </a:lnTo>
                      <a:lnTo>
                        <a:pt x="852" y="696"/>
                      </a:lnTo>
                      <a:lnTo>
                        <a:pt x="870" y="678"/>
                      </a:lnTo>
                      <a:lnTo>
                        <a:pt x="870" y="666"/>
                      </a:lnTo>
                      <a:lnTo>
                        <a:pt x="876" y="654"/>
                      </a:lnTo>
                      <a:lnTo>
                        <a:pt x="876" y="642"/>
                      </a:lnTo>
                      <a:lnTo>
                        <a:pt x="882" y="636"/>
                      </a:lnTo>
                      <a:lnTo>
                        <a:pt x="900" y="636"/>
                      </a:lnTo>
                      <a:lnTo>
                        <a:pt x="906" y="630"/>
                      </a:lnTo>
                      <a:lnTo>
                        <a:pt x="912" y="618"/>
                      </a:lnTo>
                      <a:lnTo>
                        <a:pt x="918" y="612"/>
                      </a:lnTo>
                      <a:lnTo>
                        <a:pt x="918" y="588"/>
                      </a:lnTo>
                      <a:lnTo>
                        <a:pt x="930" y="588"/>
                      </a:lnTo>
                      <a:lnTo>
                        <a:pt x="948" y="570"/>
                      </a:lnTo>
                      <a:lnTo>
                        <a:pt x="948" y="558"/>
                      </a:lnTo>
                      <a:lnTo>
                        <a:pt x="954" y="546"/>
                      </a:lnTo>
                      <a:lnTo>
                        <a:pt x="954" y="534"/>
                      </a:lnTo>
                      <a:close/>
                      <a:moveTo>
                        <a:pt x="930" y="1020"/>
                      </a:moveTo>
                      <a:lnTo>
                        <a:pt x="942" y="1020"/>
                      </a:lnTo>
                      <a:lnTo>
                        <a:pt x="930" y="1014"/>
                      </a:lnTo>
                      <a:lnTo>
                        <a:pt x="930" y="102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687" name="Angola"/>
                <p:cNvSpPr>
                  <a:spLocks noEditPoints="1"/>
                </p:cNvSpPr>
                <p:nvPr/>
              </p:nvSpPr>
              <p:spPr bwMode="gray">
                <a:xfrm>
                  <a:off x="2864" y="2398"/>
                  <a:ext cx="227" cy="283"/>
                </a:xfrm>
                <a:custGeom>
                  <a:avLst/>
                  <a:gdLst>
                    <a:gd name="T0" fmla="*/ 2147483647 w 888"/>
                    <a:gd name="T1" fmla="*/ 2147483647 h 1104"/>
                    <a:gd name="T2" fmla="*/ 2147483647 w 888"/>
                    <a:gd name="T3" fmla="*/ 2147483647 h 1104"/>
                    <a:gd name="T4" fmla="*/ 2147483647 w 888"/>
                    <a:gd name="T5" fmla="*/ 2147483647 h 1104"/>
                    <a:gd name="T6" fmla="*/ 2147483647 w 888"/>
                    <a:gd name="T7" fmla="*/ 0 h 1104"/>
                    <a:gd name="T8" fmla="*/ 2147483647 w 888"/>
                    <a:gd name="T9" fmla="*/ 2147483647 h 1104"/>
                    <a:gd name="T10" fmla="*/ 2147483647 w 888"/>
                    <a:gd name="T11" fmla="*/ 2147483647 h 1104"/>
                    <a:gd name="T12" fmla="*/ 2147483647 w 888"/>
                    <a:gd name="T13" fmla="*/ 2147483647 h 1104"/>
                    <a:gd name="T14" fmla="*/ 2147483647 w 888"/>
                    <a:gd name="T15" fmla="*/ 2147483647 h 1104"/>
                    <a:gd name="T16" fmla="*/ 2147483647 w 888"/>
                    <a:gd name="T17" fmla="*/ 2147483647 h 1104"/>
                    <a:gd name="T18" fmla="*/ 2147483647 w 888"/>
                    <a:gd name="T19" fmla="*/ 2147483647 h 1104"/>
                    <a:gd name="T20" fmla="*/ 2147483647 w 888"/>
                    <a:gd name="T21" fmla="*/ 2147483647 h 1104"/>
                    <a:gd name="T22" fmla="*/ 2147483647 w 888"/>
                    <a:gd name="T23" fmla="*/ 2147483647 h 1104"/>
                    <a:gd name="T24" fmla="*/ 2147483647 w 888"/>
                    <a:gd name="T25" fmla="*/ 2147483647 h 1104"/>
                    <a:gd name="T26" fmla="*/ 2147483647 w 888"/>
                    <a:gd name="T27" fmla="*/ 2147483647 h 1104"/>
                    <a:gd name="T28" fmla="*/ 2147483647 w 888"/>
                    <a:gd name="T29" fmla="*/ 2147483647 h 1104"/>
                    <a:gd name="T30" fmla="*/ 2147483647 w 888"/>
                    <a:gd name="T31" fmla="*/ 2147483647 h 1104"/>
                    <a:gd name="T32" fmla="*/ 2147483647 w 888"/>
                    <a:gd name="T33" fmla="*/ 2147483647 h 1104"/>
                    <a:gd name="T34" fmla="*/ 2147483647 w 888"/>
                    <a:gd name="T35" fmla="*/ 2147483647 h 1104"/>
                    <a:gd name="T36" fmla="*/ 2147483647 w 888"/>
                    <a:gd name="T37" fmla="*/ 2147483647 h 1104"/>
                    <a:gd name="T38" fmla="*/ 2147483647 w 888"/>
                    <a:gd name="T39" fmla="*/ 2147483647 h 1104"/>
                    <a:gd name="T40" fmla="*/ 2147483647 w 888"/>
                    <a:gd name="T41" fmla="*/ 2147483647 h 1104"/>
                    <a:gd name="T42" fmla="*/ 2147483647 w 888"/>
                    <a:gd name="T43" fmla="*/ 2147483647 h 1104"/>
                    <a:gd name="T44" fmla="*/ 2147483647 w 888"/>
                    <a:gd name="T45" fmla="*/ 2147483647 h 1104"/>
                    <a:gd name="T46" fmla="*/ 2147483647 w 888"/>
                    <a:gd name="T47" fmla="*/ 2147483647 h 1104"/>
                    <a:gd name="T48" fmla="*/ 2147483647 w 888"/>
                    <a:gd name="T49" fmla="*/ 2147483647 h 1104"/>
                    <a:gd name="T50" fmla="*/ 2147483647 w 888"/>
                    <a:gd name="T51" fmla="*/ 2147483647 h 1104"/>
                    <a:gd name="T52" fmla="*/ 2147483647 w 888"/>
                    <a:gd name="T53" fmla="*/ 2147483647 h 1104"/>
                    <a:gd name="T54" fmla="*/ 2147483647 w 888"/>
                    <a:gd name="T55" fmla="*/ 2147483647 h 1104"/>
                    <a:gd name="T56" fmla="*/ 2147483647 w 888"/>
                    <a:gd name="T57" fmla="*/ 2147483647 h 1104"/>
                    <a:gd name="T58" fmla="*/ 2147483647 w 888"/>
                    <a:gd name="T59" fmla="*/ 2147483647 h 1104"/>
                    <a:gd name="T60" fmla="*/ 2147483647 w 888"/>
                    <a:gd name="T61" fmla="*/ 2147483647 h 1104"/>
                    <a:gd name="T62" fmla="*/ 2147483647 w 888"/>
                    <a:gd name="T63" fmla="*/ 2147483647 h 1104"/>
                    <a:gd name="T64" fmla="*/ 2147483647 w 888"/>
                    <a:gd name="T65" fmla="*/ 2147483647 h 1104"/>
                    <a:gd name="T66" fmla="*/ 2147483647 w 888"/>
                    <a:gd name="T67" fmla="*/ 2147483647 h 1104"/>
                    <a:gd name="T68" fmla="*/ 2147483647 w 888"/>
                    <a:gd name="T69" fmla="*/ 2147483647 h 1104"/>
                    <a:gd name="T70" fmla="*/ 2147483647 w 888"/>
                    <a:gd name="T71" fmla="*/ 2147483647 h 1104"/>
                    <a:gd name="T72" fmla="*/ 2147483647 w 888"/>
                    <a:gd name="T73" fmla="*/ 2147483647 h 1104"/>
                    <a:gd name="T74" fmla="*/ 0 w 888"/>
                    <a:gd name="T75" fmla="*/ 2147483647 h 1104"/>
                    <a:gd name="T76" fmla="*/ 2147483647 w 888"/>
                    <a:gd name="T77" fmla="*/ 2147483647 h 1104"/>
                    <a:gd name="T78" fmla="*/ 2147483647 w 888"/>
                    <a:gd name="T79" fmla="*/ 2147483647 h 1104"/>
                    <a:gd name="T80" fmla="*/ 2147483647 w 888"/>
                    <a:gd name="T81" fmla="*/ 2147483647 h 1104"/>
                    <a:gd name="T82" fmla="*/ 2147483647 w 888"/>
                    <a:gd name="T83" fmla="*/ 2147483647 h 1104"/>
                    <a:gd name="T84" fmla="*/ 2147483647 w 888"/>
                    <a:gd name="T85" fmla="*/ 2147483647 h 1104"/>
                    <a:gd name="T86" fmla="*/ 2147483647 w 888"/>
                    <a:gd name="T87" fmla="*/ 2147483647 h 1104"/>
                    <a:gd name="T88" fmla="*/ 2147483647 w 888"/>
                    <a:gd name="T89" fmla="*/ 2147483647 h 1104"/>
                    <a:gd name="T90" fmla="*/ 2147483647 w 888"/>
                    <a:gd name="T91" fmla="*/ 2147483647 h 1104"/>
                    <a:gd name="T92" fmla="*/ 2147483647 w 888"/>
                    <a:gd name="T93" fmla="*/ 2147483647 h 1104"/>
                    <a:gd name="T94" fmla="*/ 2147483647 w 888"/>
                    <a:gd name="T95" fmla="*/ 2147483647 h 110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888"/>
                    <a:gd name="T145" fmla="*/ 0 h 1104"/>
                    <a:gd name="T146" fmla="*/ 888 w 888"/>
                    <a:gd name="T147" fmla="*/ 1104 h 1104"/>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888" h="1104">
                      <a:moveTo>
                        <a:pt x="42" y="114"/>
                      </a:moveTo>
                      <a:lnTo>
                        <a:pt x="42" y="120"/>
                      </a:lnTo>
                      <a:lnTo>
                        <a:pt x="48" y="120"/>
                      </a:lnTo>
                      <a:lnTo>
                        <a:pt x="54" y="114"/>
                      </a:lnTo>
                      <a:lnTo>
                        <a:pt x="66" y="108"/>
                      </a:lnTo>
                      <a:lnTo>
                        <a:pt x="72" y="102"/>
                      </a:lnTo>
                      <a:lnTo>
                        <a:pt x="72" y="96"/>
                      </a:lnTo>
                      <a:lnTo>
                        <a:pt x="66" y="84"/>
                      </a:lnTo>
                      <a:lnTo>
                        <a:pt x="66" y="78"/>
                      </a:lnTo>
                      <a:lnTo>
                        <a:pt x="60" y="66"/>
                      </a:lnTo>
                      <a:lnTo>
                        <a:pt x="96" y="36"/>
                      </a:lnTo>
                      <a:lnTo>
                        <a:pt x="102" y="24"/>
                      </a:lnTo>
                      <a:lnTo>
                        <a:pt x="102" y="18"/>
                      </a:lnTo>
                      <a:lnTo>
                        <a:pt x="96" y="12"/>
                      </a:lnTo>
                      <a:lnTo>
                        <a:pt x="96" y="6"/>
                      </a:lnTo>
                      <a:lnTo>
                        <a:pt x="90" y="0"/>
                      </a:lnTo>
                      <a:lnTo>
                        <a:pt x="84" y="6"/>
                      </a:lnTo>
                      <a:lnTo>
                        <a:pt x="72" y="12"/>
                      </a:lnTo>
                      <a:lnTo>
                        <a:pt x="66" y="18"/>
                      </a:lnTo>
                      <a:lnTo>
                        <a:pt x="54" y="24"/>
                      </a:lnTo>
                      <a:lnTo>
                        <a:pt x="54" y="42"/>
                      </a:lnTo>
                      <a:lnTo>
                        <a:pt x="36" y="42"/>
                      </a:lnTo>
                      <a:lnTo>
                        <a:pt x="36" y="60"/>
                      </a:lnTo>
                      <a:lnTo>
                        <a:pt x="42" y="114"/>
                      </a:lnTo>
                      <a:close/>
                      <a:moveTo>
                        <a:pt x="876" y="546"/>
                      </a:moveTo>
                      <a:lnTo>
                        <a:pt x="852" y="546"/>
                      </a:lnTo>
                      <a:lnTo>
                        <a:pt x="840" y="534"/>
                      </a:lnTo>
                      <a:lnTo>
                        <a:pt x="828" y="534"/>
                      </a:lnTo>
                      <a:lnTo>
                        <a:pt x="828" y="546"/>
                      </a:lnTo>
                      <a:lnTo>
                        <a:pt x="804" y="552"/>
                      </a:lnTo>
                      <a:lnTo>
                        <a:pt x="774" y="546"/>
                      </a:lnTo>
                      <a:lnTo>
                        <a:pt x="768" y="564"/>
                      </a:lnTo>
                      <a:lnTo>
                        <a:pt x="762" y="558"/>
                      </a:lnTo>
                      <a:lnTo>
                        <a:pt x="756" y="558"/>
                      </a:lnTo>
                      <a:lnTo>
                        <a:pt x="750" y="552"/>
                      </a:lnTo>
                      <a:lnTo>
                        <a:pt x="750" y="528"/>
                      </a:lnTo>
                      <a:lnTo>
                        <a:pt x="756" y="522"/>
                      </a:lnTo>
                      <a:lnTo>
                        <a:pt x="756" y="510"/>
                      </a:lnTo>
                      <a:lnTo>
                        <a:pt x="762" y="498"/>
                      </a:lnTo>
                      <a:lnTo>
                        <a:pt x="762" y="480"/>
                      </a:lnTo>
                      <a:lnTo>
                        <a:pt x="756" y="474"/>
                      </a:lnTo>
                      <a:lnTo>
                        <a:pt x="744" y="450"/>
                      </a:lnTo>
                      <a:lnTo>
                        <a:pt x="732" y="432"/>
                      </a:lnTo>
                      <a:lnTo>
                        <a:pt x="726" y="414"/>
                      </a:lnTo>
                      <a:lnTo>
                        <a:pt x="726" y="402"/>
                      </a:lnTo>
                      <a:lnTo>
                        <a:pt x="732" y="396"/>
                      </a:lnTo>
                      <a:lnTo>
                        <a:pt x="732" y="384"/>
                      </a:lnTo>
                      <a:lnTo>
                        <a:pt x="726" y="360"/>
                      </a:lnTo>
                      <a:lnTo>
                        <a:pt x="732" y="354"/>
                      </a:lnTo>
                      <a:lnTo>
                        <a:pt x="738" y="342"/>
                      </a:lnTo>
                      <a:lnTo>
                        <a:pt x="738" y="330"/>
                      </a:lnTo>
                      <a:lnTo>
                        <a:pt x="732" y="318"/>
                      </a:lnTo>
                      <a:lnTo>
                        <a:pt x="720" y="306"/>
                      </a:lnTo>
                      <a:lnTo>
                        <a:pt x="714" y="288"/>
                      </a:lnTo>
                      <a:lnTo>
                        <a:pt x="726" y="270"/>
                      </a:lnTo>
                      <a:lnTo>
                        <a:pt x="726" y="246"/>
                      </a:lnTo>
                      <a:lnTo>
                        <a:pt x="636" y="246"/>
                      </a:lnTo>
                      <a:lnTo>
                        <a:pt x="636" y="222"/>
                      </a:lnTo>
                      <a:lnTo>
                        <a:pt x="624" y="216"/>
                      </a:lnTo>
                      <a:lnTo>
                        <a:pt x="612" y="216"/>
                      </a:lnTo>
                      <a:lnTo>
                        <a:pt x="612" y="222"/>
                      </a:lnTo>
                      <a:lnTo>
                        <a:pt x="564" y="222"/>
                      </a:lnTo>
                      <a:lnTo>
                        <a:pt x="558" y="228"/>
                      </a:lnTo>
                      <a:lnTo>
                        <a:pt x="558" y="234"/>
                      </a:lnTo>
                      <a:lnTo>
                        <a:pt x="564" y="240"/>
                      </a:lnTo>
                      <a:lnTo>
                        <a:pt x="570" y="252"/>
                      </a:lnTo>
                      <a:lnTo>
                        <a:pt x="570" y="264"/>
                      </a:lnTo>
                      <a:lnTo>
                        <a:pt x="558" y="264"/>
                      </a:lnTo>
                      <a:lnTo>
                        <a:pt x="558" y="270"/>
                      </a:lnTo>
                      <a:lnTo>
                        <a:pt x="552" y="276"/>
                      </a:lnTo>
                      <a:lnTo>
                        <a:pt x="552" y="294"/>
                      </a:lnTo>
                      <a:lnTo>
                        <a:pt x="510" y="300"/>
                      </a:lnTo>
                      <a:lnTo>
                        <a:pt x="504" y="294"/>
                      </a:lnTo>
                      <a:lnTo>
                        <a:pt x="492" y="300"/>
                      </a:lnTo>
                      <a:lnTo>
                        <a:pt x="468" y="300"/>
                      </a:lnTo>
                      <a:lnTo>
                        <a:pt x="462" y="312"/>
                      </a:lnTo>
                      <a:lnTo>
                        <a:pt x="450" y="306"/>
                      </a:lnTo>
                      <a:lnTo>
                        <a:pt x="420" y="306"/>
                      </a:lnTo>
                      <a:lnTo>
                        <a:pt x="408" y="282"/>
                      </a:lnTo>
                      <a:lnTo>
                        <a:pt x="402" y="276"/>
                      </a:lnTo>
                      <a:lnTo>
                        <a:pt x="402" y="264"/>
                      </a:lnTo>
                      <a:lnTo>
                        <a:pt x="390" y="252"/>
                      </a:lnTo>
                      <a:lnTo>
                        <a:pt x="384" y="252"/>
                      </a:lnTo>
                      <a:lnTo>
                        <a:pt x="378" y="246"/>
                      </a:lnTo>
                      <a:lnTo>
                        <a:pt x="378" y="240"/>
                      </a:lnTo>
                      <a:lnTo>
                        <a:pt x="384" y="234"/>
                      </a:lnTo>
                      <a:lnTo>
                        <a:pt x="384" y="210"/>
                      </a:lnTo>
                      <a:lnTo>
                        <a:pt x="366" y="192"/>
                      </a:lnTo>
                      <a:lnTo>
                        <a:pt x="366" y="150"/>
                      </a:lnTo>
                      <a:lnTo>
                        <a:pt x="354" y="138"/>
                      </a:lnTo>
                      <a:lnTo>
                        <a:pt x="348" y="126"/>
                      </a:lnTo>
                      <a:lnTo>
                        <a:pt x="342" y="120"/>
                      </a:lnTo>
                      <a:lnTo>
                        <a:pt x="324" y="120"/>
                      </a:lnTo>
                      <a:lnTo>
                        <a:pt x="318" y="126"/>
                      </a:lnTo>
                      <a:lnTo>
                        <a:pt x="294" y="126"/>
                      </a:lnTo>
                      <a:lnTo>
                        <a:pt x="276" y="132"/>
                      </a:lnTo>
                      <a:lnTo>
                        <a:pt x="246" y="132"/>
                      </a:lnTo>
                      <a:lnTo>
                        <a:pt x="234" y="126"/>
                      </a:lnTo>
                      <a:lnTo>
                        <a:pt x="222" y="126"/>
                      </a:lnTo>
                      <a:lnTo>
                        <a:pt x="210" y="132"/>
                      </a:lnTo>
                      <a:lnTo>
                        <a:pt x="180" y="132"/>
                      </a:lnTo>
                      <a:lnTo>
                        <a:pt x="168" y="126"/>
                      </a:lnTo>
                      <a:lnTo>
                        <a:pt x="144" y="132"/>
                      </a:lnTo>
                      <a:lnTo>
                        <a:pt x="132" y="126"/>
                      </a:lnTo>
                      <a:lnTo>
                        <a:pt x="126" y="132"/>
                      </a:lnTo>
                      <a:lnTo>
                        <a:pt x="102" y="126"/>
                      </a:lnTo>
                      <a:lnTo>
                        <a:pt x="54" y="150"/>
                      </a:lnTo>
                      <a:lnTo>
                        <a:pt x="48" y="156"/>
                      </a:lnTo>
                      <a:lnTo>
                        <a:pt x="54" y="168"/>
                      </a:lnTo>
                      <a:lnTo>
                        <a:pt x="60" y="174"/>
                      </a:lnTo>
                      <a:lnTo>
                        <a:pt x="66" y="186"/>
                      </a:lnTo>
                      <a:lnTo>
                        <a:pt x="90" y="210"/>
                      </a:lnTo>
                      <a:lnTo>
                        <a:pt x="84" y="234"/>
                      </a:lnTo>
                      <a:lnTo>
                        <a:pt x="90" y="246"/>
                      </a:lnTo>
                      <a:lnTo>
                        <a:pt x="108" y="270"/>
                      </a:lnTo>
                      <a:lnTo>
                        <a:pt x="120" y="300"/>
                      </a:lnTo>
                      <a:lnTo>
                        <a:pt x="126" y="330"/>
                      </a:lnTo>
                      <a:lnTo>
                        <a:pt x="120" y="354"/>
                      </a:lnTo>
                      <a:lnTo>
                        <a:pt x="108" y="378"/>
                      </a:lnTo>
                      <a:lnTo>
                        <a:pt x="102" y="384"/>
                      </a:lnTo>
                      <a:lnTo>
                        <a:pt x="102" y="408"/>
                      </a:lnTo>
                      <a:lnTo>
                        <a:pt x="114" y="408"/>
                      </a:lnTo>
                      <a:lnTo>
                        <a:pt x="114" y="438"/>
                      </a:lnTo>
                      <a:lnTo>
                        <a:pt x="126" y="474"/>
                      </a:lnTo>
                      <a:lnTo>
                        <a:pt x="150" y="510"/>
                      </a:lnTo>
                      <a:lnTo>
                        <a:pt x="162" y="552"/>
                      </a:lnTo>
                      <a:lnTo>
                        <a:pt x="162" y="582"/>
                      </a:lnTo>
                      <a:lnTo>
                        <a:pt x="156" y="594"/>
                      </a:lnTo>
                      <a:lnTo>
                        <a:pt x="150" y="612"/>
                      </a:lnTo>
                      <a:lnTo>
                        <a:pt x="144" y="618"/>
                      </a:lnTo>
                      <a:lnTo>
                        <a:pt x="138" y="630"/>
                      </a:lnTo>
                      <a:lnTo>
                        <a:pt x="144" y="642"/>
                      </a:lnTo>
                      <a:lnTo>
                        <a:pt x="144" y="660"/>
                      </a:lnTo>
                      <a:lnTo>
                        <a:pt x="138" y="666"/>
                      </a:lnTo>
                      <a:lnTo>
                        <a:pt x="126" y="672"/>
                      </a:lnTo>
                      <a:lnTo>
                        <a:pt x="108" y="672"/>
                      </a:lnTo>
                      <a:lnTo>
                        <a:pt x="96" y="690"/>
                      </a:lnTo>
                      <a:lnTo>
                        <a:pt x="102" y="714"/>
                      </a:lnTo>
                      <a:lnTo>
                        <a:pt x="78" y="714"/>
                      </a:lnTo>
                      <a:lnTo>
                        <a:pt x="66" y="720"/>
                      </a:lnTo>
                      <a:lnTo>
                        <a:pt x="66" y="750"/>
                      </a:lnTo>
                      <a:lnTo>
                        <a:pt x="60" y="762"/>
                      </a:lnTo>
                      <a:lnTo>
                        <a:pt x="60" y="774"/>
                      </a:lnTo>
                      <a:lnTo>
                        <a:pt x="48" y="786"/>
                      </a:lnTo>
                      <a:lnTo>
                        <a:pt x="48" y="858"/>
                      </a:lnTo>
                      <a:lnTo>
                        <a:pt x="36" y="864"/>
                      </a:lnTo>
                      <a:lnTo>
                        <a:pt x="30" y="870"/>
                      </a:lnTo>
                      <a:lnTo>
                        <a:pt x="30" y="912"/>
                      </a:lnTo>
                      <a:lnTo>
                        <a:pt x="6" y="930"/>
                      </a:lnTo>
                      <a:lnTo>
                        <a:pt x="6" y="966"/>
                      </a:lnTo>
                      <a:lnTo>
                        <a:pt x="18" y="984"/>
                      </a:lnTo>
                      <a:lnTo>
                        <a:pt x="0" y="1002"/>
                      </a:lnTo>
                      <a:lnTo>
                        <a:pt x="0" y="1044"/>
                      </a:lnTo>
                      <a:lnTo>
                        <a:pt x="18" y="1044"/>
                      </a:lnTo>
                      <a:lnTo>
                        <a:pt x="36" y="1038"/>
                      </a:lnTo>
                      <a:lnTo>
                        <a:pt x="42" y="1044"/>
                      </a:lnTo>
                      <a:lnTo>
                        <a:pt x="72" y="1044"/>
                      </a:lnTo>
                      <a:lnTo>
                        <a:pt x="90" y="1026"/>
                      </a:lnTo>
                      <a:lnTo>
                        <a:pt x="90" y="1020"/>
                      </a:lnTo>
                      <a:lnTo>
                        <a:pt x="120" y="1020"/>
                      </a:lnTo>
                      <a:lnTo>
                        <a:pt x="126" y="1026"/>
                      </a:lnTo>
                      <a:lnTo>
                        <a:pt x="132" y="1038"/>
                      </a:lnTo>
                      <a:lnTo>
                        <a:pt x="156" y="1050"/>
                      </a:lnTo>
                      <a:lnTo>
                        <a:pt x="168" y="1050"/>
                      </a:lnTo>
                      <a:lnTo>
                        <a:pt x="174" y="1056"/>
                      </a:lnTo>
                      <a:lnTo>
                        <a:pt x="480" y="1056"/>
                      </a:lnTo>
                      <a:lnTo>
                        <a:pt x="480" y="1062"/>
                      </a:lnTo>
                      <a:lnTo>
                        <a:pt x="504" y="1086"/>
                      </a:lnTo>
                      <a:lnTo>
                        <a:pt x="540" y="1086"/>
                      </a:lnTo>
                      <a:lnTo>
                        <a:pt x="546" y="1098"/>
                      </a:lnTo>
                      <a:lnTo>
                        <a:pt x="618" y="1092"/>
                      </a:lnTo>
                      <a:lnTo>
                        <a:pt x="624" y="1104"/>
                      </a:lnTo>
                      <a:lnTo>
                        <a:pt x="696" y="1104"/>
                      </a:lnTo>
                      <a:lnTo>
                        <a:pt x="732" y="1098"/>
                      </a:lnTo>
                      <a:lnTo>
                        <a:pt x="780" y="1092"/>
                      </a:lnTo>
                      <a:lnTo>
                        <a:pt x="816" y="1080"/>
                      </a:lnTo>
                      <a:lnTo>
                        <a:pt x="828" y="1074"/>
                      </a:lnTo>
                      <a:lnTo>
                        <a:pt x="738" y="984"/>
                      </a:lnTo>
                      <a:lnTo>
                        <a:pt x="738" y="966"/>
                      </a:lnTo>
                      <a:lnTo>
                        <a:pt x="732" y="954"/>
                      </a:lnTo>
                      <a:lnTo>
                        <a:pt x="732" y="702"/>
                      </a:lnTo>
                      <a:lnTo>
                        <a:pt x="858" y="708"/>
                      </a:lnTo>
                      <a:lnTo>
                        <a:pt x="864" y="708"/>
                      </a:lnTo>
                      <a:lnTo>
                        <a:pt x="876" y="696"/>
                      </a:lnTo>
                      <a:lnTo>
                        <a:pt x="876" y="672"/>
                      </a:lnTo>
                      <a:lnTo>
                        <a:pt x="870" y="666"/>
                      </a:lnTo>
                      <a:lnTo>
                        <a:pt x="870" y="660"/>
                      </a:lnTo>
                      <a:lnTo>
                        <a:pt x="888" y="654"/>
                      </a:lnTo>
                      <a:lnTo>
                        <a:pt x="876" y="642"/>
                      </a:lnTo>
                      <a:lnTo>
                        <a:pt x="876" y="588"/>
                      </a:lnTo>
                      <a:lnTo>
                        <a:pt x="882" y="588"/>
                      </a:lnTo>
                      <a:lnTo>
                        <a:pt x="888" y="582"/>
                      </a:lnTo>
                      <a:lnTo>
                        <a:pt x="888" y="564"/>
                      </a:lnTo>
                      <a:lnTo>
                        <a:pt x="876" y="552"/>
                      </a:lnTo>
                      <a:lnTo>
                        <a:pt x="876" y="546"/>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688" name="Andorra"/>
                <p:cNvSpPr>
                  <a:spLocks/>
                </p:cNvSpPr>
                <p:nvPr/>
              </p:nvSpPr>
              <p:spPr bwMode="gray">
                <a:xfrm>
                  <a:off x="2692" y="1432"/>
                  <a:ext cx="8" cy="4"/>
                </a:xfrm>
                <a:custGeom>
                  <a:avLst/>
                  <a:gdLst>
                    <a:gd name="T0" fmla="*/ 2147483647 w 30"/>
                    <a:gd name="T1" fmla="*/ 2147483647 h 18"/>
                    <a:gd name="T2" fmla="*/ 2147483647 w 30"/>
                    <a:gd name="T3" fmla="*/ 2147483647 h 18"/>
                    <a:gd name="T4" fmla="*/ 2147483647 w 30"/>
                    <a:gd name="T5" fmla="*/ 2147483647 h 18"/>
                    <a:gd name="T6" fmla="*/ 2147483647 w 30"/>
                    <a:gd name="T7" fmla="*/ 0 h 18"/>
                    <a:gd name="T8" fmla="*/ 0 w 30"/>
                    <a:gd name="T9" fmla="*/ 0 h 18"/>
                    <a:gd name="T10" fmla="*/ 2147483647 w 30"/>
                    <a:gd name="T11" fmla="*/ 2147483647 h 18"/>
                    <a:gd name="T12" fmla="*/ 0 60000 65536"/>
                    <a:gd name="T13" fmla="*/ 0 60000 65536"/>
                    <a:gd name="T14" fmla="*/ 0 60000 65536"/>
                    <a:gd name="T15" fmla="*/ 0 60000 65536"/>
                    <a:gd name="T16" fmla="*/ 0 60000 65536"/>
                    <a:gd name="T17" fmla="*/ 0 60000 65536"/>
                    <a:gd name="T18" fmla="*/ 0 w 30"/>
                    <a:gd name="T19" fmla="*/ 0 h 18"/>
                    <a:gd name="T20" fmla="*/ 30 w 30"/>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30" h="18">
                      <a:moveTo>
                        <a:pt x="6" y="18"/>
                      </a:moveTo>
                      <a:lnTo>
                        <a:pt x="18" y="12"/>
                      </a:lnTo>
                      <a:lnTo>
                        <a:pt x="30" y="12"/>
                      </a:lnTo>
                      <a:lnTo>
                        <a:pt x="30" y="0"/>
                      </a:lnTo>
                      <a:lnTo>
                        <a:pt x="0" y="0"/>
                      </a:lnTo>
                      <a:lnTo>
                        <a:pt x="6" y="18"/>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689" name="Algeria"/>
                <p:cNvSpPr>
                  <a:spLocks/>
                </p:cNvSpPr>
                <p:nvPr/>
              </p:nvSpPr>
              <p:spPr bwMode="gray">
                <a:xfrm>
                  <a:off x="2492" y="1544"/>
                  <a:ext cx="378" cy="374"/>
                </a:xfrm>
                <a:custGeom>
                  <a:avLst/>
                  <a:gdLst>
                    <a:gd name="T0" fmla="*/ 2147483647 w 1476"/>
                    <a:gd name="T1" fmla="*/ 2147483647 h 1464"/>
                    <a:gd name="T2" fmla="*/ 2147483647 w 1476"/>
                    <a:gd name="T3" fmla="*/ 2147483647 h 1464"/>
                    <a:gd name="T4" fmla="*/ 2147483647 w 1476"/>
                    <a:gd name="T5" fmla="*/ 2147483647 h 1464"/>
                    <a:gd name="T6" fmla="*/ 2147483647 w 1476"/>
                    <a:gd name="T7" fmla="*/ 2147483647 h 1464"/>
                    <a:gd name="T8" fmla="*/ 2147483647 w 1476"/>
                    <a:gd name="T9" fmla="*/ 2147483647 h 1464"/>
                    <a:gd name="T10" fmla="*/ 2147483647 w 1476"/>
                    <a:gd name="T11" fmla="*/ 2147483647 h 1464"/>
                    <a:gd name="T12" fmla="*/ 2147483647 w 1476"/>
                    <a:gd name="T13" fmla="*/ 2147483647 h 1464"/>
                    <a:gd name="T14" fmla="*/ 2147483647 w 1476"/>
                    <a:gd name="T15" fmla="*/ 2147483647 h 1464"/>
                    <a:gd name="T16" fmla="*/ 2147483647 w 1476"/>
                    <a:gd name="T17" fmla="*/ 2147483647 h 1464"/>
                    <a:gd name="T18" fmla="*/ 2147483647 w 1476"/>
                    <a:gd name="T19" fmla="*/ 2147483647 h 1464"/>
                    <a:gd name="T20" fmla="*/ 2147483647 w 1476"/>
                    <a:gd name="T21" fmla="*/ 2147483647 h 1464"/>
                    <a:gd name="T22" fmla="*/ 2147483647 w 1476"/>
                    <a:gd name="T23" fmla="*/ 2147483647 h 1464"/>
                    <a:gd name="T24" fmla="*/ 2147483647 w 1476"/>
                    <a:gd name="T25" fmla="*/ 2147483647 h 1464"/>
                    <a:gd name="T26" fmla="*/ 2147483647 w 1476"/>
                    <a:gd name="T27" fmla="*/ 2147483647 h 1464"/>
                    <a:gd name="T28" fmla="*/ 2147483647 w 1476"/>
                    <a:gd name="T29" fmla="*/ 2147483647 h 1464"/>
                    <a:gd name="T30" fmla="*/ 2147483647 w 1476"/>
                    <a:gd name="T31" fmla="*/ 2147483647 h 1464"/>
                    <a:gd name="T32" fmla="*/ 2147483647 w 1476"/>
                    <a:gd name="T33" fmla="*/ 2147483647 h 1464"/>
                    <a:gd name="T34" fmla="*/ 2147483647 w 1476"/>
                    <a:gd name="T35" fmla="*/ 2147483647 h 1464"/>
                    <a:gd name="T36" fmla="*/ 2147483647 w 1476"/>
                    <a:gd name="T37" fmla="*/ 2147483647 h 1464"/>
                    <a:gd name="T38" fmla="*/ 2147483647 w 1476"/>
                    <a:gd name="T39" fmla="*/ 2147483647 h 1464"/>
                    <a:gd name="T40" fmla="*/ 2147483647 w 1476"/>
                    <a:gd name="T41" fmla="*/ 2147483647 h 1464"/>
                    <a:gd name="T42" fmla="*/ 2147483647 w 1476"/>
                    <a:gd name="T43" fmla="*/ 2147483647 h 1464"/>
                    <a:gd name="T44" fmla="*/ 2147483647 w 1476"/>
                    <a:gd name="T45" fmla="*/ 2147483647 h 1464"/>
                    <a:gd name="T46" fmla="*/ 2147483647 w 1476"/>
                    <a:gd name="T47" fmla="*/ 2147483647 h 1464"/>
                    <a:gd name="T48" fmla="*/ 2147483647 w 1476"/>
                    <a:gd name="T49" fmla="*/ 2147483647 h 1464"/>
                    <a:gd name="T50" fmla="*/ 2147483647 w 1476"/>
                    <a:gd name="T51" fmla="*/ 2147483647 h 1464"/>
                    <a:gd name="T52" fmla="*/ 2147483647 w 1476"/>
                    <a:gd name="T53" fmla="*/ 2147483647 h 1464"/>
                    <a:gd name="T54" fmla="*/ 2147483647 w 1476"/>
                    <a:gd name="T55" fmla="*/ 2147483647 h 1464"/>
                    <a:gd name="T56" fmla="*/ 2147483647 w 1476"/>
                    <a:gd name="T57" fmla="*/ 2147483647 h 1464"/>
                    <a:gd name="T58" fmla="*/ 2147483647 w 1476"/>
                    <a:gd name="T59" fmla="*/ 2147483647 h 1464"/>
                    <a:gd name="T60" fmla="*/ 2147483647 w 1476"/>
                    <a:gd name="T61" fmla="*/ 2147483647 h 1464"/>
                    <a:gd name="T62" fmla="*/ 2147483647 w 1476"/>
                    <a:gd name="T63" fmla="*/ 2147483647 h 1464"/>
                    <a:gd name="T64" fmla="*/ 2147483647 w 1476"/>
                    <a:gd name="T65" fmla="*/ 2147483647 h 1464"/>
                    <a:gd name="T66" fmla="*/ 2147483647 w 1476"/>
                    <a:gd name="T67" fmla="*/ 2147483647 h 1464"/>
                    <a:gd name="T68" fmla="*/ 2147483647 w 1476"/>
                    <a:gd name="T69" fmla="*/ 2147483647 h 1464"/>
                    <a:gd name="T70" fmla="*/ 2147483647 w 1476"/>
                    <a:gd name="T71" fmla="*/ 2147483647 h 1464"/>
                    <a:gd name="T72" fmla="*/ 2147483647 w 1476"/>
                    <a:gd name="T73" fmla="*/ 2147483647 h 1464"/>
                    <a:gd name="T74" fmla="*/ 2147483647 w 1476"/>
                    <a:gd name="T75" fmla="*/ 2147483647 h 1464"/>
                    <a:gd name="T76" fmla="*/ 2147483647 w 1476"/>
                    <a:gd name="T77" fmla="*/ 2147483647 h 1464"/>
                    <a:gd name="T78" fmla="*/ 2147483647 w 1476"/>
                    <a:gd name="T79" fmla="*/ 2147483647 h 1464"/>
                    <a:gd name="T80" fmla="*/ 2147483647 w 1476"/>
                    <a:gd name="T81" fmla="*/ 2147483647 h 1464"/>
                    <a:gd name="T82" fmla="*/ 2147483647 w 1476"/>
                    <a:gd name="T83" fmla="*/ 2147483647 h 1464"/>
                    <a:gd name="T84" fmla="*/ 2147483647 w 1476"/>
                    <a:gd name="T85" fmla="*/ 2147483647 h 1464"/>
                    <a:gd name="T86" fmla="*/ 2147483647 w 1476"/>
                    <a:gd name="T87" fmla="*/ 2147483647 h 1464"/>
                    <a:gd name="T88" fmla="*/ 2147483647 w 1476"/>
                    <a:gd name="T89" fmla="*/ 2147483647 h 1464"/>
                    <a:gd name="T90" fmla="*/ 2147483647 w 1476"/>
                    <a:gd name="T91" fmla="*/ 2147483647 h 1464"/>
                    <a:gd name="T92" fmla="*/ 2147483647 w 1476"/>
                    <a:gd name="T93" fmla="*/ 2147483647 h 1464"/>
                    <a:gd name="T94" fmla="*/ 2147483647 w 1476"/>
                    <a:gd name="T95" fmla="*/ 2147483647 h 1464"/>
                    <a:gd name="T96" fmla="*/ 2147483647 w 1476"/>
                    <a:gd name="T97" fmla="*/ 2147483647 h 1464"/>
                    <a:gd name="T98" fmla="*/ 2147483647 w 1476"/>
                    <a:gd name="T99" fmla="*/ 2147483647 h 1464"/>
                    <a:gd name="T100" fmla="*/ 2147483647 w 1476"/>
                    <a:gd name="T101" fmla="*/ 2147483647 h 1464"/>
                    <a:gd name="T102" fmla="*/ 2147483647 w 1476"/>
                    <a:gd name="T103" fmla="*/ 2147483647 h 1464"/>
                    <a:gd name="T104" fmla="*/ 2147483647 w 1476"/>
                    <a:gd name="T105" fmla="*/ 2147483647 h 146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476"/>
                    <a:gd name="T160" fmla="*/ 0 h 1464"/>
                    <a:gd name="T161" fmla="*/ 1476 w 1476"/>
                    <a:gd name="T162" fmla="*/ 1464 h 146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476" h="1464">
                      <a:moveTo>
                        <a:pt x="360" y="534"/>
                      </a:moveTo>
                      <a:lnTo>
                        <a:pt x="318" y="534"/>
                      </a:lnTo>
                      <a:lnTo>
                        <a:pt x="312" y="546"/>
                      </a:lnTo>
                      <a:lnTo>
                        <a:pt x="306" y="552"/>
                      </a:lnTo>
                      <a:lnTo>
                        <a:pt x="294" y="576"/>
                      </a:lnTo>
                      <a:lnTo>
                        <a:pt x="282" y="588"/>
                      </a:lnTo>
                      <a:lnTo>
                        <a:pt x="258" y="588"/>
                      </a:lnTo>
                      <a:lnTo>
                        <a:pt x="246" y="582"/>
                      </a:lnTo>
                      <a:lnTo>
                        <a:pt x="234" y="582"/>
                      </a:lnTo>
                      <a:lnTo>
                        <a:pt x="228" y="594"/>
                      </a:lnTo>
                      <a:lnTo>
                        <a:pt x="204" y="600"/>
                      </a:lnTo>
                      <a:lnTo>
                        <a:pt x="204" y="606"/>
                      </a:lnTo>
                      <a:lnTo>
                        <a:pt x="198" y="618"/>
                      </a:lnTo>
                      <a:lnTo>
                        <a:pt x="186" y="618"/>
                      </a:lnTo>
                      <a:lnTo>
                        <a:pt x="180" y="612"/>
                      </a:lnTo>
                      <a:lnTo>
                        <a:pt x="168" y="606"/>
                      </a:lnTo>
                      <a:lnTo>
                        <a:pt x="138" y="624"/>
                      </a:lnTo>
                      <a:lnTo>
                        <a:pt x="120" y="624"/>
                      </a:lnTo>
                      <a:lnTo>
                        <a:pt x="120" y="630"/>
                      </a:lnTo>
                      <a:lnTo>
                        <a:pt x="90" y="660"/>
                      </a:lnTo>
                      <a:lnTo>
                        <a:pt x="78" y="666"/>
                      </a:lnTo>
                      <a:lnTo>
                        <a:pt x="72" y="672"/>
                      </a:lnTo>
                      <a:lnTo>
                        <a:pt x="60" y="678"/>
                      </a:lnTo>
                      <a:lnTo>
                        <a:pt x="54" y="708"/>
                      </a:lnTo>
                      <a:lnTo>
                        <a:pt x="54" y="768"/>
                      </a:lnTo>
                      <a:lnTo>
                        <a:pt x="0" y="768"/>
                      </a:lnTo>
                      <a:lnTo>
                        <a:pt x="54" y="768"/>
                      </a:lnTo>
                      <a:lnTo>
                        <a:pt x="54" y="804"/>
                      </a:lnTo>
                      <a:lnTo>
                        <a:pt x="312" y="984"/>
                      </a:lnTo>
                      <a:lnTo>
                        <a:pt x="720" y="1296"/>
                      </a:lnTo>
                      <a:lnTo>
                        <a:pt x="720" y="1320"/>
                      </a:lnTo>
                      <a:lnTo>
                        <a:pt x="744" y="1320"/>
                      </a:lnTo>
                      <a:lnTo>
                        <a:pt x="750" y="1326"/>
                      </a:lnTo>
                      <a:lnTo>
                        <a:pt x="750" y="1344"/>
                      </a:lnTo>
                      <a:lnTo>
                        <a:pt x="762" y="1356"/>
                      </a:lnTo>
                      <a:lnTo>
                        <a:pt x="798" y="1356"/>
                      </a:lnTo>
                      <a:lnTo>
                        <a:pt x="804" y="1386"/>
                      </a:lnTo>
                      <a:lnTo>
                        <a:pt x="810" y="1386"/>
                      </a:lnTo>
                      <a:lnTo>
                        <a:pt x="816" y="1380"/>
                      </a:lnTo>
                      <a:lnTo>
                        <a:pt x="846" y="1380"/>
                      </a:lnTo>
                      <a:lnTo>
                        <a:pt x="858" y="1386"/>
                      </a:lnTo>
                      <a:lnTo>
                        <a:pt x="870" y="1410"/>
                      </a:lnTo>
                      <a:lnTo>
                        <a:pt x="870" y="1428"/>
                      </a:lnTo>
                      <a:lnTo>
                        <a:pt x="852" y="1446"/>
                      </a:lnTo>
                      <a:lnTo>
                        <a:pt x="852" y="1452"/>
                      </a:lnTo>
                      <a:lnTo>
                        <a:pt x="858" y="1458"/>
                      </a:lnTo>
                      <a:lnTo>
                        <a:pt x="870" y="1464"/>
                      </a:lnTo>
                      <a:lnTo>
                        <a:pt x="900" y="1464"/>
                      </a:lnTo>
                      <a:lnTo>
                        <a:pt x="906" y="1458"/>
                      </a:lnTo>
                      <a:lnTo>
                        <a:pt x="924" y="1458"/>
                      </a:lnTo>
                      <a:lnTo>
                        <a:pt x="954" y="1452"/>
                      </a:lnTo>
                      <a:lnTo>
                        <a:pt x="984" y="1440"/>
                      </a:lnTo>
                      <a:lnTo>
                        <a:pt x="1020" y="1434"/>
                      </a:lnTo>
                      <a:lnTo>
                        <a:pt x="1038" y="1434"/>
                      </a:lnTo>
                      <a:lnTo>
                        <a:pt x="1062" y="1416"/>
                      </a:lnTo>
                      <a:lnTo>
                        <a:pt x="1098" y="1386"/>
                      </a:lnTo>
                      <a:lnTo>
                        <a:pt x="1128" y="1350"/>
                      </a:lnTo>
                      <a:lnTo>
                        <a:pt x="1158" y="1326"/>
                      </a:lnTo>
                      <a:lnTo>
                        <a:pt x="1182" y="1314"/>
                      </a:lnTo>
                      <a:lnTo>
                        <a:pt x="1224" y="1284"/>
                      </a:lnTo>
                      <a:lnTo>
                        <a:pt x="1272" y="1248"/>
                      </a:lnTo>
                      <a:lnTo>
                        <a:pt x="1332" y="1206"/>
                      </a:lnTo>
                      <a:lnTo>
                        <a:pt x="1386" y="1170"/>
                      </a:lnTo>
                      <a:lnTo>
                        <a:pt x="1434" y="1134"/>
                      </a:lnTo>
                      <a:lnTo>
                        <a:pt x="1464" y="1110"/>
                      </a:lnTo>
                      <a:lnTo>
                        <a:pt x="1476" y="1104"/>
                      </a:lnTo>
                      <a:lnTo>
                        <a:pt x="1476" y="1098"/>
                      </a:lnTo>
                      <a:lnTo>
                        <a:pt x="1470" y="1092"/>
                      </a:lnTo>
                      <a:lnTo>
                        <a:pt x="1464" y="1080"/>
                      </a:lnTo>
                      <a:lnTo>
                        <a:pt x="1458" y="1062"/>
                      </a:lnTo>
                      <a:lnTo>
                        <a:pt x="1452" y="1050"/>
                      </a:lnTo>
                      <a:lnTo>
                        <a:pt x="1452" y="1044"/>
                      </a:lnTo>
                      <a:lnTo>
                        <a:pt x="1440" y="1032"/>
                      </a:lnTo>
                      <a:lnTo>
                        <a:pt x="1428" y="1032"/>
                      </a:lnTo>
                      <a:lnTo>
                        <a:pt x="1392" y="1014"/>
                      </a:lnTo>
                      <a:lnTo>
                        <a:pt x="1386" y="1014"/>
                      </a:lnTo>
                      <a:lnTo>
                        <a:pt x="1362" y="1026"/>
                      </a:lnTo>
                      <a:lnTo>
                        <a:pt x="1338" y="1002"/>
                      </a:lnTo>
                      <a:lnTo>
                        <a:pt x="1338" y="960"/>
                      </a:lnTo>
                      <a:lnTo>
                        <a:pt x="1332" y="954"/>
                      </a:lnTo>
                      <a:lnTo>
                        <a:pt x="1326" y="942"/>
                      </a:lnTo>
                      <a:lnTo>
                        <a:pt x="1314" y="930"/>
                      </a:lnTo>
                      <a:lnTo>
                        <a:pt x="1308" y="912"/>
                      </a:lnTo>
                      <a:lnTo>
                        <a:pt x="1296" y="900"/>
                      </a:lnTo>
                      <a:lnTo>
                        <a:pt x="1290" y="888"/>
                      </a:lnTo>
                      <a:lnTo>
                        <a:pt x="1290" y="882"/>
                      </a:lnTo>
                      <a:lnTo>
                        <a:pt x="1296" y="876"/>
                      </a:lnTo>
                      <a:lnTo>
                        <a:pt x="1308" y="876"/>
                      </a:lnTo>
                      <a:lnTo>
                        <a:pt x="1320" y="870"/>
                      </a:lnTo>
                      <a:lnTo>
                        <a:pt x="1326" y="864"/>
                      </a:lnTo>
                      <a:lnTo>
                        <a:pt x="1332" y="852"/>
                      </a:lnTo>
                      <a:lnTo>
                        <a:pt x="1332" y="840"/>
                      </a:lnTo>
                      <a:lnTo>
                        <a:pt x="1326" y="834"/>
                      </a:lnTo>
                      <a:lnTo>
                        <a:pt x="1326" y="828"/>
                      </a:lnTo>
                      <a:lnTo>
                        <a:pt x="1320" y="774"/>
                      </a:lnTo>
                      <a:lnTo>
                        <a:pt x="1332" y="750"/>
                      </a:lnTo>
                      <a:lnTo>
                        <a:pt x="1326" y="732"/>
                      </a:lnTo>
                      <a:lnTo>
                        <a:pt x="1326" y="726"/>
                      </a:lnTo>
                      <a:lnTo>
                        <a:pt x="1332" y="720"/>
                      </a:lnTo>
                      <a:lnTo>
                        <a:pt x="1332" y="690"/>
                      </a:lnTo>
                      <a:lnTo>
                        <a:pt x="1338" y="678"/>
                      </a:lnTo>
                      <a:lnTo>
                        <a:pt x="1338" y="672"/>
                      </a:lnTo>
                      <a:lnTo>
                        <a:pt x="1326" y="648"/>
                      </a:lnTo>
                      <a:lnTo>
                        <a:pt x="1302" y="588"/>
                      </a:lnTo>
                      <a:lnTo>
                        <a:pt x="1290" y="570"/>
                      </a:lnTo>
                      <a:lnTo>
                        <a:pt x="1296" y="564"/>
                      </a:lnTo>
                      <a:lnTo>
                        <a:pt x="1308" y="558"/>
                      </a:lnTo>
                      <a:lnTo>
                        <a:pt x="1296" y="528"/>
                      </a:lnTo>
                      <a:lnTo>
                        <a:pt x="1284" y="480"/>
                      </a:lnTo>
                      <a:lnTo>
                        <a:pt x="1278" y="438"/>
                      </a:lnTo>
                      <a:lnTo>
                        <a:pt x="1272" y="414"/>
                      </a:lnTo>
                      <a:lnTo>
                        <a:pt x="1266" y="408"/>
                      </a:lnTo>
                      <a:lnTo>
                        <a:pt x="1260" y="396"/>
                      </a:lnTo>
                      <a:lnTo>
                        <a:pt x="1236" y="384"/>
                      </a:lnTo>
                      <a:lnTo>
                        <a:pt x="1230" y="378"/>
                      </a:lnTo>
                      <a:lnTo>
                        <a:pt x="1224" y="378"/>
                      </a:lnTo>
                      <a:lnTo>
                        <a:pt x="1224" y="336"/>
                      </a:lnTo>
                      <a:lnTo>
                        <a:pt x="1212" y="324"/>
                      </a:lnTo>
                      <a:lnTo>
                        <a:pt x="1194" y="318"/>
                      </a:lnTo>
                      <a:lnTo>
                        <a:pt x="1182" y="318"/>
                      </a:lnTo>
                      <a:lnTo>
                        <a:pt x="1182" y="288"/>
                      </a:lnTo>
                      <a:lnTo>
                        <a:pt x="1170" y="288"/>
                      </a:lnTo>
                      <a:lnTo>
                        <a:pt x="1170" y="246"/>
                      </a:lnTo>
                      <a:lnTo>
                        <a:pt x="1194" y="222"/>
                      </a:lnTo>
                      <a:lnTo>
                        <a:pt x="1218" y="204"/>
                      </a:lnTo>
                      <a:lnTo>
                        <a:pt x="1218" y="198"/>
                      </a:lnTo>
                      <a:lnTo>
                        <a:pt x="1224" y="192"/>
                      </a:lnTo>
                      <a:lnTo>
                        <a:pt x="1224" y="180"/>
                      </a:lnTo>
                      <a:lnTo>
                        <a:pt x="1230" y="168"/>
                      </a:lnTo>
                      <a:lnTo>
                        <a:pt x="1230" y="126"/>
                      </a:lnTo>
                      <a:lnTo>
                        <a:pt x="1224" y="114"/>
                      </a:lnTo>
                      <a:lnTo>
                        <a:pt x="1224" y="78"/>
                      </a:lnTo>
                      <a:lnTo>
                        <a:pt x="1230" y="66"/>
                      </a:lnTo>
                      <a:lnTo>
                        <a:pt x="1230" y="54"/>
                      </a:lnTo>
                      <a:lnTo>
                        <a:pt x="1212" y="48"/>
                      </a:lnTo>
                      <a:lnTo>
                        <a:pt x="1254" y="30"/>
                      </a:lnTo>
                      <a:lnTo>
                        <a:pt x="1254" y="18"/>
                      </a:lnTo>
                      <a:lnTo>
                        <a:pt x="1242" y="18"/>
                      </a:lnTo>
                      <a:lnTo>
                        <a:pt x="1236" y="12"/>
                      </a:lnTo>
                      <a:lnTo>
                        <a:pt x="1224" y="12"/>
                      </a:lnTo>
                      <a:lnTo>
                        <a:pt x="1206" y="24"/>
                      </a:lnTo>
                      <a:lnTo>
                        <a:pt x="1170" y="6"/>
                      </a:lnTo>
                      <a:lnTo>
                        <a:pt x="1152" y="6"/>
                      </a:lnTo>
                      <a:lnTo>
                        <a:pt x="1152" y="18"/>
                      </a:lnTo>
                      <a:lnTo>
                        <a:pt x="1116" y="18"/>
                      </a:lnTo>
                      <a:lnTo>
                        <a:pt x="1092" y="0"/>
                      </a:lnTo>
                      <a:lnTo>
                        <a:pt x="1086" y="30"/>
                      </a:lnTo>
                      <a:lnTo>
                        <a:pt x="1056" y="18"/>
                      </a:lnTo>
                      <a:lnTo>
                        <a:pt x="1026" y="42"/>
                      </a:lnTo>
                      <a:lnTo>
                        <a:pt x="1002" y="30"/>
                      </a:lnTo>
                      <a:lnTo>
                        <a:pt x="984" y="30"/>
                      </a:lnTo>
                      <a:lnTo>
                        <a:pt x="966" y="24"/>
                      </a:lnTo>
                      <a:lnTo>
                        <a:pt x="948" y="24"/>
                      </a:lnTo>
                      <a:lnTo>
                        <a:pt x="924" y="30"/>
                      </a:lnTo>
                      <a:lnTo>
                        <a:pt x="906" y="30"/>
                      </a:lnTo>
                      <a:lnTo>
                        <a:pt x="900" y="36"/>
                      </a:lnTo>
                      <a:lnTo>
                        <a:pt x="888" y="36"/>
                      </a:lnTo>
                      <a:lnTo>
                        <a:pt x="876" y="42"/>
                      </a:lnTo>
                      <a:lnTo>
                        <a:pt x="816" y="42"/>
                      </a:lnTo>
                      <a:lnTo>
                        <a:pt x="810" y="48"/>
                      </a:lnTo>
                      <a:lnTo>
                        <a:pt x="750" y="48"/>
                      </a:lnTo>
                      <a:lnTo>
                        <a:pt x="744" y="54"/>
                      </a:lnTo>
                      <a:lnTo>
                        <a:pt x="726" y="54"/>
                      </a:lnTo>
                      <a:lnTo>
                        <a:pt x="714" y="60"/>
                      </a:lnTo>
                      <a:lnTo>
                        <a:pt x="696" y="66"/>
                      </a:lnTo>
                      <a:lnTo>
                        <a:pt x="684" y="78"/>
                      </a:lnTo>
                      <a:lnTo>
                        <a:pt x="678" y="90"/>
                      </a:lnTo>
                      <a:lnTo>
                        <a:pt x="666" y="102"/>
                      </a:lnTo>
                      <a:lnTo>
                        <a:pt x="666" y="108"/>
                      </a:lnTo>
                      <a:lnTo>
                        <a:pt x="636" y="108"/>
                      </a:lnTo>
                      <a:lnTo>
                        <a:pt x="624" y="114"/>
                      </a:lnTo>
                      <a:lnTo>
                        <a:pt x="606" y="114"/>
                      </a:lnTo>
                      <a:lnTo>
                        <a:pt x="594" y="120"/>
                      </a:lnTo>
                      <a:lnTo>
                        <a:pt x="588" y="126"/>
                      </a:lnTo>
                      <a:lnTo>
                        <a:pt x="588" y="132"/>
                      </a:lnTo>
                      <a:lnTo>
                        <a:pt x="558" y="162"/>
                      </a:lnTo>
                      <a:lnTo>
                        <a:pt x="546" y="168"/>
                      </a:lnTo>
                      <a:lnTo>
                        <a:pt x="522" y="168"/>
                      </a:lnTo>
                      <a:lnTo>
                        <a:pt x="528" y="174"/>
                      </a:lnTo>
                      <a:lnTo>
                        <a:pt x="534" y="186"/>
                      </a:lnTo>
                      <a:lnTo>
                        <a:pt x="546" y="192"/>
                      </a:lnTo>
                      <a:lnTo>
                        <a:pt x="540" y="198"/>
                      </a:lnTo>
                      <a:lnTo>
                        <a:pt x="540" y="210"/>
                      </a:lnTo>
                      <a:lnTo>
                        <a:pt x="552" y="210"/>
                      </a:lnTo>
                      <a:lnTo>
                        <a:pt x="546" y="276"/>
                      </a:lnTo>
                      <a:lnTo>
                        <a:pt x="558" y="294"/>
                      </a:lnTo>
                      <a:lnTo>
                        <a:pt x="546" y="324"/>
                      </a:lnTo>
                      <a:lnTo>
                        <a:pt x="564" y="324"/>
                      </a:lnTo>
                      <a:lnTo>
                        <a:pt x="564" y="354"/>
                      </a:lnTo>
                      <a:lnTo>
                        <a:pt x="588" y="372"/>
                      </a:lnTo>
                      <a:lnTo>
                        <a:pt x="570" y="390"/>
                      </a:lnTo>
                      <a:lnTo>
                        <a:pt x="570" y="402"/>
                      </a:lnTo>
                      <a:lnTo>
                        <a:pt x="516" y="408"/>
                      </a:lnTo>
                      <a:lnTo>
                        <a:pt x="504" y="402"/>
                      </a:lnTo>
                      <a:lnTo>
                        <a:pt x="486" y="402"/>
                      </a:lnTo>
                      <a:lnTo>
                        <a:pt x="486" y="408"/>
                      </a:lnTo>
                      <a:lnTo>
                        <a:pt x="480" y="414"/>
                      </a:lnTo>
                      <a:lnTo>
                        <a:pt x="474" y="408"/>
                      </a:lnTo>
                      <a:lnTo>
                        <a:pt x="462" y="408"/>
                      </a:lnTo>
                      <a:lnTo>
                        <a:pt x="462" y="414"/>
                      </a:lnTo>
                      <a:lnTo>
                        <a:pt x="456" y="420"/>
                      </a:lnTo>
                      <a:lnTo>
                        <a:pt x="456" y="432"/>
                      </a:lnTo>
                      <a:lnTo>
                        <a:pt x="432" y="432"/>
                      </a:lnTo>
                      <a:lnTo>
                        <a:pt x="420" y="438"/>
                      </a:lnTo>
                      <a:lnTo>
                        <a:pt x="396" y="438"/>
                      </a:lnTo>
                      <a:lnTo>
                        <a:pt x="390" y="444"/>
                      </a:lnTo>
                      <a:lnTo>
                        <a:pt x="390" y="456"/>
                      </a:lnTo>
                      <a:lnTo>
                        <a:pt x="396" y="462"/>
                      </a:lnTo>
                      <a:lnTo>
                        <a:pt x="402" y="474"/>
                      </a:lnTo>
                      <a:lnTo>
                        <a:pt x="414" y="492"/>
                      </a:lnTo>
                      <a:lnTo>
                        <a:pt x="390" y="504"/>
                      </a:lnTo>
                      <a:lnTo>
                        <a:pt x="390" y="510"/>
                      </a:lnTo>
                      <a:lnTo>
                        <a:pt x="378" y="522"/>
                      </a:lnTo>
                      <a:lnTo>
                        <a:pt x="366" y="528"/>
                      </a:lnTo>
                      <a:lnTo>
                        <a:pt x="360" y="534"/>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690" name="Albania"/>
                <p:cNvSpPr>
                  <a:spLocks/>
                </p:cNvSpPr>
                <p:nvPr/>
              </p:nvSpPr>
              <p:spPr bwMode="gray">
                <a:xfrm>
                  <a:off x="2965" y="1416"/>
                  <a:ext cx="63" cy="77"/>
                </a:xfrm>
                <a:custGeom>
                  <a:avLst/>
                  <a:gdLst>
                    <a:gd name="T0" fmla="*/ 2147483647 w 144"/>
                    <a:gd name="T1" fmla="*/ 2147483647 h 246"/>
                    <a:gd name="T2" fmla="*/ 2147483647 w 144"/>
                    <a:gd name="T3" fmla="*/ 2147483647 h 246"/>
                    <a:gd name="T4" fmla="*/ 2147483647 w 144"/>
                    <a:gd name="T5" fmla="*/ 2147483647 h 246"/>
                    <a:gd name="T6" fmla="*/ 2147483647 w 144"/>
                    <a:gd name="T7" fmla="*/ 2147483647 h 246"/>
                    <a:gd name="T8" fmla="*/ 2147483647 w 144"/>
                    <a:gd name="T9" fmla="*/ 2147483647 h 246"/>
                    <a:gd name="T10" fmla="*/ 2147483647 w 144"/>
                    <a:gd name="T11" fmla="*/ 2147483647 h 246"/>
                    <a:gd name="T12" fmla="*/ 2147483647 w 144"/>
                    <a:gd name="T13" fmla="*/ 2147483647 h 246"/>
                    <a:gd name="T14" fmla="*/ 2147483647 w 144"/>
                    <a:gd name="T15" fmla="*/ 2147483647 h 246"/>
                    <a:gd name="T16" fmla="*/ 2147483647 w 144"/>
                    <a:gd name="T17" fmla="*/ 2147483647 h 246"/>
                    <a:gd name="T18" fmla="*/ 2147483647 w 144"/>
                    <a:gd name="T19" fmla="*/ 2147483647 h 246"/>
                    <a:gd name="T20" fmla="*/ 2147483647 w 144"/>
                    <a:gd name="T21" fmla="*/ 2147483647 h 246"/>
                    <a:gd name="T22" fmla="*/ 2147483647 w 144"/>
                    <a:gd name="T23" fmla="*/ 2147483647 h 246"/>
                    <a:gd name="T24" fmla="*/ 2147483647 w 144"/>
                    <a:gd name="T25" fmla="*/ 2147483647 h 246"/>
                    <a:gd name="T26" fmla="*/ 2147483647 w 144"/>
                    <a:gd name="T27" fmla="*/ 2147483647 h 246"/>
                    <a:gd name="T28" fmla="*/ 2147483647 w 144"/>
                    <a:gd name="T29" fmla="*/ 2147483647 h 246"/>
                    <a:gd name="T30" fmla="*/ 2147483647 w 144"/>
                    <a:gd name="T31" fmla="*/ 2147483647 h 246"/>
                    <a:gd name="T32" fmla="*/ 2147483647 w 144"/>
                    <a:gd name="T33" fmla="*/ 2147483647 h 246"/>
                    <a:gd name="T34" fmla="*/ 2147483647 w 144"/>
                    <a:gd name="T35" fmla="*/ 2147483647 h 246"/>
                    <a:gd name="T36" fmla="*/ 2147483647 w 144"/>
                    <a:gd name="T37" fmla="*/ 2147483647 h 246"/>
                    <a:gd name="T38" fmla="*/ 2147483647 w 144"/>
                    <a:gd name="T39" fmla="*/ 0 h 246"/>
                    <a:gd name="T40" fmla="*/ 2147483647 w 144"/>
                    <a:gd name="T41" fmla="*/ 2147483647 h 246"/>
                    <a:gd name="T42" fmla="*/ 2147483647 w 144"/>
                    <a:gd name="T43" fmla="*/ 2147483647 h 246"/>
                    <a:gd name="T44" fmla="*/ 0 w 144"/>
                    <a:gd name="T45" fmla="*/ 2147483647 h 246"/>
                    <a:gd name="T46" fmla="*/ 2147483647 w 144"/>
                    <a:gd name="T47" fmla="*/ 2147483647 h 246"/>
                    <a:gd name="T48" fmla="*/ 2147483647 w 144"/>
                    <a:gd name="T49" fmla="*/ 2147483647 h 246"/>
                    <a:gd name="T50" fmla="*/ 2147483647 w 144"/>
                    <a:gd name="T51" fmla="*/ 2147483647 h 246"/>
                    <a:gd name="T52" fmla="*/ 2147483647 w 144"/>
                    <a:gd name="T53" fmla="*/ 2147483647 h 246"/>
                    <a:gd name="T54" fmla="*/ 2147483647 w 144"/>
                    <a:gd name="T55" fmla="*/ 2147483647 h 246"/>
                    <a:gd name="T56" fmla="*/ 2147483647 w 144"/>
                    <a:gd name="T57" fmla="*/ 2147483647 h 246"/>
                    <a:gd name="T58" fmla="*/ 2147483647 w 144"/>
                    <a:gd name="T59" fmla="*/ 2147483647 h 246"/>
                    <a:gd name="T60" fmla="*/ 2147483647 w 144"/>
                    <a:gd name="T61" fmla="*/ 2147483647 h 246"/>
                    <a:gd name="T62" fmla="*/ 2147483647 w 144"/>
                    <a:gd name="T63" fmla="*/ 2147483647 h 246"/>
                    <a:gd name="T64" fmla="*/ 2147483647 w 144"/>
                    <a:gd name="T65" fmla="*/ 2147483647 h 246"/>
                    <a:gd name="T66" fmla="*/ 2147483647 w 144"/>
                    <a:gd name="T67" fmla="*/ 2147483647 h 246"/>
                    <a:gd name="T68" fmla="*/ 2147483647 w 144"/>
                    <a:gd name="T69" fmla="*/ 2147483647 h 246"/>
                    <a:gd name="T70" fmla="*/ 2147483647 w 144"/>
                    <a:gd name="T71" fmla="*/ 2147483647 h 246"/>
                    <a:gd name="T72" fmla="*/ 2147483647 w 144"/>
                    <a:gd name="T73" fmla="*/ 2147483647 h 246"/>
                    <a:gd name="T74" fmla="*/ 2147483647 w 144"/>
                    <a:gd name="T75" fmla="*/ 2147483647 h 246"/>
                    <a:gd name="T76" fmla="*/ 2147483647 w 144"/>
                    <a:gd name="T77" fmla="*/ 2147483647 h 246"/>
                    <a:gd name="T78" fmla="*/ 2147483647 w 144"/>
                    <a:gd name="T79" fmla="*/ 2147483647 h 246"/>
                    <a:gd name="T80" fmla="*/ 2147483647 w 144"/>
                    <a:gd name="T81" fmla="*/ 2147483647 h 246"/>
                    <a:gd name="T82" fmla="*/ 2147483647 w 144"/>
                    <a:gd name="T83" fmla="*/ 2147483647 h 246"/>
                    <a:gd name="T84" fmla="*/ 2147483647 w 144"/>
                    <a:gd name="T85" fmla="*/ 2147483647 h 246"/>
                    <a:gd name="T86" fmla="*/ 2147483647 w 144"/>
                    <a:gd name="T87" fmla="*/ 2147483647 h 246"/>
                    <a:gd name="T88" fmla="*/ 2147483647 w 144"/>
                    <a:gd name="T89" fmla="*/ 2147483647 h 24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44"/>
                    <a:gd name="T136" fmla="*/ 0 h 246"/>
                    <a:gd name="T137" fmla="*/ 144 w 144"/>
                    <a:gd name="T138" fmla="*/ 246 h 24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44" h="246">
                      <a:moveTo>
                        <a:pt x="96" y="210"/>
                      </a:moveTo>
                      <a:lnTo>
                        <a:pt x="96" y="204"/>
                      </a:lnTo>
                      <a:lnTo>
                        <a:pt x="108" y="204"/>
                      </a:lnTo>
                      <a:lnTo>
                        <a:pt x="120" y="198"/>
                      </a:lnTo>
                      <a:lnTo>
                        <a:pt x="120" y="174"/>
                      </a:lnTo>
                      <a:lnTo>
                        <a:pt x="138" y="174"/>
                      </a:lnTo>
                      <a:lnTo>
                        <a:pt x="144" y="168"/>
                      </a:lnTo>
                      <a:lnTo>
                        <a:pt x="144" y="138"/>
                      </a:lnTo>
                      <a:lnTo>
                        <a:pt x="120" y="144"/>
                      </a:lnTo>
                      <a:lnTo>
                        <a:pt x="120" y="126"/>
                      </a:lnTo>
                      <a:lnTo>
                        <a:pt x="114" y="126"/>
                      </a:lnTo>
                      <a:lnTo>
                        <a:pt x="108" y="120"/>
                      </a:lnTo>
                      <a:lnTo>
                        <a:pt x="108" y="96"/>
                      </a:lnTo>
                      <a:lnTo>
                        <a:pt x="102" y="84"/>
                      </a:lnTo>
                      <a:lnTo>
                        <a:pt x="102" y="42"/>
                      </a:lnTo>
                      <a:lnTo>
                        <a:pt x="96" y="24"/>
                      </a:lnTo>
                      <a:lnTo>
                        <a:pt x="84" y="24"/>
                      </a:lnTo>
                      <a:lnTo>
                        <a:pt x="72" y="6"/>
                      </a:lnTo>
                      <a:lnTo>
                        <a:pt x="66" y="12"/>
                      </a:lnTo>
                      <a:lnTo>
                        <a:pt x="36" y="0"/>
                      </a:lnTo>
                      <a:lnTo>
                        <a:pt x="36" y="18"/>
                      </a:lnTo>
                      <a:lnTo>
                        <a:pt x="24" y="24"/>
                      </a:lnTo>
                      <a:lnTo>
                        <a:pt x="0" y="24"/>
                      </a:lnTo>
                      <a:lnTo>
                        <a:pt x="18" y="36"/>
                      </a:lnTo>
                      <a:lnTo>
                        <a:pt x="24" y="30"/>
                      </a:lnTo>
                      <a:lnTo>
                        <a:pt x="30" y="48"/>
                      </a:lnTo>
                      <a:lnTo>
                        <a:pt x="18" y="60"/>
                      </a:lnTo>
                      <a:lnTo>
                        <a:pt x="24" y="66"/>
                      </a:lnTo>
                      <a:lnTo>
                        <a:pt x="48" y="66"/>
                      </a:lnTo>
                      <a:lnTo>
                        <a:pt x="48" y="84"/>
                      </a:lnTo>
                      <a:lnTo>
                        <a:pt x="42" y="96"/>
                      </a:lnTo>
                      <a:lnTo>
                        <a:pt x="42" y="114"/>
                      </a:lnTo>
                      <a:lnTo>
                        <a:pt x="36" y="132"/>
                      </a:lnTo>
                      <a:lnTo>
                        <a:pt x="36" y="156"/>
                      </a:lnTo>
                      <a:lnTo>
                        <a:pt x="24" y="180"/>
                      </a:lnTo>
                      <a:lnTo>
                        <a:pt x="24" y="186"/>
                      </a:lnTo>
                      <a:lnTo>
                        <a:pt x="42" y="204"/>
                      </a:lnTo>
                      <a:lnTo>
                        <a:pt x="54" y="210"/>
                      </a:lnTo>
                      <a:lnTo>
                        <a:pt x="60" y="216"/>
                      </a:lnTo>
                      <a:lnTo>
                        <a:pt x="60" y="234"/>
                      </a:lnTo>
                      <a:lnTo>
                        <a:pt x="66" y="240"/>
                      </a:lnTo>
                      <a:lnTo>
                        <a:pt x="84" y="240"/>
                      </a:lnTo>
                      <a:lnTo>
                        <a:pt x="90" y="246"/>
                      </a:lnTo>
                      <a:lnTo>
                        <a:pt x="96" y="246"/>
                      </a:lnTo>
                      <a:lnTo>
                        <a:pt x="96" y="21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691" name="South Africa"/>
                <p:cNvSpPr>
                  <a:spLocks noEditPoints="1"/>
                </p:cNvSpPr>
                <p:nvPr/>
              </p:nvSpPr>
              <p:spPr bwMode="gray">
                <a:xfrm>
                  <a:off x="2948" y="2767"/>
                  <a:ext cx="290" cy="261"/>
                </a:xfrm>
                <a:custGeom>
                  <a:avLst/>
                  <a:gdLst>
                    <a:gd name="T0" fmla="*/ 2147483647 w 1134"/>
                    <a:gd name="T1" fmla="*/ 2147483647 h 1020"/>
                    <a:gd name="T2" fmla="*/ 2147483647 w 1134"/>
                    <a:gd name="T3" fmla="*/ 2147483647 h 1020"/>
                    <a:gd name="T4" fmla="*/ 2147483647 w 1134"/>
                    <a:gd name="T5" fmla="*/ 2147483647 h 1020"/>
                    <a:gd name="T6" fmla="*/ 2147483647 w 1134"/>
                    <a:gd name="T7" fmla="*/ 2147483647 h 1020"/>
                    <a:gd name="T8" fmla="*/ 2147483647 w 1134"/>
                    <a:gd name="T9" fmla="*/ 2147483647 h 1020"/>
                    <a:gd name="T10" fmla="*/ 2147483647 w 1134"/>
                    <a:gd name="T11" fmla="*/ 2147483647 h 1020"/>
                    <a:gd name="T12" fmla="*/ 2147483647 w 1134"/>
                    <a:gd name="T13" fmla="*/ 2147483647 h 1020"/>
                    <a:gd name="T14" fmla="*/ 2147483647 w 1134"/>
                    <a:gd name="T15" fmla="*/ 2147483647 h 1020"/>
                    <a:gd name="T16" fmla="*/ 2147483647 w 1134"/>
                    <a:gd name="T17" fmla="*/ 2147483647 h 1020"/>
                    <a:gd name="T18" fmla="*/ 2147483647 w 1134"/>
                    <a:gd name="T19" fmla="*/ 2147483647 h 1020"/>
                    <a:gd name="T20" fmla="*/ 2147483647 w 1134"/>
                    <a:gd name="T21" fmla="*/ 2147483647 h 1020"/>
                    <a:gd name="T22" fmla="*/ 2147483647 w 1134"/>
                    <a:gd name="T23" fmla="*/ 2147483647 h 1020"/>
                    <a:gd name="T24" fmla="*/ 2147483647 w 1134"/>
                    <a:gd name="T25" fmla="*/ 2147483647 h 1020"/>
                    <a:gd name="T26" fmla="*/ 2147483647 w 1134"/>
                    <a:gd name="T27" fmla="*/ 2147483647 h 1020"/>
                    <a:gd name="T28" fmla="*/ 2147483647 w 1134"/>
                    <a:gd name="T29" fmla="*/ 2147483647 h 1020"/>
                    <a:gd name="T30" fmla="*/ 2147483647 w 1134"/>
                    <a:gd name="T31" fmla="*/ 2147483647 h 1020"/>
                    <a:gd name="T32" fmla="*/ 2147483647 w 1134"/>
                    <a:gd name="T33" fmla="*/ 2147483647 h 1020"/>
                    <a:gd name="T34" fmla="*/ 2147483647 w 1134"/>
                    <a:gd name="T35" fmla="*/ 2147483647 h 1020"/>
                    <a:gd name="T36" fmla="*/ 2147483647 w 1134"/>
                    <a:gd name="T37" fmla="*/ 2147483647 h 1020"/>
                    <a:gd name="T38" fmla="*/ 2147483647 w 1134"/>
                    <a:gd name="T39" fmla="*/ 2147483647 h 1020"/>
                    <a:gd name="T40" fmla="*/ 2147483647 w 1134"/>
                    <a:gd name="T41" fmla="*/ 2147483647 h 1020"/>
                    <a:gd name="T42" fmla="*/ 2147483647 w 1134"/>
                    <a:gd name="T43" fmla="*/ 2147483647 h 1020"/>
                    <a:gd name="T44" fmla="*/ 2147483647 w 1134"/>
                    <a:gd name="T45" fmla="*/ 2147483647 h 1020"/>
                    <a:gd name="T46" fmla="*/ 2147483647 w 1134"/>
                    <a:gd name="T47" fmla="*/ 2147483647 h 1020"/>
                    <a:gd name="T48" fmla="*/ 2147483647 w 1134"/>
                    <a:gd name="T49" fmla="*/ 2147483647 h 1020"/>
                    <a:gd name="T50" fmla="*/ 2147483647 w 1134"/>
                    <a:gd name="T51" fmla="*/ 2147483647 h 1020"/>
                    <a:gd name="T52" fmla="*/ 2147483647 w 1134"/>
                    <a:gd name="T53" fmla="*/ 2147483647 h 1020"/>
                    <a:gd name="T54" fmla="*/ 2147483647 w 1134"/>
                    <a:gd name="T55" fmla="*/ 2147483647 h 1020"/>
                    <a:gd name="T56" fmla="*/ 2147483647 w 1134"/>
                    <a:gd name="T57" fmla="*/ 2147483647 h 1020"/>
                    <a:gd name="T58" fmla="*/ 2147483647 w 1134"/>
                    <a:gd name="T59" fmla="*/ 2147483647 h 1020"/>
                    <a:gd name="T60" fmla="*/ 2147483647 w 1134"/>
                    <a:gd name="T61" fmla="*/ 2147483647 h 1020"/>
                    <a:gd name="T62" fmla="*/ 0 w 1134"/>
                    <a:gd name="T63" fmla="*/ 2147483647 h 1020"/>
                    <a:gd name="T64" fmla="*/ 2147483647 w 1134"/>
                    <a:gd name="T65" fmla="*/ 2147483647 h 1020"/>
                    <a:gd name="T66" fmla="*/ 2147483647 w 1134"/>
                    <a:gd name="T67" fmla="*/ 2147483647 h 1020"/>
                    <a:gd name="T68" fmla="*/ 2147483647 w 1134"/>
                    <a:gd name="T69" fmla="*/ 2147483647 h 1020"/>
                    <a:gd name="T70" fmla="*/ 2147483647 w 1134"/>
                    <a:gd name="T71" fmla="*/ 2147483647 h 1020"/>
                    <a:gd name="T72" fmla="*/ 2147483647 w 1134"/>
                    <a:gd name="T73" fmla="*/ 2147483647 h 1020"/>
                    <a:gd name="T74" fmla="*/ 2147483647 w 1134"/>
                    <a:gd name="T75" fmla="*/ 2147483647 h 1020"/>
                    <a:gd name="T76" fmla="*/ 2147483647 w 1134"/>
                    <a:gd name="T77" fmla="*/ 2147483647 h 1020"/>
                    <a:gd name="T78" fmla="*/ 2147483647 w 1134"/>
                    <a:gd name="T79" fmla="*/ 2147483647 h 1020"/>
                    <a:gd name="T80" fmla="*/ 2147483647 w 1134"/>
                    <a:gd name="T81" fmla="*/ 2147483647 h 1020"/>
                    <a:gd name="T82" fmla="*/ 2147483647 w 1134"/>
                    <a:gd name="T83" fmla="*/ 2147483647 h 1020"/>
                    <a:gd name="T84" fmla="*/ 2147483647 w 1134"/>
                    <a:gd name="T85" fmla="*/ 2147483647 h 1020"/>
                    <a:gd name="T86" fmla="*/ 2147483647 w 1134"/>
                    <a:gd name="T87" fmla="*/ 2147483647 h 1020"/>
                    <a:gd name="T88" fmla="*/ 2147483647 w 1134"/>
                    <a:gd name="T89" fmla="*/ 2147483647 h 1020"/>
                    <a:gd name="T90" fmla="*/ 2147483647 w 1134"/>
                    <a:gd name="T91" fmla="*/ 2147483647 h 1020"/>
                    <a:gd name="T92" fmla="*/ 2147483647 w 1134"/>
                    <a:gd name="T93" fmla="*/ 2147483647 h 1020"/>
                    <a:gd name="T94" fmla="*/ 2147483647 w 1134"/>
                    <a:gd name="T95" fmla="*/ 2147483647 h 1020"/>
                    <a:gd name="T96" fmla="*/ 2147483647 w 1134"/>
                    <a:gd name="T97" fmla="*/ 2147483647 h 1020"/>
                    <a:gd name="T98" fmla="*/ 2147483647 w 1134"/>
                    <a:gd name="T99" fmla="*/ 2147483647 h 1020"/>
                    <a:gd name="T100" fmla="*/ 2147483647 w 1134"/>
                    <a:gd name="T101" fmla="*/ 2147483647 h 1020"/>
                    <a:gd name="T102" fmla="*/ 2147483647 w 1134"/>
                    <a:gd name="T103" fmla="*/ 2147483647 h 1020"/>
                    <a:gd name="T104" fmla="*/ 2147483647 w 1134"/>
                    <a:gd name="T105" fmla="*/ 2147483647 h 1020"/>
                    <a:gd name="T106" fmla="*/ 2147483647 w 1134"/>
                    <a:gd name="T107" fmla="*/ 2147483647 h 1020"/>
                    <a:gd name="T108" fmla="*/ 2147483647 w 1134"/>
                    <a:gd name="T109" fmla="*/ 2147483647 h 1020"/>
                    <a:gd name="T110" fmla="*/ 2147483647 w 1134"/>
                    <a:gd name="T111" fmla="*/ 2147483647 h 1020"/>
                    <a:gd name="T112" fmla="*/ 2147483647 w 1134"/>
                    <a:gd name="T113" fmla="*/ 2147483647 h 1020"/>
                    <a:gd name="T114" fmla="*/ 2147483647 w 1134"/>
                    <a:gd name="T115" fmla="*/ 2147483647 h 1020"/>
                    <a:gd name="T116" fmla="*/ 2147483647 w 1134"/>
                    <a:gd name="T117" fmla="*/ 2147483647 h 1020"/>
                    <a:gd name="T118" fmla="*/ 2147483647 w 1134"/>
                    <a:gd name="T119" fmla="*/ 2147483647 h 1020"/>
                    <a:gd name="T120" fmla="*/ 2147483647 w 1134"/>
                    <a:gd name="T121" fmla="*/ 2147483647 h 1020"/>
                    <a:gd name="T122" fmla="*/ 2147483647 w 1134"/>
                    <a:gd name="T123" fmla="*/ 2147483647 h 1020"/>
                    <a:gd name="T124" fmla="*/ 2147483647 w 1134"/>
                    <a:gd name="T125" fmla="*/ 2147483647 h 102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134"/>
                    <a:gd name="T190" fmla="*/ 0 h 1020"/>
                    <a:gd name="T191" fmla="*/ 1134 w 1134"/>
                    <a:gd name="T192" fmla="*/ 1020 h 1020"/>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134" h="1020">
                      <a:moveTo>
                        <a:pt x="1116" y="372"/>
                      </a:moveTo>
                      <a:lnTo>
                        <a:pt x="1098" y="372"/>
                      </a:lnTo>
                      <a:lnTo>
                        <a:pt x="1092" y="378"/>
                      </a:lnTo>
                      <a:lnTo>
                        <a:pt x="1086" y="378"/>
                      </a:lnTo>
                      <a:lnTo>
                        <a:pt x="1074" y="420"/>
                      </a:lnTo>
                      <a:lnTo>
                        <a:pt x="1062" y="420"/>
                      </a:lnTo>
                      <a:lnTo>
                        <a:pt x="1050" y="414"/>
                      </a:lnTo>
                      <a:lnTo>
                        <a:pt x="1032" y="414"/>
                      </a:lnTo>
                      <a:lnTo>
                        <a:pt x="1020" y="402"/>
                      </a:lnTo>
                      <a:lnTo>
                        <a:pt x="1008" y="396"/>
                      </a:lnTo>
                      <a:lnTo>
                        <a:pt x="996" y="372"/>
                      </a:lnTo>
                      <a:lnTo>
                        <a:pt x="996" y="348"/>
                      </a:lnTo>
                      <a:lnTo>
                        <a:pt x="1002" y="336"/>
                      </a:lnTo>
                      <a:lnTo>
                        <a:pt x="1014" y="324"/>
                      </a:lnTo>
                      <a:lnTo>
                        <a:pt x="1014" y="312"/>
                      </a:lnTo>
                      <a:lnTo>
                        <a:pt x="1020" y="300"/>
                      </a:lnTo>
                      <a:lnTo>
                        <a:pt x="1032" y="288"/>
                      </a:lnTo>
                      <a:lnTo>
                        <a:pt x="1038" y="288"/>
                      </a:lnTo>
                      <a:lnTo>
                        <a:pt x="1050" y="294"/>
                      </a:lnTo>
                      <a:lnTo>
                        <a:pt x="1062" y="306"/>
                      </a:lnTo>
                      <a:lnTo>
                        <a:pt x="1086" y="270"/>
                      </a:lnTo>
                      <a:lnTo>
                        <a:pt x="1086" y="180"/>
                      </a:lnTo>
                      <a:lnTo>
                        <a:pt x="1056" y="120"/>
                      </a:lnTo>
                      <a:lnTo>
                        <a:pt x="1056" y="102"/>
                      </a:lnTo>
                      <a:lnTo>
                        <a:pt x="1050" y="90"/>
                      </a:lnTo>
                      <a:lnTo>
                        <a:pt x="1050" y="72"/>
                      </a:lnTo>
                      <a:lnTo>
                        <a:pt x="1044" y="54"/>
                      </a:lnTo>
                      <a:lnTo>
                        <a:pt x="1044" y="24"/>
                      </a:lnTo>
                      <a:lnTo>
                        <a:pt x="1026" y="12"/>
                      </a:lnTo>
                      <a:lnTo>
                        <a:pt x="966" y="12"/>
                      </a:lnTo>
                      <a:lnTo>
                        <a:pt x="954" y="6"/>
                      </a:lnTo>
                      <a:lnTo>
                        <a:pt x="948" y="6"/>
                      </a:lnTo>
                      <a:lnTo>
                        <a:pt x="936" y="0"/>
                      </a:lnTo>
                      <a:lnTo>
                        <a:pt x="876" y="0"/>
                      </a:lnTo>
                      <a:lnTo>
                        <a:pt x="864" y="24"/>
                      </a:lnTo>
                      <a:lnTo>
                        <a:pt x="852" y="24"/>
                      </a:lnTo>
                      <a:lnTo>
                        <a:pt x="840" y="30"/>
                      </a:lnTo>
                      <a:lnTo>
                        <a:pt x="828" y="30"/>
                      </a:lnTo>
                      <a:lnTo>
                        <a:pt x="822" y="36"/>
                      </a:lnTo>
                      <a:lnTo>
                        <a:pt x="810" y="60"/>
                      </a:lnTo>
                      <a:lnTo>
                        <a:pt x="768" y="102"/>
                      </a:lnTo>
                      <a:lnTo>
                        <a:pt x="756" y="108"/>
                      </a:lnTo>
                      <a:lnTo>
                        <a:pt x="750" y="108"/>
                      </a:lnTo>
                      <a:lnTo>
                        <a:pt x="738" y="114"/>
                      </a:lnTo>
                      <a:lnTo>
                        <a:pt x="726" y="138"/>
                      </a:lnTo>
                      <a:lnTo>
                        <a:pt x="726" y="174"/>
                      </a:lnTo>
                      <a:lnTo>
                        <a:pt x="714" y="180"/>
                      </a:lnTo>
                      <a:lnTo>
                        <a:pt x="708" y="192"/>
                      </a:lnTo>
                      <a:lnTo>
                        <a:pt x="702" y="198"/>
                      </a:lnTo>
                      <a:lnTo>
                        <a:pt x="690" y="204"/>
                      </a:lnTo>
                      <a:lnTo>
                        <a:pt x="672" y="210"/>
                      </a:lnTo>
                      <a:lnTo>
                        <a:pt x="654" y="228"/>
                      </a:lnTo>
                      <a:lnTo>
                        <a:pt x="654" y="240"/>
                      </a:lnTo>
                      <a:lnTo>
                        <a:pt x="648" y="252"/>
                      </a:lnTo>
                      <a:lnTo>
                        <a:pt x="642" y="270"/>
                      </a:lnTo>
                      <a:lnTo>
                        <a:pt x="636" y="282"/>
                      </a:lnTo>
                      <a:lnTo>
                        <a:pt x="630" y="288"/>
                      </a:lnTo>
                      <a:lnTo>
                        <a:pt x="618" y="294"/>
                      </a:lnTo>
                      <a:lnTo>
                        <a:pt x="606" y="294"/>
                      </a:lnTo>
                      <a:lnTo>
                        <a:pt x="600" y="288"/>
                      </a:lnTo>
                      <a:lnTo>
                        <a:pt x="594" y="294"/>
                      </a:lnTo>
                      <a:lnTo>
                        <a:pt x="582" y="300"/>
                      </a:lnTo>
                      <a:lnTo>
                        <a:pt x="570" y="300"/>
                      </a:lnTo>
                      <a:lnTo>
                        <a:pt x="564" y="294"/>
                      </a:lnTo>
                      <a:lnTo>
                        <a:pt x="552" y="288"/>
                      </a:lnTo>
                      <a:lnTo>
                        <a:pt x="546" y="282"/>
                      </a:lnTo>
                      <a:lnTo>
                        <a:pt x="516" y="282"/>
                      </a:lnTo>
                      <a:lnTo>
                        <a:pt x="504" y="270"/>
                      </a:lnTo>
                      <a:lnTo>
                        <a:pt x="492" y="264"/>
                      </a:lnTo>
                      <a:lnTo>
                        <a:pt x="486" y="258"/>
                      </a:lnTo>
                      <a:lnTo>
                        <a:pt x="474" y="252"/>
                      </a:lnTo>
                      <a:lnTo>
                        <a:pt x="462" y="252"/>
                      </a:lnTo>
                      <a:lnTo>
                        <a:pt x="450" y="258"/>
                      </a:lnTo>
                      <a:lnTo>
                        <a:pt x="444" y="264"/>
                      </a:lnTo>
                      <a:lnTo>
                        <a:pt x="438" y="276"/>
                      </a:lnTo>
                      <a:lnTo>
                        <a:pt x="438" y="288"/>
                      </a:lnTo>
                      <a:lnTo>
                        <a:pt x="432" y="300"/>
                      </a:lnTo>
                      <a:lnTo>
                        <a:pt x="432" y="324"/>
                      </a:lnTo>
                      <a:lnTo>
                        <a:pt x="420" y="324"/>
                      </a:lnTo>
                      <a:lnTo>
                        <a:pt x="414" y="330"/>
                      </a:lnTo>
                      <a:lnTo>
                        <a:pt x="408" y="330"/>
                      </a:lnTo>
                      <a:lnTo>
                        <a:pt x="402" y="336"/>
                      </a:lnTo>
                      <a:lnTo>
                        <a:pt x="396" y="348"/>
                      </a:lnTo>
                      <a:lnTo>
                        <a:pt x="390" y="354"/>
                      </a:lnTo>
                      <a:lnTo>
                        <a:pt x="390" y="360"/>
                      </a:lnTo>
                      <a:lnTo>
                        <a:pt x="366" y="360"/>
                      </a:lnTo>
                      <a:lnTo>
                        <a:pt x="366" y="378"/>
                      </a:lnTo>
                      <a:lnTo>
                        <a:pt x="288" y="378"/>
                      </a:lnTo>
                      <a:lnTo>
                        <a:pt x="288" y="348"/>
                      </a:lnTo>
                      <a:lnTo>
                        <a:pt x="294" y="336"/>
                      </a:lnTo>
                      <a:lnTo>
                        <a:pt x="294" y="330"/>
                      </a:lnTo>
                      <a:lnTo>
                        <a:pt x="300" y="318"/>
                      </a:lnTo>
                      <a:lnTo>
                        <a:pt x="300" y="294"/>
                      </a:lnTo>
                      <a:lnTo>
                        <a:pt x="294" y="288"/>
                      </a:lnTo>
                      <a:lnTo>
                        <a:pt x="294" y="270"/>
                      </a:lnTo>
                      <a:lnTo>
                        <a:pt x="288" y="258"/>
                      </a:lnTo>
                      <a:lnTo>
                        <a:pt x="282" y="240"/>
                      </a:lnTo>
                      <a:lnTo>
                        <a:pt x="276" y="234"/>
                      </a:lnTo>
                      <a:lnTo>
                        <a:pt x="264" y="228"/>
                      </a:lnTo>
                      <a:lnTo>
                        <a:pt x="258" y="222"/>
                      </a:lnTo>
                      <a:lnTo>
                        <a:pt x="246" y="216"/>
                      </a:lnTo>
                      <a:lnTo>
                        <a:pt x="240" y="510"/>
                      </a:lnTo>
                      <a:lnTo>
                        <a:pt x="222" y="510"/>
                      </a:lnTo>
                      <a:lnTo>
                        <a:pt x="210" y="516"/>
                      </a:lnTo>
                      <a:lnTo>
                        <a:pt x="204" y="522"/>
                      </a:lnTo>
                      <a:lnTo>
                        <a:pt x="204" y="528"/>
                      </a:lnTo>
                      <a:lnTo>
                        <a:pt x="192" y="528"/>
                      </a:lnTo>
                      <a:lnTo>
                        <a:pt x="192" y="552"/>
                      </a:lnTo>
                      <a:lnTo>
                        <a:pt x="168" y="552"/>
                      </a:lnTo>
                      <a:lnTo>
                        <a:pt x="156" y="540"/>
                      </a:lnTo>
                      <a:lnTo>
                        <a:pt x="144" y="540"/>
                      </a:lnTo>
                      <a:lnTo>
                        <a:pt x="132" y="552"/>
                      </a:lnTo>
                      <a:lnTo>
                        <a:pt x="108" y="552"/>
                      </a:lnTo>
                      <a:lnTo>
                        <a:pt x="102" y="546"/>
                      </a:lnTo>
                      <a:lnTo>
                        <a:pt x="102" y="540"/>
                      </a:lnTo>
                      <a:lnTo>
                        <a:pt x="96" y="534"/>
                      </a:lnTo>
                      <a:lnTo>
                        <a:pt x="72" y="534"/>
                      </a:lnTo>
                      <a:lnTo>
                        <a:pt x="66" y="528"/>
                      </a:lnTo>
                      <a:lnTo>
                        <a:pt x="60" y="516"/>
                      </a:lnTo>
                      <a:lnTo>
                        <a:pt x="60" y="492"/>
                      </a:lnTo>
                      <a:lnTo>
                        <a:pt x="42" y="474"/>
                      </a:lnTo>
                      <a:lnTo>
                        <a:pt x="36" y="474"/>
                      </a:lnTo>
                      <a:lnTo>
                        <a:pt x="30" y="480"/>
                      </a:lnTo>
                      <a:lnTo>
                        <a:pt x="30" y="486"/>
                      </a:lnTo>
                      <a:lnTo>
                        <a:pt x="24" y="498"/>
                      </a:lnTo>
                      <a:lnTo>
                        <a:pt x="18" y="504"/>
                      </a:lnTo>
                      <a:lnTo>
                        <a:pt x="18" y="510"/>
                      </a:lnTo>
                      <a:lnTo>
                        <a:pt x="0" y="522"/>
                      </a:lnTo>
                      <a:lnTo>
                        <a:pt x="0" y="516"/>
                      </a:lnTo>
                      <a:lnTo>
                        <a:pt x="0" y="528"/>
                      </a:lnTo>
                      <a:lnTo>
                        <a:pt x="6" y="540"/>
                      </a:lnTo>
                      <a:lnTo>
                        <a:pt x="6" y="552"/>
                      </a:lnTo>
                      <a:lnTo>
                        <a:pt x="36" y="582"/>
                      </a:lnTo>
                      <a:lnTo>
                        <a:pt x="42" y="600"/>
                      </a:lnTo>
                      <a:lnTo>
                        <a:pt x="42" y="648"/>
                      </a:lnTo>
                      <a:lnTo>
                        <a:pt x="48" y="672"/>
                      </a:lnTo>
                      <a:lnTo>
                        <a:pt x="54" y="690"/>
                      </a:lnTo>
                      <a:lnTo>
                        <a:pt x="72" y="714"/>
                      </a:lnTo>
                      <a:lnTo>
                        <a:pt x="96" y="738"/>
                      </a:lnTo>
                      <a:lnTo>
                        <a:pt x="114" y="762"/>
                      </a:lnTo>
                      <a:lnTo>
                        <a:pt x="120" y="786"/>
                      </a:lnTo>
                      <a:lnTo>
                        <a:pt x="120" y="834"/>
                      </a:lnTo>
                      <a:lnTo>
                        <a:pt x="114" y="846"/>
                      </a:lnTo>
                      <a:lnTo>
                        <a:pt x="114" y="852"/>
                      </a:lnTo>
                      <a:lnTo>
                        <a:pt x="90" y="852"/>
                      </a:lnTo>
                      <a:lnTo>
                        <a:pt x="90" y="876"/>
                      </a:lnTo>
                      <a:lnTo>
                        <a:pt x="96" y="888"/>
                      </a:lnTo>
                      <a:lnTo>
                        <a:pt x="108" y="906"/>
                      </a:lnTo>
                      <a:lnTo>
                        <a:pt x="114" y="918"/>
                      </a:lnTo>
                      <a:lnTo>
                        <a:pt x="114" y="960"/>
                      </a:lnTo>
                      <a:lnTo>
                        <a:pt x="120" y="972"/>
                      </a:lnTo>
                      <a:lnTo>
                        <a:pt x="120" y="978"/>
                      </a:lnTo>
                      <a:lnTo>
                        <a:pt x="126" y="978"/>
                      </a:lnTo>
                      <a:lnTo>
                        <a:pt x="126" y="972"/>
                      </a:lnTo>
                      <a:lnTo>
                        <a:pt x="132" y="966"/>
                      </a:lnTo>
                      <a:lnTo>
                        <a:pt x="144" y="966"/>
                      </a:lnTo>
                      <a:lnTo>
                        <a:pt x="150" y="972"/>
                      </a:lnTo>
                      <a:lnTo>
                        <a:pt x="180" y="984"/>
                      </a:lnTo>
                      <a:lnTo>
                        <a:pt x="180" y="996"/>
                      </a:lnTo>
                      <a:lnTo>
                        <a:pt x="204" y="1020"/>
                      </a:lnTo>
                      <a:lnTo>
                        <a:pt x="216" y="1020"/>
                      </a:lnTo>
                      <a:lnTo>
                        <a:pt x="240" y="1008"/>
                      </a:lnTo>
                      <a:lnTo>
                        <a:pt x="246" y="996"/>
                      </a:lnTo>
                      <a:lnTo>
                        <a:pt x="252" y="990"/>
                      </a:lnTo>
                      <a:lnTo>
                        <a:pt x="264" y="984"/>
                      </a:lnTo>
                      <a:lnTo>
                        <a:pt x="294" y="984"/>
                      </a:lnTo>
                      <a:lnTo>
                        <a:pt x="306" y="990"/>
                      </a:lnTo>
                      <a:lnTo>
                        <a:pt x="354" y="990"/>
                      </a:lnTo>
                      <a:lnTo>
                        <a:pt x="354" y="984"/>
                      </a:lnTo>
                      <a:lnTo>
                        <a:pt x="360" y="978"/>
                      </a:lnTo>
                      <a:lnTo>
                        <a:pt x="360" y="966"/>
                      </a:lnTo>
                      <a:lnTo>
                        <a:pt x="366" y="960"/>
                      </a:lnTo>
                      <a:lnTo>
                        <a:pt x="378" y="954"/>
                      </a:lnTo>
                      <a:lnTo>
                        <a:pt x="408" y="954"/>
                      </a:lnTo>
                      <a:lnTo>
                        <a:pt x="420" y="960"/>
                      </a:lnTo>
                      <a:lnTo>
                        <a:pt x="432" y="960"/>
                      </a:lnTo>
                      <a:lnTo>
                        <a:pt x="438" y="966"/>
                      </a:lnTo>
                      <a:lnTo>
                        <a:pt x="444" y="960"/>
                      </a:lnTo>
                      <a:lnTo>
                        <a:pt x="456" y="960"/>
                      </a:lnTo>
                      <a:lnTo>
                        <a:pt x="468" y="954"/>
                      </a:lnTo>
                      <a:lnTo>
                        <a:pt x="504" y="954"/>
                      </a:lnTo>
                      <a:lnTo>
                        <a:pt x="522" y="960"/>
                      </a:lnTo>
                      <a:lnTo>
                        <a:pt x="534" y="966"/>
                      </a:lnTo>
                      <a:lnTo>
                        <a:pt x="552" y="966"/>
                      </a:lnTo>
                      <a:lnTo>
                        <a:pt x="558" y="960"/>
                      </a:lnTo>
                      <a:lnTo>
                        <a:pt x="570" y="954"/>
                      </a:lnTo>
                      <a:lnTo>
                        <a:pt x="606" y="954"/>
                      </a:lnTo>
                      <a:lnTo>
                        <a:pt x="618" y="948"/>
                      </a:lnTo>
                      <a:lnTo>
                        <a:pt x="624" y="942"/>
                      </a:lnTo>
                      <a:lnTo>
                        <a:pt x="636" y="936"/>
                      </a:lnTo>
                      <a:lnTo>
                        <a:pt x="684" y="936"/>
                      </a:lnTo>
                      <a:lnTo>
                        <a:pt x="708" y="924"/>
                      </a:lnTo>
                      <a:lnTo>
                        <a:pt x="720" y="912"/>
                      </a:lnTo>
                      <a:lnTo>
                        <a:pt x="738" y="900"/>
                      </a:lnTo>
                      <a:lnTo>
                        <a:pt x="774" y="864"/>
                      </a:lnTo>
                      <a:lnTo>
                        <a:pt x="786" y="858"/>
                      </a:lnTo>
                      <a:lnTo>
                        <a:pt x="804" y="846"/>
                      </a:lnTo>
                      <a:lnTo>
                        <a:pt x="900" y="750"/>
                      </a:lnTo>
                      <a:lnTo>
                        <a:pt x="918" y="750"/>
                      </a:lnTo>
                      <a:lnTo>
                        <a:pt x="924" y="744"/>
                      </a:lnTo>
                      <a:lnTo>
                        <a:pt x="960" y="696"/>
                      </a:lnTo>
                      <a:lnTo>
                        <a:pt x="972" y="672"/>
                      </a:lnTo>
                      <a:lnTo>
                        <a:pt x="984" y="654"/>
                      </a:lnTo>
                      <a:lnTo>
                        <a:pt x="990" y="642"/>
                      </a:lnTo>
                      <a:lnTo>
                        <a:pt x="1002" y="606"/>
                      </a:lnTo>
                      <a:lnTo>
                        <a:pt x="1014" y="588"/>
                      </a:lnTo>
                      <a:lnTo>
                        <a:pt x="1020" y="576"/>
                      </a:lnTo>
                      <a:lnTo>
                        <a:pt x="1026" y="570"/>
                      </a:lnTo>
                      <a:lnTo>
                        <a:pt x="1038" y="564"/>
                      </a:lnTo>
                      <a:lnTo>
                        <a:pt x="1050" y="552"/>
                      </a:lnTo>
                      <a:lnTo>
                        <a:pt x="1068" y="546"/>
                      </a:lnTo>
                      <a:lnTo>
                        <a:pt x="1086" y="534"/>
                      </a:lnTo>
                      <a:lnTo>
                        <a:pt x="1098" y="510"/>
                      </a:lnTo>
                      <a:lnTo>
                        <a:pt x="1098" y="498"/>
                      </a:lnTo>
                      <a:lnTo>
                        <a:pt x="1104" y="486"/>
                      </a:lnTo>
                      <a:lnTo>
                        <a:pt x="1110" y="468"/>
                      </a:lnTo>
                      <a:lnTo>
                        <a:pt x="1116" y="456"/>
                      </a:lnTo>
                      <a:lnTo>
                        <a:pt x="1122" y="450"/>
                      </a:lnTo>
                      <a:lnTo>
                        <a:pt x="1122" y="438"/>
                      </a:lnTo>
                      <a:lnTo>
                        <a:pt x="1128" y="432"/>
                      </a:lnTo>
                      <a:lnTo>
                        <a:pt x="1128" y="414"/>
                      </a:lnTo>
                      <a:lnTo>
                        <a:pt x="1134" y="396"/>
                      </a:lnTo>
                      <a:lnTo>
                        <a:pt x="1128" y="384"/>
                      </a:lnTo>
                      <a:lnTo>
                        <a:pt x="1116" y="372"/>
                      </a:lnTo>
                      <a:close/>
                      <a:moveTo>
                        <a:pt x="870" y="624"/>
                      </a:moveTo>
                      <a:lnTo>
                        <a:pt x="858" y="630"/>
                      </a:lnTo>
                      <a:lnTo>
                        <a:pt x="852" y="636"/>
                      </a:lnTo>
                      <a:lnTo>
                        <a:pt x="840" y="642"/>
                      </a:lnTo>
                      <a:lnTo>
                        <a:pt x="822" y="642"/>
                      </a:lnTo>
                      <a:lnTo>
                        <a:pt x="810" y="648"/>
                      </a:lnTo>
                      <a:lnTo>
                        <a:pt x="804" y="654"/>
                      </a:lnTo>
                      <a:lnTo>
                        <a:pt x="798" y="666"/>
                      </a:lnTo>
                      <a:lnTo>
                        <a:pt x="792" y="672"/>
                      </a:lnTo>
                      <a:lnTo>
                        <a:pt x="792" y="684"/>
                      </a:lnTo>
                      <a:lnTo>
                        <a:pt x="774" y="684"/>
                      </a:lnTo>
                      <a:lnTo>
                        <a:pt x="744" y="654"/>
                      </a:lnTo>
                      <a:lnTo>
                        <a:pt x="744" y="636"/>
                      </a:lnTo>
                      <a:lnTo>
                        <a:pt x="720" y="600"/>
                      </a:lnTo>
                      <a:lnTo>
                        <a:pt x="744" y="600"/>
                      </a:lnTo>
                      <a:lnTo>
                        <a:pt x="750" y="582"/>
                      </a:lnTo>
                      <a:lnTo>
                        <a:pt x="768" y="564"/>
                      </a:lnTo>
                      <a:lnTo>
                        <a:pt x="768" y="546"/>
                      </a:lnTo>
                      <a:lnTo>
                        <a:pt x="774" y="540"/>
                      </a:lnTo>
                      <a:lnTo>
                        <a:pt x="798" y="540"/>
                      </a:lnTo>
                      <a:lnTo>
                        <a:pt x="798" y="528"/>
                      </a:lnTo>
                      <a:lnTo>
                        <a:pt x="810" y="522"/>
                      </a:lnTo>
                      <a:lnTo>
                        <a:pt x="846" y="522"/>
                      </a:lnTo>
                      <a:lnTo>
                        <a:pt x="852" y="528"/>
                      </a:lnTo>
                      <a:lnTo>
                        <a:pt x="858" y="540"/>
                      </a:lnTo>
                      <a:lnTo>
                        <a:pt x="864" y="546"/>
                      </a:lnTo>
                      <a:lnTo>
                        <a:pt x="870" y="558"/>
                      </a:lnTo>
                      <a:lnTo>
                        <a:pt x="882" y="564"/>
                      </a:lnTo>
                      <a:lnTo>
                        <a:pt x="888" y="588"/>
                      </a:lnTo>
                      <a:lnTo>
                        <a:pt x="864" y="606"/>
                      </a:lnTo>
                      <a:lnTo>
                        <a:pt x="870" y="624"/>
                      </a:lnTo>
                      <a:close/>
                    </a:path>
                  </a:pathLst>
                </a:custGeom>
                <a:solidFill>
                  <a:schemeClr val="accent1"/>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692" name="Afghanistan"/>
                <p:cNvSpPr>
                  <a:spLocks/>
                </p:cNvSpPr>
                <p:nvPr/>
              </p:nvSpPr>
              <p:spPr bwMode="gray">
                <a:xfrm>
                  <a:off x="3703" y="1516"/>
                  <a:ext cx="232" cy="189"/>
                </a:xfrm>
                <a:custGeom>
                  <a:avLst/>
                  <a:gdLst>
                    <a:gd name="T0" fmla="*/ 2147483647 w 906"/>
                    <a:gd name="T1" fmla="*/ 2147483647 h 738"/>
                    <a:gd name="T2" fmla="*/ 2147483647 w 906"/>
                    <a:gd name="T3" fmla="*/ 2147483647 h 738"/>
                    <a:gd name="T4" fmla="*/ 2147483647 w 906"/>
                    <a:gd name="T5" fmla="*/ 2147483647 h 738"/>
                    <a:gd name="T6" fmla="*/ 2147483647 w 906"/>
                    <a:gd name="T7" fmla="*/ 2147483647 h 738"/>
                    <a:gd name="T8" fmla="*/ 2147483647 w 906"/>
                    <a:gd name="T9" fmla="*/ 2147483647 h 738"/>
                    <a:gd name="T10" fmla="*/ 2147483647 w 906"/>
                    <a:gd name="T11" fmla="*/ 0 h 738"/>
                    <a:gd name="T12" fmla="*/ 2147483647 w 906"/>
                    <a:gd name="T13" fmla="*/ 2147483647 h 738"/>
                    <a:gd name="T14" fmla="*/ 2147483647 w 906"/>
                    <a:gd name="T15" fmla="*/ 2147483647 h 738"/>
                    <a:gd name="T16" fmla="*/ 2147483647 w 906"/>
                    <a:gd name="T17" fmla="*/ 2147483647 h 738"/>
                    <a:gd name="T18" fmla="*/ 2147483647 w 906"/>
                    <a:gd name="T19" fmla="*/ 2147483647 h 738"/>
                    <a:gd name="T20" fmla="*/ 2147483647 w 906"/>
                    <a:gd name="T21" fmla="*/ 2147483647 h 738"/>
                    <a:gd name="T22" fmla="*/ 2147483647 w 906"/>
                    <a:gd name="T23" fmla="*/ 2147483647 h 738"/>
                    <a:gd name="T24" fmla="*/ 2147483647 w 906"/>
                    <a:gd name="T25" fmla="*/ 2147483647 h 738"/>
                    <a:gd name="T26" fmla="*/ 2147483647 w 906"/>
                    <a:gd name="T27" fmla="*/ 2147483647 h 738"/>
                    <a:gd name="T28" fmla="*/ 2147483647 w 906"/>
                    <a:gd name="T29" fmla="*/ 2147483647 h 738"/>
                    <a:gd name="T30" fmla="*/ 2147483647 w 906"/>
                    <a:gd name="T31" fmla="*/ 2147483647 h 738"/>
                    <a:gd name="T32" fmla="*/ 2147483647 w 906"/>
                    <a:gd name="T33" fmla="*/ 2147483647 h 738"/>
                    <a:gd name="T34" fmla="*/ 2147483647 w 906"/>
                    <a:gd name="T35" fmla="*/ 2147483647 h 738"/>
                    <a:gd name="T36" fmla="*/ 2147483647 w 906"/>
                    <a:gd name="T37" fmla="*/ 2147483647 h 738"/>
                    <a:gd name="T38" fmla="*/ 2147483647 w 906"/>
                    <a:gd name="T39" fmla="*/ 2147483647 h 738"/>
                    <a:gd name="T40" fmla="*/ 2147483647 w 906"/>
                    <a:gd name="T41" fmla="*/ 2147483647 h 738"/>
                    <a:gd name="T42" fmla="*/ 2147483647 w 906"/>
                    <a:gd name="T43" fmla="*/ 2147483647 h 738"/>
                    <a:gd name="T44" fmla="*/ 2147483647 w 906"/>
                    <a:gd name="T45" fmla="*/ 2147483647 h 738"/>
                    <a:gd name="T46" fmla="*/ 0 w 906"/>
                    <a:gd name="T47" fmla="*/ 2147483647 h 738"/>
                    <a:gd name="T48" fmla="*/ 2147483647 w 906"/>
                    <a:gd name="T49" fmla="*/ 2147483647 h 738"/>
                    <a:gd name="T50" fmla="*/ 2147483647 w 906"/>
                    <a:gd name="T51" fmla="*/ 2147483647 h 738"/>
                    <a:gd name="T52" fmla="*/ 2147483647 w 906"/>
                    <a:gd name="T53" fmla="*/ 2147483647 h 738"/>
                    <a:gd name="T54" fmla="*/ 2147483647 w 906"/>
                    <a:gd name="T55" fmla="*/ 2147483647 h 738"/>
                    <a:gd name="T56" fmla="*/ 2147483647 w 906"/>
                    <a:gd name="T57" fmla="*/ 2147483647 h 738"/>
                    <a:gd name="T58" fmla="*/ 2147483647 w 906"/>
                    <a:gd name="T59" fmla="*/ 2147483647 h 738"/>
                    <a:gd name="T60" fmla="*/ 2147483647 w 906"/>
                    <a:gd name="T61" fmla="*/ 2147483647 h 738"/>
                    <a:gd name="T62" fmla="*/ 2147483647 w 906"/>
                    <a:gd name="T63" fmla="*/ 2147483647 h 738"/>
                    <a:gd name="T64" fmla="*/ 2147483647 w 906"/>
                    <a:gd name="T65" fmla="*/ 2147483647 h 738"/>
                    <a:gd name="T66" fmla="*/ 2147483647 w 906"/>
                    <a:gd name="T67" fmla="*/ 2147483647 h 738"/>
                    <a:gd name="T68" fmla="*/ 2147483647 w 906"/>
                    <a:gd name="T69" fmla="*/ 2147483647 h 738"/>
                    <a:gd name="T70" fmla="*/ 2147483647 w 906"/>
                    <a:gd name="T71" fmla="*/ 2147483647 h 738"/>
                    <a:gd name="T72" fmla="*/ 2147483647 w 906"/>
                    <a:gd name="T73" fmla="*/ 2147483647 h 738"/>
                    <a:gd name="T74" fmla="*/ 2147483647 w 906"/>
                    <a:gd name="T75" fmla="*/ 2147483647 h 738"/>
                    <a:gd name="T76" fmla="*/ 2147483647 w 906"/>
                    <a:gd name="T77" fmla="*/ 2147483647 h 738"/>
                    <a:gd name="T78" fmla="*/ 2147483647 w 906"/>
                    <a:gd name="T79" fmla="*/ 2147483647 h 738"/>
                    <a:gd name="T80" fmla="*/ 2147483647 w 906"/>
                    <a:gd name="T81" fmla="*/ 2147483647 h 738"/>
                    <a:gd name="T82" fmla="*/ 2147483647 w 906"/>
                    <a:gd name="T83" fmla="*/ 2147483647 h 738"/>
                    <a:gd name="T84" fmla="*/ 2147483647 w 906"/>
                    <a:gd name="T85" fmla="*/ 2147483647 h 738"/>
                    <a:gd name="T86" fmla="*/ 2147483647 w 906"/>
                    <a:gd name="T87" fmla="*/ 2147483647 h 738"/>
                    <a:gd name="T88" fmla="*/ 2147483647 w 906"/>
                    <a:gd name="T89" fmla="*/ 2147483647 h 738"/>
                    <a:gd name="T90" fmla="*/ 2147483647 w 906"/>
                    <a:gd name="T91" fmla="*/ 2147483647 h 738"/>
                    <a:gd name="T92" fmla="*/ 2147483647 w 906"/>
                    <a:gd name="T93" fmla="*/ 2147483647 h 738"/>
                    <a:gd name="T94" fmla="*/ 2147483647 w 906"/>
                    <a:gd name="T95" fmla="*/ 2147483647 h 738"/>
                    <a:gd name="T96" fmla="*/ 2147483647 w 906"/>
                    <a:gd name="T97" fmla="*/ 2147483647 h 738"/>
                    <a:gd name="T98" fmla="*/ 2147483647 w 906"/>
                    <a:gd name="T99" fmla="*/ 2147483647 h 738"/>
                    <a:gd name="T100" fmla="*/ 2147483647 w 906"/>
                    <a:gd name="T101" fmla="*/ 2147483647 h 738"/>
                    <a:gd name="T102" fmla="*/ 2147483647 w 906"/>
                    <a:gd name="T103" fmla="*/ 2147483647 h 738"/>
                    <a:gd name="T104" fmla="*/ 2147483647 w 906"/>
                    <a:gd name="T105" fmla="*/ 2147483647 h 738"/>
                    <a:gd name="T106" fmla="*/ 2147483647 w 906"/>
                    <a:gd name="T107" fmla="*/ 2147483647 h 738"/>
                    <a:gd name="T108" fmla="*/ 2147483647 w 906"/>
                    <a:gd name="T109" fmla="*/ 2147483647 h 73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906"/>
                    <a:gd name="T166" fmla="*/ 0 h 738"/>
                    <a:gd name="T167" fmla="*/ 906 w 906"/>
                    <a:gd name="T168" fmla="*/ 738 h 73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906" h="738">
                      <a:moveTo>
                        <a:pt x="894" y="108"/>
                      </a:moveTo>
                      <a:lnTo>
                        <a:pt x="894" y="96"/>
                      </a:lnTo>
                      <a:lnTo>
                        <a:pt x="906" y="96"/>
                      </a:lnTo>
                      <a:lnTo>
                        <a:pt x="900" y="90"/>
                      </a:lnTo>
                      <a:lnTo>
                        <a:pt x="876" y="90"/>
                      </a:lnTo>
                      <a:lnTo>
                        <a:pt x="840" y="102"/>
                      </a:lnTo>
                      <a:lnTo>
                        <a:pt x="840" y="84"/>
                      </a:lnTo>
                      <a:lnTo>
                        <a:pt x="816" y="84"/>
                      </a:lnTo>
                      <a:lnTo>
                        <a:pt x="792" y="96"/>
                      </a:lnTo>
                      <a:lnTo>
                        <a:pt x="786" y="102"/>
                      </a:lnTo>
                      <a:lnTo>
                        <a:pt x="780" y="114"/>
                      </a:lnTo>
                      <a:lnTo>
                        <a:pt x="774" y="120"/>
                      </a:lnTo>
                      <a:lnTo>
                        <a:pt x="756" y="120"/>
                      </a:lnTo>
                      <a:lnTo>
                        <a:pt x="750" y="126"/>
                      </a:lnTo>
                      <a:lnTo>
                        <a:pt x="744" y="138"/>
                      </a:lnTo>
                      <a:lnTo>
                        <a:pt x="732" y="144"/>
                      </a:lnTo>
                      <a:lnTo>
                        <a:pt x="726" y="150"/>
                      </a:lnTo>
                      <a:lnTo>
                        <a:pt x="720" y="150"/>
                      </a:lnTo>
                      <a:lnTo>
                        <a:pt x="690" y="120"/>
                      </a:lnTo>
                      <a:lnTo>
                        <a:pt x="690" y="114"/>
                      </a:lnTo>
                      <a:lnTo>
                        <a:pt x="678" y="48"/>
                      </a:lnTo>
                      <a:lnTo>
                        <a:pt x="660" y="48"/>
                      </a:lnTo>
                      <a:lnTo>
                        <a:pt x="660" y="18"/>
                      </a:lnTo>
                      <a:lnTo>
                        <a:pt x="642" y="0"/>
                      </a:lnTo>
                      <a:lnTo>
                        <a:pt x="624" y="0"/>
                      </a:lnTo>
                      <a:lnTo>
                        <a:pt x="618" y="6"/>
                      </a:lnTo>
                      <a:lnTo>
                        <a:pt x="618" y="30"/>
                      </a:lnTo>
                      <a:lnTo>
                        <a:pt x="612" y="36"/>
                      </a:lnTo>
                      <a:lnTo>
                        <a:pt x="606" y="36"/>
                      </a:lnTo>
                      <a:lnTo>
                        <a:pt x="594" y="48"/>
                      </a:lnTo>
                      <a:lnTo>
                        <a:pt x="594" y="54"/>
                      </a:lnTo>
                      <a:lnTo>
                        <a:pt x="600" y="60"/>
                      </a:lnTo>
                      <a:lnTo>
                        <a:pt x="606" y="60"/>
                      </a:lnTo>
                      <a:lnTo>
                        <a:pt x="600" y="84"/>
                      </a:lnTo>
                      <a:lnTo>
                        <a:pt x="588" y="72"/>
                      </a:lnTo>
                      <a:lnTo>
                        <a:pt x="570" y="72"/>
                      </a:lnTo>
                      <a:lnTo>
                        <a:pt x="558" y="78"/>
                      </a:lnTo>
                      <a:lnTo>
                        <a:pt x="546" y="90"/>
                      </a:lnTo>
                      <a:lnTo>
                        <a:pt x="546" y="120"/>
                      </a:lnTo>
                      <a:lnTo>
                        <a:pt x="540" y="120"/>
                      </a:lnTo>
                      <a:lnTo>
                        <a:pt x="534" y="114"/>
                      </a:lnTo>
                      <a:lnTo>
                        <a:pt x="528" y="102"/>
                      </a:lnTo>
                      <a:lnTo>
                        <a:pt x="522" y="96"/>
                      </a:lnTo>
                      <a:lnTo>
                        <a:pt x="510" y="96"/>
                      </a:lnTo>
                      <a:lnTo>
                        <a:pt x="504" y="102"/>
                      </a:lnTo>
                      <a:lnTo>
                        <a:pt x="492" y="108"/>
                      </a:lnTo>
                      <a:lnTo>
                        <a:pt x="474" y="126"/>
                      </a:lnTo>
                      <a:lnTo>
                        <a:pt x="468" y="126"/>
                      </a:lnTo>
                      <a:lnTo>
                        <a:pt x="456" y="114"/>
                      </a:lnTo>
                      <a:lnTo>
                        <a:pt x="444" y="108"/>
                      </a:lnTo>
                      <a:lnTo>
                        <a:pt x="438" y="102"/>
                      </a:lnTo>
                      <a:lnTo>
                        <a:pt x="426" y="102"/>
                      </a:lnTo>
                      <a:lnTo>
                        <a:pt x="414" y="108"/>
                      </a:lnTo>
                      <a:lnTo>
                        <a:pt x="396" y="84"/>
                      </a:lnTo>
                      <a:lnTo>
                        <a:pt x="384" y="96"/>
                      </a:lnTo>
                      <a:lnTo>
                        <a:pt x="342" y="96"/>
                      </a:lnTo>
                      <a:lnTo>
                        <a:pt x="330" y="90"/>
                      </a:lnTo>
                      <a:lnTo>
                        <a:pt x="324" y="84"/>
                      </a:lnTo>
                      <a:lnTo>
                        <a:pt x="312" y="78"/>
                      </a:lnTo>
                      <a:lnTo>
                        <a:pt x="300" y="78"/>
                      </a:lnTo>
                      <a:lnTo>
                        <a:pt x="300" y="102"/>
                      </a:lnTo>
                      <a:lnTo>
                        <a:pt x="264" y="102"/>
                      </a:lnTo>
                      <a:lnTo>
                        <a:pt x="252" y="108"/>
                      </a:lnTo>
                      <a:lnTo>
                        <a:pt x="246" y="120"/>
                      </a:lnTo>
                      <a:lnTo>
                        <a:pt x="246" y="180"/>
                      </a:lnTo>
                      <a:lnTo>
                        <a:pt x="234" y="180"/>
                      </a:lnTo>
                      <a:lnTo>
                        <a:pt x="222" y="186"/>
                      </a:lnTo>
                      <a:lnTo>
                        <a:pt x="216" y="198"/>
                      </a:lnTo>
                      <a:lnTo>
                        <a:pt x="180" y="216"/>
                      </a:lnTo>
                      <a:lnTo>
                        <a:pt x="168" y="216"/>
                      </a:lnTo>
                      <a:lnTo>
                        <a:pt x="168" y="228"/>
                      </a:lnTo>
                      <a:lnTo>
                        <a:pt x="156" y="252"/>
                      </a:lnTo>
                      <a:lnTo>
                        <a:pt x="150" y="258"/>
                      </a:lnTo>
                      <a:lnTo>
                        <a:pt x="138" y="264"/>
                      </a:lnTo>
                      <a:lnTo>
                        <a:pt x="114" y="264"/>
                      </a:lnTo>
                      <a:lnTo>
                        <a:pt x="90" y="240"/>
                      </a:lnTo>
                      <a:lnTo>
                        <a:pt x="84" y="240"/>
                      </a:lnTo>
                      <a:lnTo>
                        <a:pt x="78" y="246"/>
                      </a:lnTo>
                      <a:lnTo>
                        <a:pt x="66" y="246"/>
                      </a:lnTo>
                      <a:lnTo>
                        <a:pt x="60" y="240"/>
                      </a:lnTo>
                      <a:lnTo>
                        <a:pt x="48" y="240"/>
                      </a:lnTo>
                      <a:lnTo>
                        <a:pt x="42" y="234"/>
                      </a:lnTo>
                      <a:lnTo>
                        <a:pt x="36" y="240"/>
                      </a:lnTo>
                      <a:lnTo>
                        <a:pt x="30" y="252"/>
                      </a:lnTo>
                      <a:lnTo>
                        <a:pt x="30" y="258"/>
                      </a:lnTo>
                      <a:lnTo>
                        <a:pt x="36" y="270"/>
                      </a:lnTo>
                      <a:lnTo>
                        <a:pt x="36" y="294"/>
                      </a:lnTo>
                      <a:lnTo>
                        <a:pt x="42" y="300"/>
                      </a:lnTo>
                      <a:lnTo>
                        <a:pt x="42" y="306"/>
                      </a:lnTo>
                      <a:lnTo>
                        <a:pt x="18" y="312"/>
                      </a:lnTo>
                      <a:lnTo>
                        <a:pt x="30" y="330"/>
                      </a:lnTo>
                      <a:lnTo>
                        <a:pt x="24" y="330"/>
                      </a:lnTo>
                      <a:lnTo>
                        <a:pt x="18" y="336"/>
                      </a:lnTo>
                      <a:lnTo>
                        <a:pt x="6" y="342"/>
                      </a:lnTo>
                      <a:lnTo>
                        <a:pt x="0" y="348"/>
                      </a:lnTo>
                      <a:lnTo>
                        <a:pt x="0" y="354"/>
                      </a:lnTo>
                      <a:lnTo>
                        <a:pt x="12" y="366"/>
                      </a:lnTo>
                      <a:lnTo>
                        <a:pt x="12" y="396"/>
                      </a:lnTo>
                      <a:lnTo>
                        <a:pt x="36" y="396"/>
                      </a:lnTo>
                      <a:lnTo>
                        <a:pt x="42" y="402"/>
                      </a:lnTo>
                      <a:lnTo>
                        <a:pt x="42" y="408"/>
                      </a:lnTo>
                      <a:lnTo>
                        <a:pt x="24" y="426"/>
                      </a:lnTo>
                      <a:lnTo>
                        <a:pt x="18" y="438"/>
                      </a:lnTo>
                      <a:lnTo>
                        <a:pt x="30" y="462"/>
                      </a:lnTo>
                      <a:lnTo>
                        <a:pt x="42" y="480"/>
                      </a:lnTo>
                      <a:lnTo>
                        <a:pt x="54" y="504"/>
                      </a:lnTo>
                      <a:lnTo>
                        <a:pt x="60" y="510"/>
                      </a:lnTo>
                      <a:lnTo>
                        <a:pt x="60" y="564"/>
                      </a:lnTo>
                      <a:lnTo>
                        <a:pt x="66" y="570"/>
                      </a:lnTo>
                      <a:lnTo>
                        <a:pt x="72" y="570"/>
                      </a:lnTo>
                      <a:lnTo>
                        <a:pt x="84" y="576"/>
                      </a:lnTo>
                      <a:lnTo>
                        <a:pt x="120" y="576"/>
                      </a:lnTo>
                      <a:lnTo>
                        <a:pt x="126" y="582"/>
                      </a:lnTo>
                      <a:lnTo>
                        <a:pt x="138" y="606"/>
                      </a:lnTo>
                      <a:lnTo>
                        <a:pt x="114" y="654"/>
                      </a:lnTo>
                      <a:lnTo>
                        <a:pt x="108" y="660"/>
                      </a:lnTo>
                      <a:lnTo>
                        <a:pt x="102" y="672"/>
                      </a:lnTo>
                      <a:lnTo>
                        <a:pt x="84" y="690"/>
                      </a:lnTo>
                      <a:lnTo>
                        <a:pt x="84" y="702"/>
                      </a:lnTo>
                      <a:lnTo>
                        <a:pt x="120" y="702"/>
                      </a:lnTo>
                      <a:lnTo>
                        <a:pt x="132" y="708"/>
                      </a:lnTo>
                      <a:lnTo>
                        <a:pt x="150" y="720"/>
                      </a:lnTo>
                      <a:lnTo>
                        <a:pt x="168" y="726"/>
                      </a:lnTo>
                      <a:lnTo>
                        <a:pt x="192" y="738"/>
                      </a:lnTo>
                      <a:lnTo>
                        <a:pt x="210" y="738"/>
                      </a:lnTo>
                      <a:lnTo>
                        <a:pt x="228" y="732"/>
                      </a:lnTo>
                      <a:lnTo>
                        <a:pt x="234" y="732"/>
                      </a:lnTo>
                      <a:lnTo>
                        <a:pt x="240" y="726"/>
                      </a:lnTo>
                      <a:lnTo>
                        <a:pt x="294" y="726"/>
                      </a:lnTo>
                      <a:lnTo>
                        <a:pt x="294" y="732"/>
                      </a:lnTo>
                      <a:lnTo>
                        <a:pt x="318" y="732"/>
                      </a:lnTo>
                      <a:lnTo>
                        <a:pt x="324" y="726"/>
                      </a:lnTo>
                      <a:lnTo>
                        <a:pt x="348" y="726"/>
                      </a:lnTo>
                      <a:lnTo>
                        <a:pt x="366" y="720"/>
                      </a:lnTo>
                      <a:lnTo>
                        <a:pt x="396" y="720"/>
                      </a:lnTo>
                      <a:lnTo>
                        <a:pt x="444" y="696"/>
                      </a:lnTo>
                      <a:lnTo>
                        <a:pt x="450" y="696"/>
                      </a:lnTo>
                      <a:lnTo>
                        <a:pt x="456" y="690"/>
                      </a:lnTo>
                      <a:lnTo>
                        <a:pt x="456" y="660"/>
                      </a:lnTo>
                      <a:lnTo>
                        <a:pt x="450" y="654"/>
                      </a:lnTo>
                      <a:lnTo>
                        <a:pt x="450" y="636"/>
                      </a:lnTo>
                      <a:lnTo>
                        <a:pt x="444" y="624"/>
                      </a:lnTo>
                      <a:lnTo>
                        <a:pt x="444" y="606"/>
                      </a:lnTo>
                      <a:lnTo>
                        <a:pt x="450" y="594"/>
                      </a:lnTo>
                      <a:lnTo>
                        <a:pt x="462" y="588"/>
                      </a:lnTo>
                      <a:lnTo>
                        <a:pt x="468" y="576"/>
                      </a:lnTo>
                      <a:lnTo>
                        <a:pt x="486" y="576"/>
                      </a:lnTo>
                      <a:lnTo>
                        <a:pt x="486" y="588"/>
                      </a:lnTo>
                      <a:lnTo>
                        <a:pt x="528" y="588"/>
                      </a:lnTo>
                      <a:lnTo>
                        <a:pt x="534" y="582"/>
                      </a:lnTo>
                      <a:lnTo>
                        <a:pt x="534" y="576"/>
                      </a:lnTo>
                      <a:lnTo>
                        <a:pt x="528" y="570"/>
                      </a:lnTo>
                      <a:lnTo>
                        <a:pt x="522" y="570"/>
                      </a:lnTo>
                      <a:lnTo>
                        <a:pt x="522" y="564"/>
                      </a:lnTo>
                      <a:lnTo>
                        <a:pt x="528" y="558"/>
                      </a:lnTo>
                      <a:lnTo>
                        <a:pt x="534" y="558"/>
                      </a:lnTo>
                      <a:lnTo>
                        <a:pt x="546" y="552"/>
                      </a:lnTo>
                      <a:lnTo>
                        <a:pt x="552" y="546"/>
                      </a:lnTo>
                      <a:lnTo>
                        <a:pt x="564" y="540"/>
                      </a:lnTo>
                      <a:lnTo>
                        <a:pt x="594" y="540"/>
                      </a:lnTo>
                      <a:lnTo>
                        <a:pt x="594" y="552"/>
                      </a:lnTo>
                      <a:lnTo>
                        <a:pt x="600" y="558"/>
                      </a:lnTo>
                      <a:lnTo>
                        <a:pt x="612" y="558"/>
                      </a:lnTo>
                      <a:lnTo>
                        <a:pt x="624" y="552"/>
                      </a:lnTo>
                      <a:lnTo>
                        <a:pt x="630" y="540"/>
                      </a:lnTo>
                      <a:lnTo>
                        <a:pt x="636" y="534"/>
                      </a:lnTo>
                      <a:lnTo>
                        <a:pt x="636" y="528"/>
                      </a:lnTo>
                      <a:lnTo>
                        <a:pt x="630" y="522"/>
                      </a:lnTo>
                      <a:lnTo>
                        <a:pt x="630" y="510"/>
                      </a:lnTo>
                      <a:lnTo>
                        <a:pt x="624" y="498"/>
                      </a:lnTo>
                      <a:lnTo>
                        <a:pt x="624" y="480"/>
                      </a:lnTo>
                      <a:lnTo>
                        <a:pt x="630" y="474"/>
                      </a:lnTo>
                      <a:lnTo>
                        <a:pt x="636" y="474"/>
                      </a:lnTo>
                      <a:lnTo>
                        <a:pt x="636" y="438"/>
                      </a:lnTo>
                      <a:lnTo>
                        <a:pt x="642" y="432"/>
                      </a:lnTo>
                      <a:lnTo>
                        <a:pt x="660" y="432"/>
                      </a:lnTo>
                      <a:lnTo>
                        <a:pt x="690" y="414"/>
                      </a:lnTo>
                      <a:lnTo>
                        <a:pt x="684" y="414"/>
                      </a:lnTo>
                      <a:lnTo>
                        <a:pt x="672" y="408"/>
                      </a:lnTo>
                      <a:lnTo>
                        <a:pt x="672" y="402"/>
                      </a:lnTo>
                      <a:lnTo>
                        <a:pt x="666" y="396"/>
                      </a:lnTo>
                      <a:lnTo>
                        <a:pt x="666" y="390"/>
                      </a:lnTo>
                      <a:lnTo>
                        <a:pt x="654" y="384"/>
                      </a:lnTo>
                      <a:lnTo>
                        <a:pt x="642" y="372"/>
                      </a:lnTo>
                      <a:lnTo>
                        <a:pt x="642" y="360"/>
                      </a:lnTo>
                      <a:lnTo>
                        <a:pt x="660" y="360"/>
                      </a:lnTo>
                      <a:lnTo>
                        <a:pt x="666" y="366"/>
                      </a:lnTo>
                      <a:lnTo>
                        <a:pt x="684" y="372"/>
                      </a:lnTo>
                      <a:lnTo>
                        <a:pt x="690" y="372"/>
                      </a:lnTo>
                      <a:lnTo>
                        <a:pt x="696" y="366"/>
                      </a:lnTo>
                      <a:lnTo>
                        <a:pt x="714" y="366"/>
                      </a:lnTo>
                      <a:lnTo>
                        <a:pt x="714" y="336"/>
                      </a:lnTo>
                      <a:lnTo>
                        <a:pt x="708" y="330"/>
                      </a:lnTo>
                      <a:lnTo>
                        <a:pt x="708" y="318"/>
                      </a:lnTo>
                      <a:lnTo>
                        <a:pt x="714" y="306"/>
                      </a:lnTo>
                      <a:lnTo>
                        <a:pt x="738" y="282"/>
                      </a:lnTo>
                      <a:lnTo>
                        <a:pt x="738" y="276"/>
                      </a:lnTo>
                      <a:lnTo>
                        <a:pt x="732" y="264"/>
                      </a:lnTo>
                      <a:lnTo>
                        <a:pt x="726" y="258"/>
                      </a:lnTo>
                      <a:lnTo>
                        <a:pt x="726" y="228"/>
                      </a:lnTo>
                      <a:lnTo>
                        <a:pt x="696" y="198"/>
                      </a:lnTo>
                      <a:lnTo>
                        <a:pt x="696" y="192"/>
                      </a:lnTo>
                      <a:lnTo>
                        <a:pt x="702" y="186"/>
                      </a:lnTo>
                      <a:lnTo>
                        <a:pt x="708" y="174"/>
                      </a:lnTo>
                      <a:lnTo>
                        <a:pt x="714" y="168"/>
                      </a:lnTo>
                      <a:lnTo>
                        <a:pt x="738" y="156"/>
                      </a:lnTo>
                      <a:lnTo>
                        <a:pt x="744" y="150"/>
                      </a:lnTo>
                      <a:lnTo>
                        <a:pt x="768" y="138"/>
                      </a:lnTo>
                      <a:lnTo>
                        <a:pt x="774" y="138"/>
                      </a:lnTo>
                      <a:lnTo>
                        <a:pt x="780" y="132"/>
                      </a:lnTo>
                      <a:lnTo>
                        <a:pt x="822" y="132"/>
                      </a:lnTo>
                      <a:lnTo>
                        <a:pt x="828" y="126"/>
                      </a:lnTo>
                      <a:lnTo>
                        <a:pt x="852" y="126"/>
                      </a:lnTo>
                      <a:lnTo>
                        <a:pt x="864" y="132"/>
                      </a:lnTo>
                      <a:lnTo>
                        <a:pt x="876" y="132"/>
                      </a:lnTo>
                      <a:lnTo>
                        <a:pt x="882" y="126"/>
                      </a:lnTo>
                      <a:lnTo>
                        <a:pt x="894" y="126"/>
                      </a:lnTo>
                      <a:lnTo>
                        <a:pt x="900" y="120"/>
                      </a:lnTo>
                      <a:lnTo>
                        <a:pt x="894" y="114"/>
                      </a:lnTo>
                      <a:lnTo>
                        <a:pt x="894" y="108"/>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grpSp>
          <p:sp>
            <p:nvSpPr>
              <p:cNvPr id="271" name="Brazil"/>
              <p:cNvSpPr>
                <a:spLocks noEditPoints="1"/>
              </p:cNvSpPr>
              <p:nvPr/>
            </p:nvSpPr>
            <p:spPr bwMode="gray">
              <a:xfrm>
                <a:off x="2038074" y="3870723"/>
                <a:ext cx="1107609" cy="1277938"/>
              </a:xfrm>
              <a:custGeom>
                <a:avLst/>
                <a:gdLst>
                  <a:gd name="T0" fmla="*/ 2147483647 w 2784"/>
                  <a:gd name="T1" fmla="*/ 2147483647 h 3150"/>
                  <a:gd name="T2" fmla="*/ 2147483647 w 2784"/>
                  <a:gd name="T3" fmla="*/ 2147483647 h 3150"/>
                  <a:gd name="T4" fmla="*/ 2147483647 w 2784"/>
                  <a:gd name="T5" fmla="*/ 2147483647 h 3150"/>
                  <a:gd name="T6" fmla="*/ 2147483647 w 2784"/>
                  <a:gd name="T7" fmla="*/ 2147483647 h 3150"/>
                  <a:gd name="T8" fmla="*/ 2147483647 w 2784"/>
                  <a:gd name="T9" fmla="*/ 2147483647 h 3150"/>
                  <a:gd name="T10" fmla="*/ 2147483647 w 2784"/>
                  <a:gd name="T11" fmla="*/ 2147483647 h 3150"/>
                  <a:gd name="T12" fmla="*/ 2147483647 w 2784"/>
                  <a:gd name="T13" fmla="*/ 2147483647 h 3150"/>
                  <a:gd name="T14" fmla="*/ 2147483647 w 2784"/>
                  <a:gd name="T15" fmla="*/ 2147483647 h 3150"/>
                  <a:gd name="T16" fmla="*/ 2147483647 w 2784"/>
                  <a:gd name="T17" fmla="*/ 2147483647 h 3150"/>
                  <a:gd name="T18" fmla="*/ 2147483647 w 2784"/>
                  <a:gd name="T19" fmla="*/ 2147483647 h 3150"/>
                  <a:gd name="T20" fmla="*/ 2147483647 w 2784"/>
                  <a:gd name="T21" fmla="*/ 2147483647 h 3150"/>
                  <a:gd name="T22" fmla="*/ 2147483647 w 2784"/>
                  <a:gd name="T23" fmla="*/ 2147483647 h 3150"/>
                  <a:gd name="T24" fmla="*/ 2147483647 w 2784"/>
                  <a:gd name="T25" fmla="*/ 2147483647 h 3150"/>
                  <a:gd name="T26" fmla="*/ 2147483647 w 2784"/>
                  <a:gd name="T27" fmla="*/ 2147483647 h 3150"/>
                  <a:gd name="T28" fmla="*/ 2147483647 w 2784"/>
                  <a:gd name="T29" fmla="*/ 2147483647 h 3150"/>
                  <a:gd name="T30" fmla="*/ 2147483647 w 2784"/>
                  <a:gd name="T31" fmla="*/ 2147483647 h 3150"/>
                  <a:gd name="T32" fmla="*/ 2147483647 w 2784"/>
                  <a:gd name="T33" fmla="*/ 2147483647 h 3150"/>
                  <a:gd name="T34" fmla="*/ 2147483647 w 2784"/>
                  <a:gd name="T35" fmla="*/ 2147483647 h 3150"/>
                  <a:gd name="T36" fmla="*/ 2147483647 w 2784"/>
                  <a:gd name="T37" fmla="*/ 2147483647 h 3150"/>
                  <a:gd name="T38" fmla="*/ 2147483647 w 2784"/>
                  <a:gd name="T39" fmla="*/ 2147483647 h 3150"/>
                  <a:gd name="T40" fmla="*/ 2147483647 w 2784"/>
                  <a:gd name="T41" fmla="*/ 2147483647 h 3150"/>
                  <a:gd name="T42" fmla="*/ 2147483647 w 2784"/>
                  <a:gd name="T43" fmla="*/ 2147483647 h 3150"/>
                  <a:gd name="T44" fmla="*/ 2147483647 w 2784"/>
                  <a:gd name="T45" fmla="*/ 2147483647 h 3150"/>
                  <a:gd name="T46" fmla="*/ 2147483647 w 2784"/>
                  <a:gd name="T47" fmla="*/ 2147483647 h 3150"/>
                  <a:gd name="T48" fmla="*/ 2147483647 w 2784"/>
                  <a:gd name="T49" fmla="*/ 2147483647 h 3150"/>
                  <a:gd name="T50" fmla="*/ 2147483647 w 2784"/>
                  <a:gd name="T51" fmla="*/ 2147483647 h 3150"/>
                  <a:gd name="T52" fmla="*/ 2147483647 w 2784"/>
                  <a:gd name="T53" fmla="*/ 2147483647 h 3150"/>
                  <a:gd name="T54" fmla="*/ 2147483647 w 2784"/>
                  <a:gd name="T55" fmla="*/ 2147483647 h 3150"/>
                  <a:gd name="T56" fmla="*/ 2147483647 w 2784"/>
                  <a:gd name="T57" fmla="*/ 2147483647 h 3150"/>
                  <a:gd name="T58" fmla="*/ 2147483647 w 2784"/>
                  <a:gd name="T59" fmla="*/ 2147483647 h 3150"/>
                  <a:gd name="T60" fmla="*/ 2147483647 w 2784"/>
                  <a:gd name="T61" fmla="*/ 2147483647 h 3150"/>
                  <a:gd name="T62" fmla="*/ 2147483647 w 2784"/>
                  <a:gd name="T63" fmla="*/ 2147483647 h 3150"/>
                  <a:gd name="T64" fmla="*/ 2147483647 w 2784"/>
                  <a:gd name="T65" fmla="*/ 2147483647 h 3150"/>
                  <a:gd name="T66" fmla="*/ 2147483647 w 2784"/>
                  <a:gd name="T67" fmla="*/ 2147483647 h 3150"/>
                  <a:gd name="T68" fmla="*/ 2147483647 w 2784"/>
                  <a:gd name="T69" fmla="*/ 2147483647 h 3150"/>
                  <a:gd name="T70" fmla="*/ 2147483647 w 2784"/>
                  <a:gd name="T71" fmla="*/ 2147483647 h 3150"/>
                  <a:gd name="T72" fmla="*/ 2147483647 w 2784"/>
                  <a:gd name="T73" fmla="*/ 2147483647 h 3150"/>
                  <a:gd name="T74" fmla="*/ 2147483647 w 2784"/>
                  <a:gd name="T75" fmla="*/ 2147483647 h 3150"/>
                  <a:gd name="T76" fmla="*/ 2147483647 w 2784"/>
                  <a:gd name="T77" fmla="*/ 2147483647 h 3150"/>
                  <a:gd name="T78" fmla="*/ 2147483647 w 2784"/>
                  <a:gd name="T79" fmla="*/ 2147483647 h 3150"/>
                  <a:gd name="T80" fmla="*/ 2147483647 w 2784"/>
                  <a:gd name="T81" fmla="*/ 2147483647 h 3150"/>
                  <a:gd name="T82" fmla="*/ 2147483647 w 2784"/>
                  <a:gd name="T83" fmla="*/ 2147483647 h 3150"/>
                  <a:gd name="T84" fmla="*/ 2147483647 w 2784"/>
                  <a:gd name="T85" fmla="*/ 2147483647 h 3150"/>
                  <a:gd name="T86" fmla="*/ 2147483647 w 2784"/>
                  <a:gd name="T87" fmla="*/ 2147483647 h 3150"/>
                  <a:gd name="T88" fmla="*/ 2147483647 w 2784"/>
                  <a:gd name="T89" fmla="*/ 2147483647 h 3150"/>
                  <a:gd name="T90" fmla="*/ 2147483647 w 2784"/>
                  <a:gd name="T91" fmla="*/ 2147483647 h 3150"/>
                  <a:gd name="T92" fmla="*/ 2147483647 w 2784"/>
                  <a:gd name="T93" fmla="*/ 2147483647 h 3150"/>
                  <a:gd name="T94" fmla="*/ 2147483647 w 2784"/>
                  <a:gd name="T95" fmla="*/ 2147483647 h 3150"/>
                  <a:gd name="T96" fmla="*/ 2147483647 w 2784"/>
                  <a:gd name="T97" fmla="*/ 2147483647 h 3150"/>
                  <a:gd name="T98" fmla="*/ 2147483647 w 2784"/>
                  <a:gd name="T99" fmla="*/ 2147483647 h 3150"/>
                  <a:gd name="T100" fmla="*/ 2147483647 w 2784"/>
                  <a:gd name="T101" fmla="*/ 2147483647 h 3150"/>
                  <a:gd name="T102" fmla="*/ 2147483647 w 2784"/>
                  <a:gd name="T103" fmla="*/ 2147483647 h 3150"/>
                  <a:gd name="T104" fmla="*/ 2147483647 w 2784"/>
                  <a:gd name="T105" fmla="*/ 2147483647 h 3150"/>
                  <a:gd name="T106" fmla="*/ 2147483647 w 2784"/>
                  <a:gd name="T107" fmla="*/ 2147483647 h 3150"/>
                  <a:gd name="T108" fmla="*/ 2147483647 w 2784"/>
                  <a:gd name="T109" fmla="*/ 2147483647 h 3150"/>
                  <a:gd name="T110" fmla="*/ 2147483647 w 2784"/>
                  <a:gd name="T111" fmla="*/ 2147483647 h 3150"/>
                  <a:gd name="T112" fmla="*/ 2147483647 w 2784"/>
                  <a:gd name="T113" fmla="*/ 2147483647 h 3150"/>
                  <a:gd name="T114" fmla="*/ 2147483647 w 2784"/>
                  <a:gd name="T115" fmla="*/ 2147483647 h 3150"/>
                  <a:gd name="T116" fmla="*/ 2147483647 w 2784"/>
                  <a:gd name="T117" fmla="*/ 2147483647 h 3150"/>
                  <a:gd name="T118" fmla="*/ 2147483647 w 2784"/>
                  <a:gd name="T119" fmla="*/ 2147483647 h 315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784"/>
                  <a:gd name="T181" fmla="*/ 0 h 3150"/>
                  <a:gd name="T182" fmla="*/ 2784 w 2784"/>
                  <a:gd name="T183" fmla="*/ 3150 h 315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784" h="3150">
                    <a:moveTo>
                      <a:pt x="1716" y="450"/>
                    </a:moveTo>
                    <a:lnTo>
                      <a:pt x="1710" y="450"/>
                    </a:lnTo>
                    <a:lnTo>
                      <a:pt x="1698" y="444"/>
                    </a:lnTo>
                    <a:lnTo>
                      <a:pt x="1680" y="444"/>
                    </a:lnTo>
                    <a:lnTo>
                      <a:pt x="1662" y="438"/>
                    </a:lnTo>
                    <a:lnTo>
                      <a:pt x="1650" y="438"/>
                    </a:lnTo>
                    <a:lnTo>
                      <a:pt x="1644" y="444"/>
                    </a:lnTo>
                    <a:lnTo>
                      <a:pt x="1644" y="450"/>
                    </a:lnTo>
                    <a:lnTo>
                      <a:pt x="1650" y="462"/>
                    </a:lnTo>
                    <a:lnTo>
                      <a:pt x="1650" y="468"/>
                    </a:lnTo>
                    <a:lnTo>
                      <a:pt x="1656" y="480"/>
                    </a:lnTo>
                    <a:lnTo>
                      <a:pt x="1638" y="480"/>
                    </a:lnTo>
                    <a:lnTo>
                      <a:pt x="1638" y="504"/>
                    </a:lnTo>
                    <a:lnTo>
                      <a:pt x="1656" y="516"/>
                    </a:lnTo>
                    <a:lnTo>
                      <a:pt x="1644" y="528"/>
                    </a:lnTo>
                    <a:lnTo>
                      <a:pt x="1644" y="540"/>
                    </a:lnTo>
                    <a:lnTo>
                      <a:pt x="1656" y="564"/>
                    </a:lnTo>
                    <a:lnTo>
                      <a:pt x="1668" y="570"/>
                    </a:lnTo>
                    <a:lnTo>
                      <a:pt x="1674" y="576"/>
                    </a:lnTo>
                    <a:lnTo>
                      <a:pt x="1686" y="576"/>
                    </a:lnTo>
                    <a:lnTo>
                      <a:pt x="1698" y="570"/>
                    </a:lnTo>
                    <a:lnTo>
                      <a:pt x="1710" y="570"/>
                    </a:lnTo>
                    <a:lnTo>
                      <a:pt x="1716" y="564"/>
                    </a:lnTo>
                    <a:lnTo>
                      <a:pt x="1716" y="558"/>
                    </a:lnTo>
                    <a:lnTo>
                      <a:pt x="1728" y="558"/>
                    </a:lnTo>
                    <a:lnTo>
                      <a:pt x="1740" y="552"/>
                    </a:lnTo>
                    <a:lnTo>
                      <a:pt x="1758" y="552"/>
                    </a:lnTo>
                    <a:lnTo>
                      <a:pt x="1770" y="546"/>
                    </a:lnTo>
                    <a:lnTo>
                      <a:pt x="1776" y="534"/>
                    </a:lnTo>
                    <a:lnTo>
                      <a:pt x="1788" y="492"/>
                    </a:lnTo>
                    <a:lnTo>
                      <a:pt x="1794" y="480"/>
                    </a:lnTo>
                    <a:lnTo>
                      <a:pt x="1794" y="474"/>
                    </a:lnTo>
                    <a:lnTo>
                      <a:pt x="1800" y="462"/>
                    </a:lnTo>
                    <a:lnTo>
                      <a:pt x="1800" y="444"/>
                    </a:lnTo>
                    <a:lnTo>
                      <a:pt x="1794" y="438"/>
                    </a:lnTo>
                    <a:lnTo>
                      <a:pt x="1752" y="438"/>
                    </a:lnTo>
                    <a:lnTo>
                      <a:pt x="1740" y="444"/>
                    </a:lnTo>
                    <a:lnTo>
                      <a:pt x="1734" y="444"/>
                    </a:lnTo>
                    <a:lnTo>
                      <a:pt x="1722" y="450"/>
                    </a:lnTo>
                    <a:lnTo>
                      <a:pt x="1716" y="450"/>
                    </a:lnTo>
                    <a:close/>
                    <a:moveTo>
                      <a:pt x="1716" y="438"/>
                    </a:moveTo>
                    <a:lnTo>
                      <a:pt x="1740" y="432"/>
                    </a:lnTo>
                    <a:lnTo>
                      <a:pt x="1722" y="414"/>
                    </a:lnTo>
                    <a:lnTo>
                      <a:pt x="1698" y="438"/>
                    </a:lnTo>
                    <a:lnTo>
                      <a:pt x="1716" y="438"/>
                    </a:lnTo>
                    <a:close/>
                    <a:moveTo>
                      <a:pt x="1686" y="408"/>
                    </a:moveTo>
                    <a:lnTo>
                      <a:pt x="1662" y="408"/>
                    </a:lnTo>
                    <a:lnTo>
                      <a:pt x="1662" y="426"/>
                    </a:lnTo>
                    <a:lnTo>
                      <a:pt x="1698" y="426"/>
                    </a:lnTo>
                    <a:lnTo>
                      <a:pt x="1716" y="402"/>
                    </a:lnTo>
                    <a:lnTo>
                      <a:pt x="1698" y="384"/>
                    </a:lnTo>
                    <a:lnTo>
                      <a:pt x="1686" y="408"/>
                    </a:lnTo>
                    <a:close/>
                    <a:moveTo>
                      <a:pt x="1572" y="492"/>
                    </a:moveTo>
                    <a:lnTo>
                      <a:pt x="1572" y="510"/>
                    </a:lnTo>
                    <a:lnTo>
                      <a:pt x="1554" y="546"/>
                    </a:lnTo>
                    <a:lnTo>
                      <a:pt x="1584" y="528"/>
                    </a:lnTo>
                    <a:lnTo>
                      <a:pt x="1590" y="516"/>
                    </a:lnTo>
                    <a:lnTo>
                      <a:pt x="1596" y="510"/>
                    </a:lnTo>
                    <a:lnTo>
                      <a:pt x="1608" y="486"/>
                    </a:lnTo>
                    <a:lnTo>
                      <a:pt x="1608" y="480"/>
                    </a:lnTo>
                    <a:lnTo>
                      <a:pt x="1602" y="474"/>
                    </a:lnTo>
                    <a:lnTo>
                      <a:pt x="1596" y="474"/>
                    </a:lnTo>
                    <a:lnTo>
                      <a:pt x="1584" y="480"/>
                    </a:lnTo>
                    <a:lnTo>
                      <a:pt x="1572" y="492"/>
                    </a:lnTo>
                    <a:close/>
                    <a:moveTo>
                      <a:pt x="1632" y="426"/>
                    </a:moveTo>
                    <a:lnTo>
                      <a:pt x="1608" y="450"/>
                    </a:lnTo>
                    <a:lnTo>
                      <a:pt x="1626" y="456"/>
                    </a:lnTo>
                    <a:lnTo>
                      <a:pt x="1644" y="432"/>
                    </a:lnTo>
                    <a:lnTo>
                      <a:pt x="1632" y="426"/>
                    </a:lnTo>
                    <a:close/>
                    <a:moveTo>
                      <a:pt x="2778" y="1002"/>
                    </a:moveTo>
                    <a:lnTo>
                      <a:pt x="2778" y="984"/>
                    </a:lnTo>
                    <a:lnTo>
                      <a:pt x="2772" y="972"/>
                    </a:lnTo>
                    <a:lnTo>
                      <a:pt x="2760" y="954"/>
                    </a:lnTo>
                    <a:lnTo>
                      <a:pt x="2754" y="936"/>
                    </a:lnTo>
                    <a:lnTo>
                      <a:pt x="2754" y="870"/>
                    </a:lnTo>
                    <a:lnTo>
                      <a:pt x="2724" y="840"/>
                    </a:lnTo>
                    <a:lnTo>
                      <a:pt x="2694" y="834"/>
                    </a:lnTo>
                    <a:lnTo>
                      <a:pt x="2646" y="840"/>
                    </a:lnTo>
                    <a:lnTo>
                      <a:pt x="2628" y="822"/>
                    </a:lnTo>
                    <a:lnTo>
                      <a:pt x="2610" y="822"/>
                    </a:lnTo>
                    <a:lnTo>
                      <a:pt x="2592" y="798"/>
                    </a:lnTo>
                    <a:lnTo>
                      <a:pt x="2568" y="798"/>
                    </a:lnTo>
                    <a:lnTo>
                      <a:pt x="2538" y="768"/>
                    </a:lnTo>
                    <a:lnTo>
                      <a:pt x="2526" y="750"/>
                    </a:lnTo>
                    <a:lnTo>
                      <a:pt x="2490" y="714"/>
                    </a:lnTo>
                    <a:lnTo>
                      <a:pt x="2418" y="666"/>
                    </a:lnTo>
                    <a:lnTo>
                      <a:pt x="2394" y="660"/>
                    </a:lnTo>
                    <a:lnTo>
                      <a:pt x="2316" y="660"/>
                    </a:lnTo>
                    <a:lnTo>
                      <a:pt x="2316" y="672"/>
                    </a:lnTo>
                    <a:lnTo>
                      <a:pt x="2310" y="672"/>
                    </a:lnTo>
                    <a:lnTo>
                      <a:pt x="2298" y="660"/>
                    </a:lnTo>
                    <a:lnTo>
                      <a:pt x="2286" y="654"/>
                    </a:lnTo>
                    <a:lnTo>
                      <a:pt x="2274" y="654"/>
                    </a:lnTo>
                    <a:lnTo>
                      <a:pt x="2262" y="648"/>
                    </a:lnTo>
                    <a:lnTo>
                      <a:pt x="2232" y="648"/>
                    </a:lnTo>
                    <a:lnTo>
                      <a:pt x="2226" y="642"/>
                    </a:lnTo>
                    <a:lnTo>
                      <a:pt x="2214" y="636"/>
                    </a:lnTo>
                    <a:lnTo>
                      <a:pt x="2196" y="630"/>
                    </a:lnTo>
                    <a:lnTo>
                      <a:pt x="2184" y="624"/>
                    </a:lnTo>
                    <a:lnTo>
                      <a:pt x="2166" y="618"/>
                    </a:lnTo>
                    <a:lnTo>
                      <a:pt x="2154" y="618"/>
                    </a:lnTo>
                    <a:lnTo>
                      <a:pt x="2142" y="624"/>
                    </a:lnTo>
                    <a:lnTo>
                      <a:pt x="2112" y="654"/>
                    </a:lnTo>
                    <a:lnTo>
                      <a:pt x="2106" y="666"/>
                    </a:lnTo>
                    <a:lnTo>
                      <a:pt x="2088" y="642"/>
                    </a:lnTo>
                    <a:lnTo>
                      <a:pt x="2088" y="678"/>
                    </a:lnTo>
                    <a:lnTo>
                      <a:pt x="2058" y="702"/>
                    </a:lnTo>
                    <a:lnTo>
                      <a:pt x="2076" y="636"/>
                    </a:lnTo>
                    <a:lnTo>
                      <a:pt x="2082" y="636"/>
                    </a:lnTo>
                    <a:lnTo>
                      <a:pt x="2094" y="624"/>
                    </a:lnTo>
                    <a:lnTo>
                      <a:pt x="2094" y="606"/>
                    </a:lnTo>
                    <a:lnTo>
                      <a:pt x="2088" y="600"/>
                    </a:lnTo>
                    <a:lnTo>
                      <a:pt x="2082" y="600"/>
                    </a:lnTo>
                    <a:lnTo>
                      <a:pt x="2064" y="618"/>
                    </a:lnTo>
                    <a:lnTo>
                      <a:pt x="2076" y="582"/>
                    </a:lnTo>
                    <a:lnTo>
                      <a:pt x="2070" y="582"/>
                    </a:lnTo>
                    <a:lnTo>
                      <a:pt x="2064" y="576"/>
                    </a:lnTo>
                    <a:lnTo>
                      <a:pt x="2064" y="570"/>
                    </a:lnTo>
                    <a:lnTo>
                      <a:pt x="2040" y="546"/>
                    </a:lnTo>
                    <a:lnTo>
                      <a:pt x="2034" y="546"/>
                    </a:lnTo>
                    <a:lnTo>
                      <a:pt x="2022" y="564"/>
                    </a:lnTo>
                    <a:lnTo>
                      <a:pt x="2016" y="552"/>
                    </a:lnTo>
                    <a:lnTo>
                      <a:pt x="2004" y="546"/>
                    </a:lnTo>
                    <a:lnTo>
                      <a:pt x="1998" y="534"/>
                    </a:lnTo>
                    <a:lnTo>
                      <a:pt x="1986" y="528"/>
                    </a:lnTo>
                    <a:lnTo>
                      <a:pt x="1980" y="522"/>
                    </a:lnTo>
                    <a:lnTo>
                      <a:pt x="1968" y="516"/>
                    </a:lnTo>
                    <a:lnTo>
                      <a:pt x="1944" y="516"/>
                    </a:lnTo>
                    <a:lnTo>
                      <a:pt x="1932" y="510"/>
                    </a:lnTo>
                    <a:lnTo>
                      <a:pt x="1926" y="510"/>
                    </a:lnTo>
                    <a:lnTo>
                      <a:pt x="1914" y="498"/>
                    </a:lnTo>
                    <a:lnTo>
                      <a:pt x="1902" y="492"/>
                    </a:lnTo>
                    <a:lnTo>
                      <a:pt x="1896" y="480"/>
                    </a:lnTo>
                    <a:lnTo>
                      <a:pt x="1884" y="474"/>
                    </a:lnTo>
                    <a:lnTo>
                      <a:pt x="1878" y="486"/>
                    </a:lnTo>
                    <a:lnTo>
                      <a:pt x="1824" y="486"/>
                    </a:lnTo>
                    <a:lnTo>
                      <a:pt x="1812" y="498"/>
                    </a:lnTo>
                    <a:lnTo>
                      <a:pt x="1806" y="510"/>
                    </a:lnTo>
                    <a:lnTo>
                      <a:pt x="1806" y="522"/>
                    </a:lnTo>
                    <a:lnTo>
                      <a:pt x="1800" y="528"/>
                    </a:lnTo>
                    <a:lnTo>
                      <a:pt x="1800" y="534"/>
                    </a:lnTo>
                    <a:lnTo>
                      <a:pt x="1812" y="552"/>
                    </a:lnTo>
                    <a:lnTo>
                      <a:pt x="1776" y="552"/>
                    </a:lnTo>
                    <a:lnTo>
                      <a:pt x="1770" y="564"/>
                    </a:lnTo>
                    <a:lnTo>
                      <a:pt x="1758" y="576"/>
                    </a:lnTo>
                    <a:lnTo>
                      <a:pt x="1752" y="588"/>
                    </a:lnTo>
                    <a:lnTo>
                      <a:pt x="1752" y="594"/>
                    </a:lnTo>
                    <a:lnTo>
                      <a:pt x="1746" y="600"/>
                    </a:lnTo>
                    <a:lnTo>
                      <a:pt x="1746" y="612"/>
                    </a:lnTo>
                    <a:lnTo>
                      <a:pt x="1740" y="624"/>
                    </a:lnTo>
                    <a:lnTo>
                      <a:pt x="1728" y="636"/>
                    </a:lnTo>
                    <a:lnTo>
                      <a:pt x="1722" y="636"/>
                    </a:lnTo>
                    <a:lnTo>
                      <a:pt x="1728" y="630"/>
                    </a:lnTo>
                    <a:lnTo>
                      <a:pt x="1728" y="618"/>
                    </a:lnTo>
                    <a:lnTo>
                      <a:pt x="1734" y="606"/>
                    </a:lnTo>
                    <a:lnTo>
                      <a:pt x="1734" y="600"/>
                    </a:lnTo>
                    <a:lnTo>
                      <a:pt x="1740" y="588"/>
                    </a:lnTo>
                    <a:lnTo>
                      <a:pt x="1740" y="582"/>
                    </a:lnTo>
                    <a:lnTo>
                      <a:pt x="1734" y="576"/>
                    </a:lnTo>
                    <a:lnTo>
                      <a:pt x="1728" y="576"/>
                    </a:lnTo>
                    <a:lnTo>
                      <a:pt x="1722" y="582"/>
                    </a:lnTo>
                    <a:lnTo>
                      <a:pt x="1716" y="582"/>
                    </a:lnTo>
                    <a:lnTo>
                      <a:pt x="1704" y="594"/>
                    </a:lnTo>
                    <a:lnTo>
                      <a:pt x="1692" y="588"/>
                    </a:lnTo>
                    <a:lnTo>
                      <a:pt x="1656" y="588"/>
                    </a:lnTo>
                    <a:lnTo>
                      <a:pt x="1644" y="582"/>
                    </a:lnTo>
                    <a:lnTo>
                      <a:pt x="1632" y="570"/>
                    </a:lnTo>
                    <a:lnTo>
                      <a:pt x="1632" y="522"/>
                    </a:lnTo>
                    <a:lnTo>
                      <a:pt x="1626" y="516"/>
                    </a:lnTo>
                    <a:lnTo>
                      <a:pt x="1626" y="504"/>
                    </a:lnTo>
                    <a:lnTo>
                      <a:pt x="1620" y="504"/>
                    </a:lnTo>
                    <a:lnTo>
                      <a:pt x="1614" y="510"/>
                    </a:lnTo>
                    <a:lnTo>
                      <a:pt x="1602" y="516"/>
                    </a:lnTo>
                    <a:lnTo>
                      <a:pt x="1596" y="522"/>
                    </a:lnTo>
                    <a:lnTo>
                      <a:pt x="1590" y="534"/>
                    </a:lnTo>
                    <a:lnTo>
                      <a:pt x="1584" y="540"/>
                    </a:lnTo>
                    <a:lnTo>
                      <a:pt x="1560" y="552"/>
                    </a:lnTo>
                    <a:lnTo>
                      <a:pt x="1554" y="558"/>
                    </a:lnTo>
                    <a:lnTo>
                      <a:pt x="1512" y="558"/>
                    </a:lnTo>
                    <a:lnTo>
                      <a:pt x="1500" y="552"/>
                    </a:lnTo>
                    <a:lnTo>
                      <a:pt x="1542" y="540"/>
                    </a:lnTo>
                    <a:lnTo>
                      <a:pt x="1548" y="528"/>
                    </a:lnTo>
                    <a:lnTo>
                      <a:pt x="1566" y="510"/>
                    </a:lnTo>
                    <a:lnTo>
                      <a:pt x="1566" y="492"/>
                    </a:lnTo>
                    <a:lnTo>
                      <a:pt x="1572" y="486"/>
                    </a:lnTo>
                    <a:lnTo>
                      <a:pt x="1590" y="450"/>
                    </a:lnTo>
                    <a:lnTo>
                      <a:pt x="1626" y="414"/>
                    </a:lnTo>
                    <a:lnTo>
                      <a:pt x="1638" y="408"/>
                    </a:lnTo>
                    <a:lnTo>
                      <a:pt x="1656" y="390"/>
                    </a:lnTo>
                    <a:lnTo>
                      <a:pt x="1656" y="378"/>
                    </a:lnTo>
                    <a:lnTo>
                      <a:pt x="1662" y="366"/>
                    </a:lnTo>
                    <a:lnTo>
                      <a:pt x="1674" y="354"/>
                    </a:lnTo>
                    <a:lnTo>
                      <a:pt x="1686" y="348"/>
                    </a:lnTo>
                    <a:lnTo>
                      <a:pt x="1692" y="342"/>
                    </a:lnTo>
                    <a:lnTo>
                      <a:pt x="1704" y="336"/>
                    </a:lnTo>
                    <a:lnTo>
                      <a:pt x="1680" y="330"/>
                    </a:lnTo>
                    <a:lnTo>
                      <a:pt x="1698" y="312"/>
                    </a:lnTo>
                    <a:lnTo>
                      <a:pt x="1698" y="294"/>
                    </a:lnTo>
                    <a:lnTo>
                      <a:pt x="1692" y="288"/>
                    </a:lnTo>
                    <a:lnTo>
                      <a:pt x="1680" y="282"/>
                    </a:lnTo>
                    <a:lnTo>
                      <a:pt x="1662" y="282"/>
                    </a:lnTo>
                    <a:lnTo>
                      <a:pt x="1650" y="276"/>
                    </a:lnTo>
                    <a:lnTo>
                      <a:pt x="1644" y="270"/>
                    </a:lnTo>
                    <a:lnTo>
                      <a:pt x="1638" y="252"/>
                    </a:lnTo>
                    <a:lnTo>
                      <a:pt x="1632" y="216"/>
                    </a:lnTo>
                    <a:lnTo>
                      <a:pt x="1626" y="168"/>
                    </a:lnTo>
                    <a:lnTo>
                      <a:pt x="1620" y="138"/>
                    </a:lnTo>
                    <a:lnTo>
                      <a:pt x="1614" y="114"/>
                    </a:lnTo>
                    <a:lnTo>
                      <a:pt x="1608" y="96"/>
                    </a:lnTo>
                    <a:lnTo>
                      <a:pt x="1602" y="84"/>
                    </a:lnTo>
                    <a:lnTo>
                      <a:pt x="1590" y="78"/>
                    </a:lnTo>
                    <a:lnTo>
                      <a:pt x="1584" y="78"/>
                    </a:lnTo>
                    <a:lnTo>
                      <a:pt x="1584" y="90"/>
                    </a:lnTo>
                    <a:lnTo>
                      <a:pt x="1590" y="96"/>
                    </a:lnTo>
                    <a:lnTo>
                      <a:pt x="1590" y="108"/>
                    </a:lnTo>
                    <a:lnTo>
                      <a:pt x="1572" y="108"/>
                    </a:lnTo>
                    <a:lnTo>
                      <a:pt x="1572" y="102"/>
                    </a:lnTo>
                    <a:lnTo>
                      <a:pt x="1566" y="108"/>
                    </a:lnTo>
                    <a:lnTo>
                      <a:pt x="1560" y="120"/>
                    </a:lnTo>
                    <a:lnTo>
                      <a:pt x="1560" y="126"/>
                    </a:lnTo>
                    <a:lnTo>
                      <a:pt x="1554" y="132"/>
                    </a:lnTo>
                    <a:lnTo>
                      <a:pt x="1548" y="144"/>
                    </a:lnTo>
                    <a:lnTo>
                      <a:pt x="1536" y="156"/>
                    </a:lnTo>
                    <a:lnTo>
                      <a:pt x="1518" y="192"/>
                    </a:lnTo>
                    <a:lnTo>
                      <a:pt x="1518" y="210"/>
                    </a:lnTo>
                    <a:lnTo>
                      <a:pt x="1494" y="246"/>
                    </a:lnTo>
                    <a:lnTo>
                      <a:pt x="1488" y="246"/>
                    </a:lnTo>
                    <a:lnTo>
                      <a:pt x="1482" y="252"/>
                    </a:lnTo>
                    <a:lnTo>
                      <a:pt x="1464" y="252"/>
                    </a:lnTo>
                    <a:lnTo>
                      <a:pt x="1452" y="240"/>
                    </a:lnTo>
                    <a:lnTo>
                      <a:pt x="1446" y="246"/>
                    </a:lnTo>
                    <a:lnTo>
                      <a:pt x="1434" y="246"/>
                    </a:lnTo>
                    <a:lnTo>
                      <a:pt x="1428" y="240"/>
                    </a:lnTo>
                    <a:lnTo>
                      <a:pt x="1416" y="240"/>
                    </a:lnTo>
                    <a:lnTo>
                      <a:pt x="1410" y="246"/>
                    </a:lnTo>
                    <a:lnTo>
                      <a:pt x="1410" y="252"/>
                    </a:lnTo>
                    <a:lnTo>
                      <a:pt x="1404" y="258"/>
                    </a:lnTo>
                    <a:lnTo>
                      <a:pt x="1380" y="258"/>
                    </a:lnTo>
                    <a:lnTo>
                      <a:pt x="1368" y="246"/>
                    </a:lnTo>
                    <a:lnTo>
                      <a:pt x="1368" y="240"/>
                    </a:lnTo>
                    <a:lnTo>
                      <a:pt x="1350" y="234"/>
                    </a:lnTo>
                    <a:lnTo>
                      <a:pt x="1344" y="228"/>
                    </a:lnTo>
                    <a:lnTo>
                      <a:pt x="1338" y="216"/>
                    </a:lnTo>
                    <a:lnTo>
                      <a:pt x="1332" y="216"/>
                    </a:lnTo>
                    <a:lnTo>
                      <a:pt x="1320" y="222"/>
                    </a:lnTo>
                    <a:lnTo>
                      <a:pt x="1314" y="228"/>
                    </a:lnTo>
                    <a:lnTo>
                      <a:pt x="1302" y="234"/>
                    </a:lnTo>
                    <a:lnTo>
                      <a:pt x="1278" y="234"/>
                    </a:lnTo>
                    <a:lnTo>
                      <a:pt x="1278" y="222"/>
                    </a:lnTo>
                    <a:lnTo>
                      <a:pt x="1272" y="222"/>
                    </a:lnTo>
                    <a:lnTo>
                      <a:pt x="1260" y="228"/>
                    </a:lnTo>
                    <a:lnTo>
                      <a:pt x="1260" y="252"/>
                    </a:lnTo>
                    <a:lnTo>
                      <a:pt x="1272" y="264"/>
                    </a:lnTo>
                    <a:lnTo>
                      <a:pt x="1272" y="270"/>
                    </a:lnTo>
                    <a:lnTo>
                      <a:pt x="1278" y="276"/>
                    </a:lnTo>
                    <a:lnTo>
                      <a:pt x="1272" y="282"/>
                    </a:lnTo>
                    <a:lnTo>
                      <a:pt x="1254" y="282"/>
                    </a:lnTo>
                    <a:lnTo>
                      <a:pt x="1230" y="270"/>
                    </a:lnTo>
                    <a:lnTo>
                      <a:pt x="1224" y="270"/>
                    </a:lnTo>
                    <a:lnTo>
                      <a:pt x="1212" y="264"/>
                    </a:lnTo>
                    <a:lnTo>
                      <a:pt x="1212" y="270"/>
                    </a:lnTo>
                    <a:lnTo>
                      <a:pt x="1206" y="276"/>
                    </a:lnTo>
                    <a:lnTo>
                      <a:pt x="1200" y="276"/>
                    </a:lnTo>
                    <a:lnTo>
                      <a:pt x="1188" y="264"/>
                    </a:lnTo>
                    <a:lnTo>
                      <a:pt x="1176" y="264"/>
                    </a:lnTo>
                    <a:lnTo>
                      <a:pt x="1158" y="282"/>
                    </a:lnTo>
                    <a:lnTo>
                      <a:pt x="1158" y="288"/>
                    </a:lnTo>
                    <a:lnTo>
                      <a:pt x="1128" y="288"/>
                    </a:lnTo>
                    <a:lnTo>
                      <a:pt x="1122" y="300"/>
                    </a:lnTo>
                    <a:lnTo>
                      <a:pt x="1104" y="300"/>
                    </a:lnTo>
                    <a:lnTo>
                      <a:pt x="1092" y="312"/>
                    </a:lnTo>
                    <a:lnTo>
                      <a:pt x="1092" y="324"/>
                    </a:lnTo>
                    <a:lnTo>
                      <a:pt x="1086" y="330"/>
                    </a:lnTo>
                    <a:lnTo>
                      <a:pt x="1050" y="330"/>
                    </a:lnTo>
                    <a:lnTo>
                      <a:pt x="1044" y="318"/>
                    </a:lnTo>
                    <a:lnTo>
                      <a:pt x="1032" y="318"/>
                    </a:lnTo>
                    <a:lnTo>
                      <a:pt x="1002" y="282"/>
                    </a:lnTo>
                    <a:lnTo>
                      <a:pt x="1002" y="252"/>
                    </a:lnTo>
                    <a:lnTo>
                      <a:pt x="978" y="228"/>
                    </a:lnTo>
                    <a:lnTo>
                      <a:pt x="972" y="216"/>
                    </a:lnTo>
                    <a:lnTo>
                      <a:pt x="972" y="210"/>
                    </a:lnTo>
                    <a:lnTo>
                      <a:pt x="978" y="198"/>
                    </a:lnTo>
                    <a:lnTo>
                      <a:pt x="978" y="192"/>
                    </a:lnTo>
                    <a:lnTo>
                      <a:pt x="984" y="180"/>
                    </a:lnTo>
                    <a:lnTo>
                      <a:pt x="996" y="138"/>
                    </a:lnTo>
                    <a:lnTo>
                      <a:pt x="1008" y="126"/>
                    </a:lnTo>
                    <a:lnTo>
                      <a:pt x="1014" y="114"/>
                    </a:lnTo>
                    <a:lnTo>
                      <a:pt x="1014" y="102"/>
                    </a:lnTo>
                    <a:lnTo>
                      <a:pt x="1008" y="102"/>
                    </a:lnTo>
                    <a:lnTo>
                      <a:pt x="1002" y="96"/>
                    </a:lnTo>
                    <a:lnTo>
                      <a:pt x="1002" y="66"/>
                    </a:lnTo>
                    <a:lnTo>
                      <a:pt x="996" y="66"/>
                    </a:lnTo>
                    <a:lnTo>
                      <a:pt x="984" y="72"/>
                    </a:lnTo>
                    <a:lnTo>
                      <a:pt x="978" y="72"/>
                    </a:lnTo>
                    <a:lnTo>
                      <a:pt x="972" y="66"/>
                    </a:lnTo>
                    <a:lnTo>
                      <a:pt x="972" y="60"/>
                    </a:lnTo>
                    <a:lnTo>
                      <a:pt x="978" y="54"/>
                    </a:lnTo>
                    <a:lnTo>
                      <a:pt x="984" y="42"/>
                    </a:lnTo>
                    <a:lnTo>
                      <a:pt x="984" y="24"/>
                    </a:lnTo>
                    <a:lnTo>
                      <a:pt x="978" y="12"/>
                    </a:lnTo>
                    <a:lnTo>
                      <a:pt x="966" y="0"/>
                    </a:lnTo>
                    <a:lnTo>
                      <a:pt x="960" y="12"/>
                    </a:lnTo>
                    <a:lnTo>
                      <a:pt x="936" y="6"/>
                    </a:lnTo>
                    <a:lnTo>
                      <a:pt x="936" y="42"/>
                    </a:lnTo>
                    <a:lnTo>
                      <a:pt x="930" y="48"/>
                    </a:lnTo>
                    <a:lnTo>
                      <a:pt x="918" y="48"/>
                    </a:lnTo>
                    <a:lnTo>
                      <a:pt x="918" y="60"/>
                    </a:lnTo>
                    <a:lnTo>
                      <a:pt x="894" y="60"/>
                    </a:lnTo>
                    <a:lnTo>
                      <a:pt x="882" y="66"/>
                    </a:lnTo>
                    <a:lnTo>
                      <a:pt x="858" y="90"/>
                    </a:lnTo>
                    <a:lnTo>
                      <a:pt x="846" y="96"/>
                    </a:lnTo>
                    <a:lnTo>
                      <a:pt x="828" y="96"/>
                    </a:lnTo>
                    <a:lnTo>
                      <a:pt x="822" y="90"/>
                    </a:lnTo>
                    <a:lnTo>
                      <a:pt x="804" y="90"/>
                    </a:lnTo>
                    <a:lnTo>
                      <a:pt x="798" y="96"/>
                    </a:lnTo>
                    <a:lnTo>
                      <a:pt x="798" y="108"/>
                    </a:lnTo>
                    <a:lnTo>
                      <a:pt x="792" y="120"/>
                    </a:lnTo>
                    <a:lnTo>
                      <a:pt x="792" y="138"/>
                    </a:lnTo>
                    <a:lnTo>
                      <a:pt x="786" y="144"/>
                    </a:lnTo>
                    <a:lnTo>
                      <a:pt x="774" y="138"/>
                    </a:lnTo>
                    <a:lnTo>
                      <a:pt x="762" y="126"/>
                    </a:lnTo>
                    <a:lnTo>
                      <a:pt x="756" y="114"/>
                    </a:lnTo>
                    <a:lnTo>
                      <a:pt x="750" y="108"/>
                    </a:lnTo>
                    <a:lnTo>
                      <a:pt x="738" y="108"/>
                    </a:lnTo>
                    <a:lnTo>
                      <a:pt x="732" y="114"/>
                    </a:lnTo>
                    <a:lnTo>
                      <a:pt x="720" y="108"/>
                    </a:lnTo>
                    <a:lnTo>
                      <a:pt x="708" y="114"/>
                    </a:lnTo>
                    <a:lnTo>
                      <a:pt x="696" y="114"/>
                    </a:lnTo>
                    <a:lnTo>
                      <a:pt x="696" y="96"/>
                    </a:lnTo>
                    <a:lnTo>
                      <a:pt x="690" y="90"/>
                    </a:lnTo>
                    <a:lnTo>
                      <a:pt x="648" y="90"/>
                    </a:lnTo>
                    <a:lnTo>
                      <a:pt x="648" y="84"/>
                    </a:lnTo>
                    <a:lnTo>
                      <a:pt x="642" y="78"/>
                    </a:lnTo>
                    <a:lnTo>
                      <a:pt x="642" y="108"/>
                    </a:lnTo>
                    <a:lnTo>
                      <a:pt x="660" y="126"/>
                    </a:lnTo>
                    <a:lnTo>
                      <a:pt x="672" y="132"/>
                    </a:lnTo>
                    <a:lnTo>
                      <a:pt x="678" y="138"/>
                    </a:lnTo>
                    <a:lnTo>
                      <a:pt x="678" y="168"/>
                    </a:lnTo>
                    <a:lnTo>
                      <a:pt x="672" y="174"/>
                    </a:lnTo>
                    <a:lnTo>
                      <a:pt x="684" y="186"/>
                    </a:lnTo>
                    <a:lnTo>
                      <a:pt x="690" y="198"/>
                    </a:lnTo>
                    <a:lnTo>
                      <a:pt x="690" y="228"/>
                    </a:lnTo>
                    <a:lnTo>
                      <a:pt x="738" y="234"/>
                    </a:lnTo>
                    <a:lnTo>
                      <a:pt x="744" y="240"/>
                    </a:lnTo>
                    <a:lnTo>
                      <a:pt x="744" y="246"/>
                    </a:lnTo>
                    <a:lnTo>
                      <a:pt x="738" y="258"/>
                    </a:lnTo>
                    <a:lnTo>
                      <a:pt x="732" y="264"/>
                    </a:lnTo>
                    <a:lnTo>
                      <a:pt x="690" y="264"/>
                    </a:lnTo>
                    <a:lnTo>
                      <a:pt x="690" y="294"/>
                    </a:lnTo>
                    <a:lnTo>
                      <a:pt x="684" y="306"/>
                    </a:lnTo>
                    <a:lnTo>
                      <a:pt x="648" y="324"/>
                    </a:lnTo>
                    <a:lnTo>
                      <a:pt x="642" y="330"/>
                    </a:lnTo>
                    <a:lnTo>
                      <a:pt x="624" y="330"/>
                    </a:lnTo>
                    <a:lnTo>
                      <a:pt x="612" y="342"/>
                    </a:lnTo>
                    <a:lnTo>
                      <a:pt x="600" y="366"/>
                    </a:lnTo>
                    <a:lnTo>
                      <a:pt x="588" y="378"/>
                    </a:lnTo>
                    <a:lnTo>
                      <a:pt x="582" y="378"/>
                    </a:lnTo>
                    <a:lnTo>
                      <a:pt x="582" y="354"/>
                    </a:lnTo>
                    <a:lnTo>
                      <a:pt x="576" y="348"/>
                    </a:lnTo>
                    <a:lnTo>
                      <a:pt x="570" y="354"/>
                    </a:lnTo>
                    <a:lnTo>
                      <a:pt x="558" y="360"/>
                    </a:lnTo>
                    <a:lnTo>
                      <a:pt x="552" y="366"/>
                    </a:lnTo>
                    <a:lnTo>
                      <a:pt x="540" y="372"/>
                    </a:lnTo>
                    <a:lnTo>
                      <a:pt x="534" y="372"/>
                    </a:lnTo>
                    <a:lnTo>
                      <a:pt x="522" y="366"/>
                    </a:lnTo>
                    <a:lnTo>
                      <a:pt x="516" y="366"/>
                    </a:lnTo>
                    <a:lnTo>
                      <a:pt x="504" y="354"/>
                    </a:lnTo>
                    <a:lnTo>
                      <a:pt x="504" y="348"/>
                    </a:lnTo>
                    <a:lnTo>
                      <a:pt x="498" y="336"/>
                    </a:lnTo>
                    <a:lnTo>
                      <a:pt x="492" y="330"/>
                    </a:lnTo>
                    <a:lnTo>
                      <a:pt x="468" y="330"/>
                    </a:lnTo>
                    <a:lnTo>
                      <a:pt x="468" y="300"/>
                    </a:lnTo>
                    <a:lnTo>
                      <a:pt x="462" y="288"/>
                    </a:lnTo>
                    <a:lnTo>
                      <a:pt x="462" y="276"/>
                    </a:lnTo>
                    <a:lnTo>
                      <a:pt x="456" y="270"/>
                    </a:lnTo>
                    <a:lnTo>
                      <a:pt x="456" y="258"/>
                    </a:lnTo>
                    <a:lnTo>
                      <a:pt x="450" y="258"/>
                    </a:lnTo>
                    <a:lnTo>
                      <a:pt x="420" y="288"/>
                    </a:lnTo>
                    <a:lnTo>
                      <a:pt x="396" y="264"/>
                    </a:lnTo>
                    <a:lnTo>
                      <a:pt x="390" y="264"/>
                    </a:lnTo>
                    <a:lnTo>
                      <a:pt x="384" y="270"/>
                    </a:lnTo>
                    <a:lnTo>
                      <a:pt x="384" y="288"/>
                    </a:lnTo>
                    <a:lnTo>
                      <a:pt x="318" y="294"/>
                    </a:lnTo>
                    <a:lnTo>
                      <a:pt x="306" y="282"/>
                    </a:lnTo>
                    <a:lnTo>
                      <a:pt x="288" y="282"/>
                    </a:lnTo>
                    <a:lnTo>
                      <a:pt x="282" y="288"/>
                    </a:lnTo>
                    <a:lnTo>
                      <a:pt x="276" y="300"/>
                    </a:lnTo>
                    <a:lnTo>
                      <a:pt x="276" y="312"/>
                    </a:lnTo>
                    <a:lnTo>
                      <a:pt x="282" y="324"/>
                    </a:lnTo>
                    <a:lnTo>
                      <a:pt x="282" y="336"/>
                    </a:lnTo>
                    <a:lnTo>
                      <a:pt x="306" y="348"/>
                    </a:lnTo>
                    <a:lnTo>
                      <a:pt x="318" y="342"/>
                    </a:lnTo>
                    <a:lnTo>
                      <a:pt x="330" y="354"/>
                    </a:lnTo>
                    <a:lnTo>
                      <a:pt x="330" y="360"/>
                    </a:lnTo>
                    <a:lnTo>
                      <a:pt x="336" y="366"/>
                    </a:lnTo>
                    <a:lnTo>
                      <a:pt x="336" y="372"/>
                    </a:lnTo>
                    <a:lnTo>
                      <a:pt x="330" y="378"/>
                    </a:lnTo>
                    <a:lnTo>
                      <a:pt x="300" y="378"/>
                    </a:lnTo>
                    <a:lnTo>
                      <a:pt x="294" y="372"/>
                    </a:lnTo>
                    <a:lnTo>
                      <a:pt x="264" y="378"/>
                    </a:lnTo>
                    <a:lnTo>
                      <a:pt x="258" y="444"/>
                    </a:lnTo>
                    <a:lnTo>
                      <a:pt x="264" y="444"/>
                    </a:lnTo>
                    <a:lnTo>
                      <a:pt x="276" y="456"/>
                    </a:lnTo>
                    <a:lnTo>
                      <a:pt x="288" y="462"/>
                    </a:lnTo>
                    <a:lnTo>
                      <a:pt x="294" y="468"/>
                    </a:lnTo>
                    <a:lnTo>
                      <a:pt x="294" y="492"/>
                    </a:lnTo>
                    <a:lnTo>
                      <a:pt x="300" y="498"/>
                    </a:lnTo>
                    <a:lnTo>
                      <a:pt x="300" y="504"/>
                    </a:lnTo>
                    <a:lnTo>
                      <a:pt x="312" y="516"/>
                    </a:lnTo>
                    <a:lnTo>
                      <a:pt x="318" y="528"/>
                    </a:lnTo>
                    <a:lnTo>
                      <a:pt x="318" y="540"/>
                    </a:lnTo>
                    <a:lnTo>
                      <a:pt x="312" y="552"/>
                    </a:lnTo>
                    <a:lnTo>
                      <a:pt x="300" y="564"/>
                    </a:lnTo>
                    <a:lnTo>
                      <a:pt x="306" y="612"/>
                    </a:lnTo>
                    <a:lnTo>
                      <a:pt x="288" y="660"/>
                    </a:lnTo>
                    <a:lnTo>
                      <a:pt x="282" y="732"/>
                    </a:lnTo>
                    <a:lnTo>
                      <a:pt x="282" y="762"/>
                    </a:lnTo>
                    <a:lnTo>
                      <a:pt x="276" y="774"/>
                    </a:lnTo>
                    <a:lnTo>
                      <a:pt x="270" y="780"/>
                    </a:lnTo>
                    <a:lnTo>
                      <a:pt x="252" y="780"/>
                    </a:lnTo>
                    <a:lnTo>
                      <a:pt x="252" y="774"/>
                    </a:lnTo>
                    <a:lnTo>
                      <a:pt x="240" y="762"/>
                    </a:lnTo>
                    <a:lnTo>
                      <a:pt x="222" y="762"/>
                    </a:lnTo>
                    <a:lnTo>
                      <a:pt x="216" y="768"/>
                    </a:lnTo>
                    <a:lnTo>
                      <a:pt x="210" y="780"/>
                    </a:lnTo>
                    <a:lnTo>
                      <a:pt x="204" y="786"/>
                    </a:lnTo>
                    <a:lnTo>
                      <a:pt x="174" y="780"/>
                    </a:lnTo>
                    <a:lnTo>
                      <a:pt x="168" y="792"/>
                    </a:lnTo>
                    <a:lnTo>
                      <a:pt x="138" y="792"/>
                    </a:lnTo>
                    <a:lnTo>
                      <a:pt x="126" y="798"/>
                    </a:lnTo>
                    <a:lnTo>
                      <a:pt x="120" y="804"/>
                    </a:lnTo>
                    <a:lnTo>
                      <a:pt x="108" y="810"/>
                    </a:lnTo>
                    <a:lnTo>
                      <a:pt x="96" y="822"/>
                    </a:lnTo>
                    <a:lnTo>
                      <a:pt x="96" y="828"/>
                    </a:lnTo>
                    <a:lnTo>
                      <a:pt x="90" y="834"/>
                    </a:lnTo>
                    <a:lnTo>
                      <a:pt x="90" y="840"/>
                    </a:lnTo>
                    <a:lnTo>
                      <a:pt x="66" y="840"/>
                    </a:lnTo>
                    <a:lnTo>
                      <a:pt x="66" y="894"/>
                    </a:lnTo>
                    <a:lnTo>
                      <a:pt x="48" y="912"/>
                    </a:lnTo>
                    <a:lnTo>
                      <a:pt x="48" y="924"/>
                    </a:lnTo>
                    <a:lnTo>
                      <a:pt x="54" y="930"/>
                    </a:lnTo>
                    <a:lnTo>
                      <a:pt x="54" y="948"/>
                    </a:lnTo>
                    <a:lnTo>
                      <a:pt x="60" y="954"/>
                    </a:lnTo>
                    <a:lnTo>
                      <a:pt x="54" y="954"/>
                    </a:lnTo>
                    <a:lnTo>
                      <a:pt x="48" y="948"/>
                    </a:lnTo>
                    <a:lnTo>
                      <a:pt x="18" y="978"/>
                    </a:lnTo>
                    <a:lnTo>
                      <a:pt x="12" y="990"/>
                    </a:lnTo>
                    <a:lnTo>
                      <a:pt x="12" y="1014"/>
                    </a:lnTo>
                    <a:lnTo>
                      <a:pt x="18" y="1020"/>
                    </a:lnTo>
                    <a:lnTo>
                      <a:pt x="6" y="1026"/>
                    </a:lnTo>
                    <a:lnTo>
                      <a:pt x="0" y="1032"/>
                    </a:lnTo>
                    <a:lnTo>
                      <a:pt x="0" y="1044"/>
                    </a:lnTo>
                    <a:lnTo>
                      <a:pt x="6" y="1050"/>
                    </a:lnTo>
                    <a:lnTo>
                      <a:pt x="18" y="1056"/>
                    </a:lnTo>
                    <a:lnTo>
                      <a:pt x="24" y="1080"/>
                    </a:lnTo>
                    <a:lnTo>
                      <a:pt x="24" y="1086"/>
                    </a:lnTo>
                    <a:lnTo>
                      <a:pt x="30" y="1092"/>
                    </a:lnTo>
                    <a:lnTo>
                      <a:pt x="42" y="1116"/>
                    </a:lnTo>
                    <a:lnTo>
                      <a:pt x="54" y="1128"/>
                    </a:lnTo>
                    <a:lnTo>
                      <a:pt x="66" y="1134"/>
                    </a:lnTo>
                    <a:lnTo>
                      <a:pt x="90" y="1158"/>
                    </a:lnTo>
                    <a:lnTo>
                      <a:pt x="84" y="1164"/>
                    </a:lnTo>
                    <a:lnTo>
                      <a:pt x="78" y="1176"/>
                    </a:lnTo>
                    <a:lnTo>
                      <a:pt x="66" y="1182"/>
                    </a:lnTo>
                    <a:lnTo>
                      <a:pt x="60" y="1188"/>
                    </a:lnTo>
                    <a:lnTo>
                      <a:pt x="102" y="1188"/>
                    </a:lnTo>
                    <a:lnTo>
                      <a:pt x="114" y="1194"/>
                    </a:lnTo>
                    <a:lnTo>
                      <a:pt x="120" y="1194"/>
                    </a:lnTo>
                    <a:lnTo>
                      <a:pt x="126" y="1200"/>
                    </a:lnTo>
                    <a:lnTo>
                      <a:pt x="126" y="1212"/>
                    </a:lnTo>
                    <a:lnTo>
                      <a:pt x="132" y="1224"/>
                    </a:lnTo>
                    <a:lnTo>
                      <a:pt x="138" y="1230"/>
                    </a:lnTo>
                    <a:lnTo>
                      <a:pt x="138" y="1236"/>
                    </a:lnTo>
                    <a:lnTo>
                      <a:pt x="198" y="1230"/>
                    </a:lnTo>
                    <a:lnTo>
                      <a:pt x="252" y="1182"/>
                    </a:lnTo>
                    <a:lnTo>
                      <a:pt x="252" y="1194"/>
                    </a:lnTo>
                    <a:lnTo>
                      <a:pt x="258" y="1206"/>
                    </a:lnTo>
                    <a:lnTo>
                      <a:pt x="258" y="1224"/>
                    </a:lnTo>
                    <a:lnTo>
                      <a:pt x="252" y="1230"/>
                    </a:lnTo>
                    <a:lnTo>
                      <a:pt x="252" y="1242"/>
                    </a:lnTo>
                    <a:lnTo>
                      <a:pt x="246" y="1254"/>
                    </a:lnTo>
                    <a:lnTo>
                      <a:pt x="246" y="1266"/>
                    </a:lnTo>
                    <a:lnTo>
                      <a:pt x="252" y="1284"/>
                    </a:lnTo>
                    <a:lnTo>
                      <a:pt x="252" y="1314"/>
                    </a:lnTo>
                    <a:lnTo>
                      <a:pt x="264" y="1308"/>
                    </a:lnTo>
                    <a:lnTo>
                      <a:pt x="264" y="1314"/>
                    </a:lnTo>
                    <a:lnTo>
                      <a:pt x="270" y="1320"/>
                    </a:lnTo>
                    <a:lnTo>
                      <a:pt x="282" y="1320"/>
                    </a:lnTo>
                    <a:lnTo>
                      <a:pt x="282" y="1314"/>
                    </a:lnTo>
                    <a:lnTo>
                      <a:pt x="288" y="1314"/>
                    </a:lnTo>
                    <a:lnTo>
                      <a:pt x="294" y="1308"/>
                    </a:lnTo>
                    <a:lnTo>
                      <a:pt x="324" y="1308"/>
                    </a:lnTo>
                    <a:lnTo>
                      <a:pt x="336" y="1314"/>
                    </a:lnTo>
                    <a:lnTo>
                      <a:pt x="366" y="1314"/>
                    </a:lnTo>
                    <a:lnTo>
                      <a:pt x="372" y="1320"/>
                    </a:lnTo>
                    <a:lnTo>
                      <a:pt x="372" y="1326"/>
                    </a:lnTo>
                    <a:lnTo>
                      <a:pt x="390" y="1326"/>
                    </a:lnTo>
                    <a:lnTo>
                      <a:pt x="414" y="1314"/>
                    </a:lnTo>
                    <a:lnTo>
                      <a:pt x="420" y="1308"/>
                    </a:lnTo>
                    <a:lnTo>
                      <a:pt x="432" y="1290"/>
                    </a:lnTo>
                    <a:lnTo>
                      <a:pt x="468" y="1290"/>
                    </a:lnTo>
                    <a:lnTo>
                      <a:pt x="474" y="1260"/>
                    </a:lnTo>
                    <a:lnTo>
                      <a:pt x="510" y="1260"/>
                    </a:lnTo>
                    <a:lnTo>
                      <a:pt x="510" y="1254"/>
                    </a:lnTo>
                    <a:lnTo>
                      <a:pt x="516" y="1248"/>
                    </a:lnTo>
                    <a:lnTo>
                      <a:pt x="522" y="1236"/>
                    </a:lnTo>
                    <a:lnTo>
                      <a:pt x="528" y="1230"/>
                    </a:lnTo>
                    <a:lnTo>
                      <a:pt x="540" y="1224"/>
                    </a:lnTo>
                    <a:lnTo>
                      <a:pt x="576" y="1224"/>
                    </a:lnTo>
                    <a:lnTo>
                      <a:pt x="588" y="1212"/>
                    </a:lnTo>
                    <a:lnTo>
                      <a:pt x="600" y="1224"/>
                    </a:lnTo>
                    <a:lnTo>
                      <a:pt x="606" y="1224"/>
                    </a:lnTo>
                    <a:lnTo>
                      <a:pt x="606" y="1218"/>
                    </a:lnTo>
                    <a:lnTo>
                      <a:pt x="618" y="1212"/>
                    </a:lnTo>
                    <a:lnTo>
                      <a:pt x="630" y="1212"/>
                    </a:lnTo>
                    <a:lnTo>
                      <a:pt x="630" y="1242"/>
                    </a:lnTo>
                    <a:lnTo>
                      <a:pt x="624" y="1248"/>
                    </a:lnTo>
                    <a:lnTo>
                      <a:pt x="624" y="1254"/>
                    </a:lnTo>
                    <a:lnTo>
                      <a:pt x="618" y="1260"/>
                    </a:lnTo>
                    <a:lnTo>
                      <a:pt x="618" y="1290"/>
                    </a:lnTo>
                    <a:lnTo>
                      <a:pt x="624" y="1296"/>
                    </a:lnTo>
                    <a:lnTo>
                      <a:pt x="630" y="1308"/>
                    </a:lnTo>
                    <a:lnTo>
                      <a:pt x="630" y="1326"/>
                    </a:lnTo>
                    <a:lnTo>
                      <a:pt x="624" y="1332"/>
                    </a:lnTo>
                    <a:lnTo>
                      <a:pt x="624" y="1344"/>
                    </a:lnTo>
                    <a:lnTo>
                      <a:pt x="636" y="1356"/>
                    </a:lnTo>
                    <a:lnTo>
                      <a:pt x="648" y="1362"/>
                    </a:lnTo>
                    <a:lnTo>
                      <a:pt x="654" y="1368"/>
                    </a:lnTo>
                    <a:lnTo>
                      <a:pt x="660" y="1398"/>
                    </a:lnTo>
                    <a:lnTo>
                      <a:pt x="684" y="1398"/>
                    </a:lnTo>
                    <a:lnTo>
                      <a:pt x="690" y="1404"/>
                    </a:lnTo>
                    <a:lnTo>
                      <a:pt x="690" y="1410"/>
                    </a:lnTo>
                    <a:lnTo>
                      <a:pt x="696" y="1422"/>
                    </a:lnTo>
                    <a:lnTo>
                      <a:pt x="696" y="1428"/>
                    </a:lnTo>
                    <a:lnTo>
                      <a:pt x="702" y="1434"/>
                    </a:lnTo>
                    <a:lnTo>
                      <a:pt x="714" y="1440"/>
                    </a:lnTo>
                    <a:lnTo>
                      <a:pt x="744" y="1440"/>
                    </a:lnTo>
                    <a:lnTo>
                      <a:pt x="750" y="1434"/>
                    </a:lnTo>
                    <a:lnTo>
                      <a:pt x="756" y="1446"/>
                    </a:lnTo>
                    <a:lnTo>
                      <a:pt x="768" y="1452"/>
                    </a:lnTo>
                    <a:lnTo>
                      <a:pt x="780" y="1452"/>
                    </a:lnTo>
                    <a:lnTo>
                      <a:pt x="786" y="1446"/>
                    </a:lnTo>
                    <a:lnTo>
                      <a:pt x="798" y="1446"/>
                    </a:lnTo>
                    <a:lnTo>
                      <a:pt x="798" y="1452"/>
                    </a:lnTo>
                    <a:lnTo>
                      <a:pt x="804" y="1464"/>
                    </a:lnTo>
                    <a:lnTo>
                      <a:pt x="816" y="1470"/>
                    </a:lnTo>
                    <a:lnTo>
                      <a:pt x="828" y="1482"/>
                    </a:lnTo>
                    <a:lnTo>
                      <a:pt x="840" y="1488"/>
                    </a:lnTo>
                    <a:lnTo>
                      <a:pt x="864" y="1488"/>
                    </a:lnTo>
                    <a:lnTo>
                      <a:pt x="864" y="1494"/>
                    </a:lnTo>
                    <a:lnTo>
                      <a:pt x="876" y="1506"/>
                    </a:lnTo>
                    <a:lnTo>
                      <a:pt x="888" y="1512"/>
                    </a:lnTo>
                    <a:lnTo>
                      <a:pt x="894" y="1518"/>
                    </a:lnTo>
                    <a:lnTo>
                      <a:pt x="954" y="1518"/>
                    </a:lnTo>
                    <a:lnTo>
                      <a:pt x="978" y="1530"/>
                    </a:lnTo>
                    <a:lnTo>
                      <a:pt x="984" y="1542"/>
                    </a:lnTo>
                    <a:lnTo>
                      <a:pt x="990" y="1548"/>
                    </a:lnTo>
                    <a:lnTo>
                      <a:pt x="990" y="1578"/>
                    </a:lnTo>
                    <a:lnTo>
                      <a:pt x="996" y="1590"/>
                    </a:lnTo>
                    <a:lnTo>
                      <a:pt x="1002" y="1596"/>
                    </a:lnTo>
                    <a:lnTo>
                      <a:pt x="1008" y="1608"/>
                    </a:lnTo>
                    <a:lnTo>
                      <a:pt x="1008" y="1638"/>
                    </a:lnTo>
                    <a:lnTo>
                      <a:pt x="990" y="1638"/>
                    </a:lnTo>
                    <a:lnTo>
                      <a:pt x="990" y="1644"/>
                    </a:lnTo>
                    <a:lnTo>
                      <a:pt x="996" y="1650"/>
                    </a:lnTo>
                    <a:lnTo>
                      <a:pt x="1002" y="1662"/>
                    </a:lnTo>
                    <a:lnTo>
                      <a:pt x="1014" y="1668"/>
                    </a:lnTo>
                    <a:lnTo>
                      <a:pt x="1020" y="1674"/>
                    </a:lnTo>
                    <a:lnTo>
                      <a:pt x="1014" y="1686"/>
                    </a:lnTo>
                    <a:lnTo>
                      <a:pt x="1014" y="1728"/>
                    </a:lnTo>
                    <a:lnTo>
                      <a:pt x="1020" y="1734"/>
                    </a:lnTo>
                    <a:lnTo>
                      <a:pt x="1050" y="1740"/>
                    </a:lnTo>
                    <a:lnTo>
                      <a:pt x="1098" y="1746"/>
                    </a:lnTo>
                    <a:lnTo>
                      <a:pt x="1158" y="1746"/>
                    </a:lnTo>
                    <a:lnTo>
                      <a:pt x="1158" y="1752"/>
                    </a:lnTo>
                    <a:lnTo>
                      <a:pt x="1152" y="1758"/>
                    </a:lnTo>
                    <a:lnTo>
                      <a:pt x="1152" y="1770"/>
                    </a:lnTo>
                    <a:lnTo>
                      <a:pt x="1146" y="1788"/>
                    </a:lnTo>
                    <a:lnTo>
                      <a:pt x="1146" y="1800"/>
                    </a:lnTo>
                    <a:lnTo>
                      <a:pt x="1152" y="1812"/>
                    </a:lnTo>
                    <a:lnTo>
                      <a:pt x="1164" y="1818"/>
                    </a:lnTo>
                    <a:lnTo>
                      <a:pt x="1170" y="1824"/>
                    </a:lnTo>
                    <a:lnTo>
                      <a:pt x="1194" y="1836"/>
                    </a:lnTo>
                    <a:lnTo>
                      <a:pt x="1206" y="1848"/>
                    </a:lnTo>
                    <a:lnTo>
                      <a:pt x="1212" y="1860"/>
                    </a:lnTo>
                    <a:lnTo>
                      <a:pt x="1224" y="1896"/>
                    </a:lnTo>
                    <a:lnTo>
                      <a:pt x="1224" y="1908"/>
                    </a:lnTo>
                    <a:lnTo>
                      <a:pt x="1218" y="1920"/>
                    </a:lnTo>
                    <a:lnTo>
                      <a:pt x="1218" y="1944"/>
                    </a:lnTo>
                    <a:lnTo>
                      <a:pt x="1212" y="1950"/>
                    </a:lnTo>
                    <a:lnTo>
                      <a:pt x="1212" y="1956"/>
                    </a:lnTo>
                    <a:lnTo>
                      <a:pt x="1218" y="1968"/>
                    </a:lnTo>
                    <a:lnTo>
                      <a:pt x="1212" y="1980"/>
                    </a:lnTo>
                    <a:lnTo>
                      <a:pt x="1206" y="1986"/>
                    </a:lnTo>
                    <a:lnTo>
                      <a:pt x="1200" y="1998"/>
                    </a:lnTo>
                    <a:lnTo>
                      <a:pt x="1200" y="2022"/>
                    </a:lnTo>
                    <a:lnTo>
                      <a:pt x="1206" y="2028"/>
                    </a:lnTo>
                    <a:lnTo>
                      <a:pt x="1218" y="2034"/>
                    </a:lnTo>
                    <a:lnTo>
                      <a:pt x="1212" y="2040"/>
                    </a:lnTo>
                    <a:lnTo>
                      <a:pt x="1200" y="2046"/>
                    </a:lnTo>
                    <a:lnTo>
                      <a:pt x="1194" y="2052"/>
                    </a:lnTo>
                    <a:lnTo>
                      <a:pt x="1194" y="2064"/>
                    </a:lnTo>
                    <a:lnTo>
                      <a:pt x="1200" y="2070"/>
                    </a:lnTo>
                    <a:lnTo>
                      <a:pt x="1212" y="2076"/>
                    </a:lnTo>
                    <a:lnTo>
                      <a:pt x="1212" y="2112"/>
                    </a:lnTo>
                    <a:lnTo>
                      <a:pt x="1224" y="2112"/>
                    </a:lnTo>
                    <a:lnTo>
                      <a:pt x="1224" y="2130"/>
                    </a:lnTo>
                    <a:lnTo>
                      <a:pt x="1218" y="2142"/>
                    </a:lnTo>
                    <a:lnTo>
                      <a:pt x="1218" y="2184"/>
                    </a:lnTo>
                    <a:lnTo>
                      <a:pt x="1224" y="2196"/>
                    </a:lnTo>
                    <a:lnTo>
                      <a:pt x="1230" y="2202"/>
                    </a:lnTo>
                    <a:lnTo>
                      <a:pt x="1266" y="2214"/>
                    </a:lnTo>
                    <a:lnTo>
                      <a:pt x="1308" y="2220"/>
                    </a:lnTo>
                    <a:lnTo>
                      <a:pt x="1380" y="2220"/>
                    </a:lnTo>
                    <a:lnTo>
                      <a:pt x="1392" y="2226"/>
                    </a:lnTo>
                    <a:lnTo>
                      <a:pt x="1398" y="2232"/>
                    </a:lnTo>
                    <a:lnTo>
                      <a:pt x="1398" y="2256"/>
                    </a:lnTo>
                    <a:lnTo>
                      <a:pt x="1404" y="2274"/>
                    </a:lnTo>
                    <a:lnTo>
                      <a:pt x="1404" y="2298"/>
                    </a:lnTo>
                    <a:lnTo>
                      <a:pt x="1410" y="2316"/>
                    </a:lnTo>
                    <a:lnTo>
                      <a:pt x="1410" y="2334"/>
                    </a:lnTo>
                    <a:lnTo>
                      <a:pt x="1422" y="2358"/>
                    </a:lnTo>
                    <a:lnTo>
                      <a:pt x="1434" y="2364"/>
                    </a:lnTo>
                    <a:lnTo>
                      <a:pt x="1446" y="2364"/>
                    </a:lnTo>
                    <a:lnTo>
                      <a:pt x="1464" y="2346"/>
                    </a:lnTo>
                    <a:lnTo>
                      <a:pt x="1476" y="2346"/>
                    </a:lnTo>
                    <a:lnTo>
                      <a:pt x="1488" y="2352"/>
                    </a:lnTo>
                    <a:lnTo>
                      <a:pt x="1500" y="2364"/>
                    </a:lnTo>
                    <a:lnTo>
                      <a:pt x="1506" y="2376"/>
                    </a:lnTo>
                    <a:lnTo>
                      <a:pt x="1506" y="2394"/>
                    </a:lnTo>
                    <a:lnTo>
                      <a:pt x="1500" y="2412"/>
                    </a:lnTo>
                    <a:lnTo>
                      <a:pt x="1500" y="2442"/>
                    </a:lnTo>
                    <a:lnTo>
                      <a:pt x="1494" y="2448"/>
                    </a:lnTo>
                    <a:lnTo>
                      <a:pt x="1494" y="2454"/>
                    </a:lnTo>
                    <a:lnTo>
                      <a:pt x="1488" y="2466"/>
                    </a:lnTo>
                    <a:lnTo>
                      <a:pt x="1488" y="2478"/>
                    </a:lnTo>
                    <a:lnTo>
                      <a:pt x="1494" y="2496"/>
                    </a:lnTo>
                    <a:lnTo>
                      <a:pt x="1506" y="2490"/>
                    </a:lnTo>
                    <a:lnTo>
                      <a:pt x="1512" y="2484"/>
                    </a:lnTo>
                    <a:lnTo>
                      <a:pt x="1530" y="2484"/>
                    </a:lnTo>
                    <a:lnTo>
                      <a:pt x="1536" y="2490"/>
                    </a:lnTo>
                    <a:lnTo>
                      <a:pt x="1548" y="2514"/>
                    </a:lnTo>
                    <a:lnTo>
                      <a:pt x="1548" y="2526"/>
                    </a:lnTo>
                    <a:lnTo>
                      <a:pt x="1554" y="2526"/>
                    </a:lnTo>
                    <a:lnTo>
                      <a:pt x="1560" y="2532"/>
                    </a:lnTo>
                    <a:lnTo>
                      <a:pt x="1560" y="2562"/>
                    </a:lnTo>
                    <a:lnTo>
                      <a:pt x="1566" y="2580"/>
                    </a:lnTo>
                    <a:lnTo>
                      <a:pt x="1566" y="2616"/>
                    </a:lnTo>
                    <a:lnTo>
                      <a:pt x="1512" y="2634"/>
                    </a:lnTo>
                    <a:lnTo>
                      <a:pt x="1506" y="2640"/>
                    </a:lnTo>
                    <a:lnTo>
                      <a:pt x="1500" y="2652"/>
                    </a:lnTo>
                    <a:lnTo>
                      <a:pt x="1500" y="2670"/>
                    </a:lnTo>
                    <a:lnTo>
                      <a:pt x="1464" y="2670"/>
                    </a:lnTo>
                    <a:lnTo>
                      <a:pt x="1464" y="2688"/>
                    </a:lnTo>
                    <a:lnTo>
                      <a:pt x="1458" y="2694"/>
                    </a:lnTo>
                    <a:lnTo>
                      <a:pt x="1452" y="2718"/>
                    </a:lnTo>
                    <a:lnTo>
                      <a:pt x="1428" y="2724"/>
                    </a:lnTo>
                    <a:lnTo>
                      <a:pt x="1428" y="2736"/>
                    </a:lnTo>
                    <a:lnTo>
                      <a:pt x="1422" y="2748"/>
                    </a:lnTo>
                    <a:lnTo>
                      <a:pt x="1422" y="2760"/>
                    </a:lnTo>
                    <a:lnTo>
                      <a:pt x="1404" y="2778"/>
                    </a:lnTo>
                    <a:lnTo>
                      <a:pt x="1392" y="2778"/>
                    </a:lnTo>
                    <a:lnTo>
                      <a:pt x="1392" y="2802"/>
                    </a:lnTo>
                    <a:lnTo>
                      <a:pt x="1386" y="2808"/>
                    </a:lnTo>
                    <a:lnTo>
                      <a:pt x="1380" y="2820"/>
                    </a:lnTo>
                    <a:lnTo>
                      <a:pt x="1374" y="2826"/>
                    </a:lnTo>
                    <a:lnTo>
                      <a:pt x="1356" y="2826"/>
                    </a:lnTo>
                    <a:lnTo>
                      <a:pt x="1350" y="2832"/>
                    </a:lnTo>
                    <a:lnTo>
                      <a:pt x="1350" y="2844"/>
                    </a:lnTo>
                    <a:lnTo>
                      <a:pt x="1344" y="2856"/>
                    </a:lnTo>
                    <a:lnTo>
                      <a:pt x="1344" y="2868"/>
                    </a:lnTo>
                    <a:lnTo>
                      <a:pt x="1368" y="2868"/>
                    </a:lnTo>
                    <a:lnTo>
                      <a:pt x="1374" y="2862"/>
                    </a:lnTo>
                    <a:lnTo>
                      <a:pt x="1386" y="2856"/>
                    </a:lnTo>
                    <a:lnTo>
                      <a:pt x="1398" y="2856"/>
                    </a:lnTo>
                    <a:lnTo>
                      <a:pt x="1404" y="2862"/>
                    </a:lnTo>
                    <a:lnTo>
                      <a:pt x="1428" y="2874"/>
                    </a:lnTo>
                    <a:lnTo>
                      <a:pt x="1434" y="2886"/>
                    </a:lnTo>
                    <a:lnTo>
                      <a:pt x="1446" y="2892"/>
                    </a:lnTo>
                    <a:lnTo>
                      <a:pt x="1452" y="2898"/>
                    </a:lnTo>
                    <a:lnTo>
                      <a:pt x="1458" y="2910"/>
                    </a:lnTo>
                    <a:lnTo>
                      <a:pt x="1470" y="2922"/>
                    </a:lnTo>
                    <a:lnTo>
                      <a:pt x="1470" y="2934"/>
                    </a:lnTo>
                    <a:lnTo>
                      <a:pt x="1482" y="2934"/>
                    </a:lnTo>
                    <a:lnTo>
                      <a:pt x="1482" y="2928"/>
                    </a:lnTo>
                    <a:lnTo>
                      <a:pt x="1494" y="2916"/>
                    </a:lnTo>
                    <a:lnTo>
                      <a:pt x="1500" y="2916"/>
                    </a:lnTo>
                    <a:lnTo>
                      <a:pt x="1512" y="2922"/>
                    </a:lnTo>
                    <a:lnTo>
                      <a:pt x="1518" y="2934"/>
                    </a:lnTo>
                    <a:lnTo>
                      <a:pt x="1536" y="2952"/>
                    </a:lnTo>
                    <a:lnTo>
                      <a:pt x="1554" y="2952"/>
                    </a:lnTo>
                    <a:lnTo>
                      <a:pt x="1572" y="2970"/>
                    </a:lnTo>
                    <a:lnTo>
                      <a:pt x="1578" y="2970"/>
                    </a:lnTo>
                    <a:lnTo>
                      <a:pt x="1578" y="2982"/>
                    </a:lnTo>
                    <a:lnTo>
                      <a:pt x="1584" y="2988"/>
                    </a:lnTo>
                    <a:lnTo>
                      <a:pt x="1596" y="2994"/>
                    </a:lnTo>
                    <a:lnTo>
                      <a:pt x="1614" y="3000"/>
                    </a:lnTo>
                    <a:lnTo>
                      <a:pt x="1626" y="3000"/>
                    </a:lnTo>
                    <a:lnTo>
                      <a:pt x="1632" y="3012"/>
                    </a:lnTo>
                    <a:lnTo>
                      <a:pt x="1638" y="3018"/>
                    </a:lnTo>
                    <a:lnTo>
                      <a:pt x="1644" y="3030"/>
                    </a:lnTo>
                    <a:lnTo>
                      <a:pt x="1662" y="3048"/>
                    </a:lnTo>
                    <a:lnTo>
                      <a:pt x="1668" y="3048"/>
                    </a:lnTo>
                    <a:lnTo>
                      <a:pt x="1680" y="3054"/>
                    </a:lnTo>
                    <a:lnTo>
                      <a:pt x="1686" y="3054"/>
                    </a:lnTo>
                    <a:lnTo>
                      <a:pt x="1686" y="3066"/>
                    </a:lnTo>
                    <a:lnTo>
                      <a:pt x="1674" y="3090"/>
                    </a:lnTo>
                    <a:lnTo>
                      <a:pt x="1668" y="3096"/>
                    </a:lnTo>
                    <a:lnTo>
                      <a:pt x="1668" y="3120"/>
                    </a:lnTo>
                    <a:lnTo>
                      <a:pt x="1674" y="3120"/>
                    </a:lnTo>
                    <a:lnTo>
                      <a:pt x="1674" y="3150"/>
                    </a:lnTo>
                    <a:lnTo>
                      <a:pt x="1692" y="3150"/>
                    </a:lnTo>
                    <a:lnTo>
                      <a:pt x="1692" y="3144"/>
                    </a:lnTo>
                    <a:lnTo>
                      <a:pt x="1698" y="3132"/>
                    </a:lnTo>
                    <a:lnTo>
                      <a:pt x="1710" y="3126"/>
                    </a:lnTo>
                    <a:lnTo>
                      <a:pt x="1716" y="3114"/>
                    </a:lnTo>
                    <a:lnTo>
                      <a:pt x="1728" y="3102"/>
                    </a:lnTo>
                    <a:lnTo>
                      <a:pt x="1734" y="3090"/>
                    </a:lnTo>
                    <a:lnTo>
                      <a:pt x="1734" y="3060"/>
                    </a:lnTo>
                    <a:lnTo>
                      <a:pt x="1728" y="3054"/>
                    </a:lnTo>
                    <a:lnTo>
                      <a:pt x="1728" y="3048"/>
                    </a:lnTo>
                    <a:lnTo>
                      <a:pt x="1746" y="3018"/>
                    </a:lnTo>
                    <a:lnTo>
                      <a:pt x="1734" y="3012"/>
                    </a:lnTo>
                    <a:lnTo>
                      <a:pt x="1728" y="3000"/>
                    </a:lnTo>
                    <a:lnTo>
                      <a:pt x="1728" y="2988"/>
                    </a:lnTo>
                    <a:lnTo>
                      <a:pt x="1740" y="2976"/>
                    </a:lnTo>
                    <a:lnTo>
                      <a:pt x="1746" y="2976"/>
                    </a:lnTo>
                    <a:lnTo>
                      <a:pt x="1746" y="2952"/>
                    </a:lnTo>
                    <a:lnTo>
                      <a:pt x="1764" y="2952"/>
                    </a:lnTo>
                    <a:lnTo>
                      <a:pt x="1776" y="2940"/>
                    </a:lnTo>
                    <a:lnTo>
                      <a:pt x="1776" y="2904"/>
                    </a:lnTo>
                    <a:lnTo>
                      <a:pt x="1782" y="2898"/>
                    </a:lnTo>
                    <a:lnTo>
                      <a:pt x="1788" y="2886"/>
                    </a:lnTo>
                    <a:lnTo>
                      <a:pt x="1800" y="2874"/>
                    </a:lnTo>
                    <a:lnTo>
                      <a:pt x="1812" y="2868"/>
                    </a:lnTo>
                    <a:lnTo>
                      <a:pt x="1818" y="2862"/>
                    </a:lnTo>
                    <a:lnTo>
                      <a:pt x="1824" y="2862"/>
                    </a:lnTo>
                    <a:lnTo>
                      <a:pt x="1824" y="2898"/>
                    </a:lnTo>
                    <a:lnTo>
                      <a:pt x="1818" y="2904"/>
                    </a:lnTo>
                    <a:lnTo>
                      <a:pt x="1818" y="2910"/>
                    </a:lnTo>
                    <a:lnTo>
                      <a:pt x="1812" y="2916"/>
                    </a:lnTo>
                    <a:lnTo>
                      <a:pt x="1812" y="2934"/>
                    </a:lnTo>
                    <a:lnTo>
                      <a:pt x="1800" y="2940"/>
                    </a:lnTo>
                    <a:lnTo>
                      <a:pt x="1800" y="2952"/>
                    </a:lnTo>
                    <a:lnTo>
                      <a:pt x="1776" y="2982"/>
                    </a:lnTo>
                    <a:lnTo>
                      <a:pt x="1746" y="3006"/>
                    </a:lnTo>
                    <a:lnTo>
                      <a:pt x="1752" y="3012"/>
                    </a:lnTo>
                    <a:lnTo>
                      <a:pt x="1770" y="3012"/>
                    </a:lnTo>
                    <a:lnTo>
                      <a:pt x="1770" y="2994"/>
                    </a:lnTo>
                    <a:lnTo>
                      <a:pt x="1776" y="2988"/>
                    </a:lnTo>
                    <a:lnTo>
                      <a:pt x="1788" y="2988"/>
                    </a:lnTo>
                    <a:lnTo>
                      <a:pt x="1794" y="2982"/>
                    </a:lnTo>
                    <a:lnTo>
                      <a:pt x="1800" y="2982"/>
                    </a:lnTo>
                    <a:lnTo>
                      <a:pt x="1812" y="2964"/>
                    </a:lnTo>
                    <a:lnTo>
                      <a:pt x="1824" y="2940"/>
                    </a:lnTo>
                    <a:lnTo>
                      <a:pt x="1848" y="2880"/>
                    </a:lnTo>
                    <a:lnTo>
                      <a:pt x="1860" y="2832"/>
                    </a:lnTo>
                    <a:lnTo>
                      <a:pt x="1872" y="2808"/>
                    </a:lnTo>
                    <a:lnTo>
                      <a:pt x="1878" y="2790"/>
                    </a:lnTo>
                    <a:lnTo>
                      <a:pt x="1884" y="2778"/>
                    </a:lnTo>
                    <a:lnTo>
                      <a:pt x="1896" y="2772"/>
                    </a:lnTo>
                    <a:lnTo>
                      <a:pt x="1902" y="2760"/>
                    </a:lnTo>
                    <a:lnTo>
                      <a:pt x="1926" y="2736"/>
                    </a:lnTo>
                    <a:lnTo>
                      <a:pt x="1926" y="2724"/>
                    </a:lnTo>
                    <a:lnTo>
                      <a:pt x="1920" y="2718"/>
                    </a:lnTo>
                    <a:lnTo>
                      <a:pt x="1938" y="2706"/>
                    </a:lnTo>
                    <a:lnTo>
                      <a:pt x="1932" y="2670"/>
                    </a:lnTo>
                    <a:lnTo>
                      <a:pt x="1938" y="2646"/>
                    </a:lnTo>
                    <a:lnTo>
                      <a:pt x="1926" y="2640"/>
                    </a:lnTo>
                    <a:lnTo>
                      <a:pt x="1932" y="2634"/>
                    </a:lnTo>
                    <a:lnTo>
                      <a:pt x="1938" y="2622"/>
                    </a:lnTo>
                    <a:lnTo>
                      <a:pt x="1938" y="2610"/>
                    </a:lnTo>
                    <a:lnTo>
                      <a:pt x="1932" y="2604"/>
                    </a:lnTo>
                    <a:lnTo>
                      <a:pt x="1920" y="2598"/>
                    </a:lnTo>
                    <a:lnTo>
                      <a:pt x="1914" y="2592"/>
                    </a:lnTo>
                    <a:lnTo>
                      <a:pt x="1914" y="2556"/>
                    </a:lnTo>
                    <a:lnTo>
                      <a:pt x="1896" y="2544"/>
                    </a:lnTo>
                    <a:lnTo>
                      <a:pt x="1920" y="2544"/>
                    </a:lnTo>
                    <a:lnTo>
                      <a:pt x="1914" y="2520"/>
                    </a:lnTo>
                    <a:lnTo>
                      <a:pt x="1902" y="2508"/>
                    </a:lnTo>
                    <a:lnTo>
                      <a:pt x="1908" y="2508"/>
                    </a:lnTo>
                    <a:lnTo>
                      <a:pt x="1920" y="2502"/>
                    </a:lnTo>
                    <a:lnTo>
                      <a:pt x="1920" y="2490"/>
                    </a:lnTo>
                    <a:lnTo>
                      <a:pt x="1914" y="2490"/>
                    </a:lnTo>
                    <a:lnTo>
                      <a:pt x="1902" y="2484"/>
                    </a:lnTo>
                    <a:lnTo>
                      <a:pt x="1896" y="2478"/>
                    </a:lnTo>
                    <a:lnTo>
                      <a:pt x="1920" y="2460"/>
                    </a:lnTo>
                    <a:lnTo>
                      <a:pt x="1932" y="2472"/>
                    </a:lnTo>
                    <a:lnTo>
                      <a:pt x="1944" y="2478"/>
                    </a:lnTo>
                    <a:lnTo>
                      <a:pt x="1950" y="2478"/>
                    </a:lnTo>
                    <a:lnTo>
                      <a:pt x="1950" y="2448"/>
                    </a:lnTo>
                    <a:lnTo>
                      <a:pt x="1962" y="2424"/>
                    </a:lnTo>
                    <a:lnTo>
                      <a:pt x="1974" y="2418"/>
                    </a:lnTo>
                    <a:lnTo>
                      <a:pt x="1980" y="2418"/>
                    </a:lnTo>
                    <a:lnTo>
                      <a:pt x="2004" y="2406"/>
                    </a:lnTo>
                    <a:lnTo>
                      <a:pt x="2010" y="2394"/>
                    </a:lnTo>
                    <a:lnTo>
                      <a:pt x="2010" y="2382"/>
                    </a:lnTo>
                    <a:lnTo>
                      <a:pt x="2016" y="2376"/>
                    </a:lnTo>
                    <a:lnTo>
                      <a:pt x="2028" y="2376"/>
                    </a:lnTo>
                    <a:lnTo>
                      <a:pt x="2034" y="2370"/>
                    </a:lnTo>
                    <a:lnTo>
                      <a:pt x="2046" y="2370"/>
                    </a:lnTo>
                    <a:lnTo>
                      <a:pt x="2046" y="2358"/>
                    </a:lnTo>
                    <a:lnTo>
                      <a:pt x="2070" y="2358"/>
                    </a:lnTo>
                    <a:lnTo>
                      <a:pt x="2070" y="2340"/>
                    </a:lnTo>
                    <a:lnTo>
                      <a:pt x="2118" y="2340"/>
                    </a:lnTo>
                    <a:lnTo>
                      <a:pt x="2124" y="2358"/>
                    </a:lnTo>
                    <a:lnTo>
                      <a:pt x="2136" y="2352"/>
                    </a:lnTo>
                    <a:lnTo>
                      <a:pt x="2118" y="2334"/>
                    </a:lnTo>
                    <a:lnTo>
                      <a:pt x="2136" y="2316"/>
                    </a:lnTo>
                    <a:lnTo>
                      <a:pt x="2142" y="2316"/>
                    </a:lnTo>
                    <a:lnTo>
                      <a:pt x="2154" y="2310"/>
                    </a:lnTo>
                    <a:lnTo>
                      <a:pt x="2178" y="2310"/>
                    </a:lnTo>
                    <a:lnTo>
                      <a:pt x="2160" y="2292"/>
                    </a:lnTo>
                    <a:lnTo>
                      <a:pt x="2172" y="2286"/>
                    </a:lnTo>
                    <a:lnTo>
                      <a:pt x="2178" y="2280"/>
                    </a:lnTo>
                    <a:lnTo>
                      <a:pt x="2190" y="2280"/>
                    </a:lnTo>
                    <a:lnTo>
                      <a:pt x="2190" y="2304"/>
                    </a:lnTo>
                    <a:lnTo>
                      <a:pt x="2196" y="2304"/>
                    </a:lnTo>
                    <a:lnTo>
                      <a:pt x="2196" y="2298"/>
                    </a:lnTo>
                    <a:lnTo>
                      <a:pt x="2202" y="2286"/>
                    </a:lnTo>
                    <a:lnTo>
                      <a:pt x="2208" y="2280"/>
                    </a:lnTo>
                    <a:lnTo>
                      <a:pt x="2244" y="2286"/>
                    </a:lnTo>
                    <a:lnTo>
                      <a:pt x="2244" y="2280"/>
                    </a:lnTo>
                    <a:lnTo>
                      <a:pt x="2250" y="2274"/>
                    </a:lnTo>
                    <a:lnTo>
                      <a:pt x="2250" y="2268"/>
                    </a:lnTo>
                    <a:lnTo>
                      <a:pt x="2256" y="2262"/>
                    </a:lnTo>
                    <a:lnTo>
                      <a:pt x="2268" y="2256"/>
                    </a:lnTo>
                    <a:lnTo>
                      <a:pt x="2274" y="2256"/>
                    </a:lnTo>
                    <a:lnTo>
                      <a:pt x="2280" y="2262"/>
                    </a:lnTo>
                    <a:lnTo>
                      <a:pt x="2280" y="2286"/>
                    </a:lnTo>
                    <a:lnTo>
                      <a:pt x="2346" y="2280"/>
                    </a:lnTo>
                    <a:lnTo>
                      <a:pt x="2352" y="2262"/>
                    </a:lnTo>
                    <a:lnTo>
                      <a:pt x="2346" y="2250"/>
                    </a:lnTo>
                    <a:lnTo>
                      <a:pt x="2352" y="2244"/>
                    </a:lnTo>
                    <a:lnTo>
                      <a:pt x="2358" y="2232"/>
                    </a:lnTo>
                    <a:lnTo>
                      <a:pt x="2370" y="2220"/>
                    </a:lnTo>
                    <a:lnTo>
                      <a:pt x="2406" y="2202"/>
                    </a:lnTo>
                    <a:lnTo>
                      <a:pt x="2418" y="2202"/>
                    </a:lnTo>
                    <a:lnTo>
                      <a:pt x="2412" y="2190"/>
                    </a:lnTo>
                    <a:lnTo>
                      <a:pt x="2412" y="2112"/>
                    </a:lnTo>
                    <a:lnTo>
                      <a:pt x="2442" y="2082"/>
                    </a:lnTo>
                    <a:lnTo>
                      <a:pt x="2442" y="2058"/>
                    </a:lnTo>
                    <a:lnTo>
                      <a:pt x="2460" y="2052"/>
                    </a:lnTo>
                    <a:lnTo>
                      <a:pt x="2460" y="2022"/>
                    </a:lnTo>
                    <a:lnTo>
                      <a:pt x="2466" y="2022"/>
                    </a:lnTo>
                    <a:lnTo>
                      <a:pt x="2472" y="2016"/>
                    </a:lnTo>
                    <a:lnTo>
                      <a:pt x="2478" y="2016"/>
                    </a:lnTo>
                    <a:lnTo>
                      <a:pt x="2478" y="2010"/>
                    </a:lnTo>
                    <a:lnTo>
                      <a:pt x="2484" y="2004"/>
                    </a:lnTo>
                    <a:lnTo>
                      <a:pt x="2484" y="1956"/>
                    </a:lnTo>
                    <a:lnTo>
                      <a:pt x="2478" y="1944"/>
                    </a:lnTo>
                    <a:lnTo>
                      <a:pt x="2478" y="1926"/>
                    </a:lnTo>
                    <a:lnTo>
                      <a:pt x="2472" y="1908"/>
                    </a:lnTo>
                    <a:lnTo>
                      <a:pt x="2484" y="1884"/>
                    </a:lnTo>
                    <a:lnTo>
                      <a:pt x="2514" y="1854"/>
                    </a:lnTo>
                    <a:lnTo>
                      <a:pt x="2514" y="1848"/>
                    </a:lnTo>
                    <a:lnTo>
                      <a:pt x="2508" y="1836"/>
                    </a:lnTo>
                    <a:lnTo>
                      <a:pt x="2508" y="1830"/>
                    </a:lnTo>
                    <a:lnTo>
                      <a:pt x="2502" y="1818"/>
                    </a:lnTo>
                    <a:lnTo>
                      <a:pt x="2508" y="1764"/>
                    </a:lnTo>
                    <a:lnTo>
                      <a:pt x="2508" y="1758"/>
                    </a:lnTo>
                    <a:lnTo>
                      <a:pt x="2514" y="1752"/>
                    </a:lnTo>
                    <a:lnTo>
                      <a:pt x="2514" y="1722"/>
                    </a:lnTo>
                    <a:lnTo>
                      <a:pt x="2520" y="1710"/>
                    </a:lnTo>
                    <a:lnTo>
                      <a:pt x="2520" y="1680"/>
                    </a:lnTo>
                    <a:lnTo>
                      <a:pt x="2508" y="1644"/>
                    </a:lnTo>
                    <a:lnTo>
                      <a:pt x="2502" y="1608"/>
                    </a:lnTo>
                    <a:lnTo>
                      <a:pt x="2502" y="1596"/>
                    </a:lnTo>
                    <a:lnTo>
                      <a:pt x="2508" y="1560"/>
                    </a:lnTo>
                    <a:lnTo>
                      <a:pt x="2508" y="1548"/>
                    </a:lnTo>
                    <a:lnTo>
                      <a:pt x="2502" y="1536"/>
                    </a:lnTo>
                    <a:lnTo>
                      <a:pt x="2502" y="1500"/>
                    </a:lnTo>
                    <a:lnTo>
                      <a:pt x="2508" y="1488"/>
                    </a:lnTo>
                    <a:lnTo>
                      <a:pt x="2520" y="1476"/>
                    </a:lnTo>
                    <a:lnTo>
                      <a:pt x="2508" y="1458"/>
                    </a:lnTo>
                    <a:lnTo>
                      <a:pt x="2520" y="1446"/>
                    </a:lnTo>
                    <a:lnTo>
                      <a:pt x="2532" y="1446"/>
                    </a:lnTo>
                    <a:lnTo>
                      <a:pt x="2532" y="1452"/>
                    </a:lnTo>
                    <a:lnTo>
                      <a:pt x="2538" y="1464"/>
                    </a:lnTo>
                    <a:lnTo>
                      <a:pt x="2544" y="1470"/>
                    </a:lnTo>
                    <a:lnTo>
                      <a:pt x="2556" y="1464"/>
                    </a:lnTo>
                    <a:lnTo>
                      <a:pt x="2562" y="1452"/>
                    </a:lnTo>
                    <a:lnTo>
                      <a:pt x="2574" y="1446"/>
                    </a:lnTo>
                    <a:lnTo>
                      <a:pt x="2580" y="1434"/>
                    </a:lnTo>
                    <a:lnTo>
                      <a:pt x="2586" y="1428"/>
                    </a:lnTo>
                    <a:lnTo>
                      <a:pt x="2592" y="1416"/>
                    </a:lnTo>
                    <a:lnTo>
                      <a:pt x="2592" y="1404"/>
                    </a:lnTo>
                    <a:lnTo>
                      <a:pt x="2598" y="1386"/>
                    </a:lnTo>
                    <a:lnTo>
                      <a:pt x="2598" y="1374"/>
                    </a:lnTo>
                    <a:lnTo>
                      <a:pt x="2604" y="1356"/>
                    </a:lnTo>
                    <a:lnTo>
                      <a:pt x="2604" y="1344"/>
                    </a:lnTo>
                    <a:lnTo>
                      <a:pt x="2610" y="1338"/>
                    </a:lnTo>
                    <a:lnTo>
                      <a:pt x="2616" y="1338"/>
                    </a:lnTo>
                    <a:lnTo>
                      <a:pt x="2628" y="1326"/>
                    </a:lnTo>
                    <a:lnTo>
                      <a:pt x="2634" y="1314"/>
                    </a:lnTo>
                    <a:lnTo>
                      <a:pt x="2640" y="1308"/>
                    </a:lnTo>
                    <a:lnTo>
                      <a:pt x="2640" y="1296"/>
                    </a:lnTo>
                    <a:lnTo>
                      <a:pt x="2652" y="1290"/>
                    </a:lnTo>
                    <a:lnTo>
                      <a:pt x="2658" y="1284"/>
                    </a:lnTo>
                    <a:lnTo>
                      <a:pt x="2670" y="1284"/>
                    </a:lnTo>
                    <a:lnTo>
                      <a:pt x="2682" y="1272"/>
                    </a:lnTo>
                    <a:lnTo>
                      <a:pt x="2682" y="1254"/>
                    </a:lnTo>
                    <a:lnTo>
                      <a:pt x="2688" y="1254"/>
                    </a:lnTo>
                    <a:lnTo>
                      <a:pt x="2724" y="1218"/>
                    </a:lnTo>
                    <a:lnTo>
                      <a:pt x="2736" y="1188"/>
                    </a:lnTo>
                    <a:lnTo>
                      <a:pt x="2754" y="1158"/>
                    </a:lnTo>
                    <a:lnTo>
                      <a:pt x="2760" y="1134"/>
                    </a:lnTo>
                    <a:lnTo>
                      <a:pt x="2766" y="1122"/>
                    </a:lnTo>
                    <a:lnTo>
                      <a:pt x="2772" y="1116"/>
                    </a:lnTo>
                    <a:lnTo>
                      <a:pt x="2778" y="1104"/>
                    </a:lnTo>
                    <a:lnTo>
                      <a:pt x="2784" y="1098"/>
                    </a:lnTo>
                    <a:lnTo>
                      <a:pt x="2784" y="1080"/>
                    </a:lnTo>
                    <a:lnTo>
                      <a:pt x="2778" y="1068"/>
                    </a:lnTo>
                    <a:lnTo>
                      <a:pt x="2778" y="1002"/>
                    </a:lnTo>
                    <a:close/>
                  </a:path>
                </a:pathLst>
              </a:custGeom>
              <a:solidFill>
                <a:schemeClr val="accent1"/>
              </a:solidFill>
              <a:ln w="3175">
                <a:solidFill>
                  <a:schemeClr val="bg1"/>
                </a:solidFill>
                <a:round/>
                <a:headEnd/>
                <a:tailEnd/>
              </a:ln>
              <a:effec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grpSp>
            <p:nvGrpSpPr>
              <p:cNvPr id="6" name="Gruppieren 192"/>
              <p:cNvGrpSpPr/>
              <p:nvPr/>
            </p:nvGrpSpPr>
            <p:grpSpPr>
              <a:xfrm>
                <a:off x="4146813" y="2416917"/>
                <a:ext cx="343794" cy="460375"/>
                <a:chOff x="4189831" y="2419337"/>
                <a:chExt cx="343794" cy="460375"/>
              </a:xfrm>
              <a:grpFill/>
              <a:effectLst>
                <a:outerShdw blurRad="50800" dist="38100" dir="2700000" algn="tl" rotWithShape="0">
                  <a:prstClr val="black">
                    <a:alpha val="40000"/>
                  </a:prstClr>
                </a:outerShdw>
              </a:effectLst>
            </p:grpSpPr>
            <p:sp>
              <p:nvSpPr>
                <p:cNvPr id="277" name="Malta"/>
                <p:cNvSpPr>
                  <a:spLocks/>
                </p:cNvSpPr>
                <p:nvPr/>
              </p:nvSpPr>
              <p:spPr bwMode="gray">
                <a:xfrm>
                  <a:off x="4521180" y="2868599"/>
                  <a:ext cx="12445" cy="11113"/>
                </a:xfrm>
                <a:custGeom>
                  <a:avLst/>
                  <a:gdLst>
                    <a:gd name="T0" fmla="*/ 2147483647 w 30"/>
                    <a:gd name="T1" fmla="*/ 2147483647 h 30"/>
                    <a:gd name="T2" fmla="*/ 2147483647 w 30"/>
                    <a:gd name="T3" fmla="*/ 2147483647 h 30"/>
                    <a:gd name="T4" fmla="*/ 2147483647 w 30"/>
                    <a:gd name="T5" fmla="*/ 2147483647 h 30"/>
                    <a:gd name="T6" fmla="*/ 2147483647 w 30"/>
                    <a:gd name="T7" fmla="*/ 0 h 30"/>
                    <a:gd name="T8" fmla="*/ 2147483647 w 30"/>
                    <a:gd name="T9" fmla="*/ 0 h 30"/>
                    <a:gd name="T10" fmla="*/ 0 w 30"/>
                    <a:gd name="T11" fmla="*/ 2147483647 h 30"/>
                    <a:gd name="T12" fmla="*/ 0 w 30"/>
                    <a:gd name="T13" fmla="*/ 2147483647 h 30"/>
                    <a:gd name="T14" fmla="*/ 2147483647 w 30"/>
                    <a:gd name="T15" fmla="*/ 2147483647 h 30"/>
                    <a:gd name="T16" fmla="*/ 2147483647 w 30"/>
                    <a:gd name="T17" fmla="*/ 2147483647 h 30"/>
                    <a:gd name="T18" fmla="*/ 2147483647 w 30"/>
                    <a:gd name="T19" fmla="*/ 2147483647 h 3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0"/>
                    <a:gd name="T31" fmla="*/ 0 h 30"/>
                    <a:gd name="T32" fmla="*/ 30 w 30"/>
                    <a:gd name="T33" fmla="*/ 30 h 3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0" h="30">
                      <a:moveTo>
                        <a:pt x="24" y="30"/>
                      </a:moveTo>
                      <a:lnTo>
                        <a:pt x="30" y="24"/>
                      </a:lnTo>
                      <a:lnTo>
                        <a:pt x="30" y="12"/>
                      </a:lnTo>
                      <a:lnTo>
                        <a:pt x="18" y="0"/>
                      </a:lnTo>
                      <a:lnTo>
                        <a:pt x="6" y="0"/>
                      </a:lnTo>
                      <a:lnTo>
                        <a:pt x="0" y="6"/>
                      </a:lnTo>
                      <a:lnTo>
                        <a:pt x="0" y="18"/>
                      </a:lnTo>
                      <a:lnTo>
                        <a:pt x="6" y="24"/>
                      </a:lnTo>
                      <a:lnTo>
                        <a:pt x="18" y="30"/>
                      </a:lnTo>
                      <a:lnTo>
                        <a:pt x="24" y="3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278" name="Luxembourg"/>
                <p:cNvSpPr>
                  <a:spLocks/>
                </p:cNvSpPr>
                <p:nvPr/>
              </p:nvSpPr>
              <p:spPr bwMode="gray">
                <a:xfrm>
                  <a:off x="4304948" y="2419337"/>
                  <a:ext cx="20223" cy="17463"/>
                </a:xfrm>
                <a:custGeom>
                  <a:avLst/>
                  <a:gdLst>
                    <a:gd name="T0" fmla="*/ 2147483647 w 54"/>
                    <a:gd name="T1" fmla="*/ 2147483647 h 42"/>
                    <a:gd name="T2" fmla="*/ 2147483647 w 54"/>
                    <a:gd name="T3" fmla="*/ 2147483647 h 42"/>
                    <a:gd name="T4" fmla="*/ 2147483647 w 54"/>
                    <a:gd name="T5" fmla="*/ 2147483647 h 42"/>
                    <a:gd name="T6" fmla="*/ 2147483647 w 54"/>
                    <a:gd name="T7" fmla="*/ 2147483647 h 42"/>
                    <a:gd name="T8" fmla="*/ 2147483647 w 54"/>
                    <a:gd name="T9" fmla="*/ 2147483647 h 42"/>
                    <a:gd name="T10" fmla="*/ 2147483647 w 54"/>
                    <a:gd name="T11" fmla="*/ 2147483647 h 42"/>
                    <a:gd name="T12" fmla="*/ 2147483647 w 54"/>
                    <a:gd name="T13" fmla="*/ 2147483647 h 42"/>
                    <a:gd name="T14" fmla="*/ 2147483647 w 54"/>
                    <a:gd name="T15" fmla="*/ 2147483647 h 42"/>
                    <a:gd name="T16" fmla="*/ 2147483647 w 54"/>
                    <a:gd name="T17" fmla="*/ 0 h 42"/>
                    <a:gd name="T18" fmla="*/ 2147483647 w 54"/>
                    <a:gd name="T19" fmla="*/ 0 h 42"/>
                    <a:gd name="T20" fmla="*/ 2147483647 w 54"/>
                    <a:gd name="T21" fmla="*/ 2147483647 h 42"/>
                    <a:gd name="T22" fmla="*/ 2147483647 w 54"/>
                    <a:gd name="T23" fmla="*/ 2147483647 h 42"/>
                    <a:gd name="T24" fmla="*/ 0 w 54"/>
                    <a:gd name="T25" fmla="*/ 2147483647 h 42"/>
                    <a:gd name="T26" fmla="*/ 0 w 54"/>
                    <a:gd name="T27" fmla="*/ 2147483647 h 42"/>
                    <a:gd name="T28" fmla="*/ 2147483647 w 54"/>
                    <a:gd name="T29" fmla="*/ 2147483647 h 42"/>
                    <a:gd name="T30" fmla="*/ 2147483647 w 54"/>
                    <a:gd name="T31" fmla="*/ 2147483647 h 4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4"/>
                    <a:gd name="T49" fmla="*/ 0 h 42"/>
                    <a:gd name="T50" fmla="*/ 54 w 54"/>
                    <a:gd name="T51" fmla="*/ 42 h 4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4" h="42">
                      <a:moveTo>
                        <a:pt x="18" y="42"/>
                      </a:moveTo>
                      <a:lnTo>
                        <a:pt x="30" y="36"/>
                      </a:lnTo>
                      <a:lnTo>
                        <a:pt x="48" y="42"/>
                      </a:lnTo>
                      <a:lnTo>
                        <a:pt x="54" y="36"/>
                      </a:lnTo>
                      <a:lnTo>
                        <a:pt x="54" y="24"/>
                      </a:lnTo>
                      <a:lnTo>
                        <a:pt x="42" y="18"/>
                      </a:lnTo>
                      <a:lnTo>
                        <a:pt x="36" y="18"/>
                      </a:lnTo>
                      <a:lnTo>
                        <a:pt x="30" y="12"/>
                      </a:lnTo>
                      <a:lnTo>
                        <a:pt x="30" y="0"/>
                      </a:lnTo>
                      <a:lnTo>
                        <a:pt x="24" y="0"/>
                      </a:lnTo>
                      <a:lnTo>
                        <a:pt x="18" y="6"/>
                      </a:lnTo>
                      <a:lnTo>
                        <a:pt x="6" y="12"/>
                      </a:lnTo>
                      <a:lnTo>
                        <a:pt x="0" y="12"/>
                      </a:lnTo>
                      <a:lnTo>
                        <a:pt x="0" y="18"/>
                      </a:lnTo>
                      <a:lnTo>
                        <a:pt x="12" y="30"/>
                      </a:lnTo>
                      <a:lnTo>
                        <a:pt x="18" y="42"/>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279" name="Liechtenstein"/>
                <p:cNvSpPr>
                  <a:spLocks/>
                </p:cNvSpPr>
                <p:nvPr/>
              </p:nvSpPr>
              <p:spPr bwMode="gray">
                <a:xfrm>
                  <a:off x="4395174" y="2508237"/>
                  <a:ext cx="6223" cy="9525"/>
                </a:xfrm>
                <a:custGeom>
                  <a:avLst/>
                  <a:gdLst>
                    <a:gd name="T0" fmla="*/ 2147483647 w 18"/>
                    <a:gd name="T1" fmla="*/ 0 h 24"/>
                    <a:gd name="T2" fmla="*/ 2147483647 w 18"/>
                    <a:gd name="T3" fmla="*/ 2147483647 h 24"/>
                    <a:gd name="T4" fmla="*/ 0 w 18"/>
                    <a:gd name="T5" fmla="*/ 2147483647 h 24"/>
                    <a:gd name="T6" fmla="*/ 0 w 18"/>
                    <a:gd name="T7" fmla="*/ 2147483647 h 24"/>
                    <a:gd name="T8" fmla="*/ 2147483647 w 18"/>
                    <a:gd name="T9" fmla="*/ 2147483647 h 24"/>
                    <a:gd name="T10" fmla="*/ 2147483647 w 18"/>
                    <a:gd name="T11" fmla="*/ 0 h 24"/>
                    <a:gd name="T12" fmla="*/ 2147483647 w 18"/>
                    <a:gd name="T13" fmla="*/ 0 h 24"/>
                    <a:gd name="T14" fmla="*/ 0 60000 65536"/>
                    <a:gd name="T15" fmla="*/ 0 60000 65536"/>
                    <a:gd name="T16" fmla="*/ 0 60000 65536"/>
                    <a:gd name="T17" fmla="*/ 0 60000 65536"/>
                    <a:gd name="T18" fmla="*/ 0 60000 65536"/>
                    <a:gd name="T19" fmla="*/ 0 60000 65536"/>
                    <a:gd name="T20" fmla="*/ 0 60000 65536"/>
                    <a:gd name="T21" fmla="*/ 0 w 18"/>
                    <a:gd name="T22" fmla="*/ 0 h 24"/>
                    <a:gd name="T23" fmla="*/ 18 w 18"/>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 h="24">
                      <a:moveTo>
                        <a:pt x="12" y="0"/>
                      </a:moveTo>
                      <a:lnTo>
                        <a:pt x="6" y="6"/>
                      </a:lnTo>
                      <a:lnTo>
                        <a:pt x="0" y="18"/>
                      </a:lnTo>
                      <a:lnTo>
                        <a:pt x="0" y="24"/>
                      </a:lnTo>
                      <a:lnTo>
                        <a:pt x="18" y="24"/>
                      </a:lnTo>
                      <a:lnTo>
                        <a:pt x="18" y="0"/>
                      </a:lnTo>
                      <a:lnTo>
                        <a:pt x="12" y="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280" name="Andorra"/>
                <p:cNvSpPr>
                  <a:spLocks/>
                </p:cNvSpPr>
                <p:nvPr/>
              </p:nvSpPr>
              <p:spPr bwMode="gray">
                <a:xfrm>
                  <a:off x="4189831" y="2659049"/>
                  <a:ext cx="12445" cy="6350"/>
                </a:xfrm>
                <a:custGeom>
                  <a:avLst/>
                  <a:gdLst>
                    <a:gd name="T0" fmla="*/ 2147483647 w 30"/>
                    <a:gd name="T1" fmla="*/ 2147483647 h 18"/>
                    <a:gd name="T2" fmla="*/ 2147483647 w 30"/>
                    <a:gd name="T3" fmla="*/ 2147483647 h 18"/>
                    <a:gd name="T4" fmla="*/ 2147483647 w 30"/>
                    <a:gd name="T5" fmla="*/ 2147483647 h 18"/>
                    <a:gd name="T6" fmla="*/ 2147483647 w 30"/>
                    <a:gd name="T7" fmla="*/ 0 h 18"/>
                    <a:gd name="T8" fmla="*/ 0 w 30"/>
                    <a:gd name="T9" fmla="*/ 0 h 18"/>
                    <a:gd name="T10" fmla="*/ 2147483647 w 30"/>
                    <a:gd name="T11" fmla="*/ 2147483647 h 18"/>
                    <a:gd name="T12" fmla="*/ 0 60000 65536"/>
                    <a:gd name="T13" fmla="*/ 0 60000 65536"/>
                    <a:gd name="T14" fmla="*/ 0 60000 65536"/>
                    <a:gd name="T15" fmla="*/ 0 60000 65536"/>
                    <a:gd name="T16" fmla="*/ 0 60000 65536"/>
                    <a:gd name="T17" fmla="*/ 0 60000 65536"/>
                    <a:gd name="T18" fmla="*/ 0 w 30"/>
                    <a:gd name="T19" fmla="*/ 0 h 18"/>
                    <a:gd name="T20" fmla="*/ 30 w 30"/>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30" h="18">
                      <a:moveTo>
                        <a:pt x="6" y="18"/>
                      </a:moveTo>
                      <a:lnTo>
                        <a:pt x="18" y="12"/>
                      </a:lnTo>
                      <a:lnTo>
                        <a:pt x="30" y="12"/>
                      </a:lnTo>
                      <a:lnTo>
                        <a:pt x="30" y="0"/>
                      </a:lnTo>
                      <a:lnTo>
                        <a:pt x="0" y="0"/>
                      </a:lnTo>
                      <a:lnTo>
                        <a:pt x="6" y="18"/>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grpSp>
          <p:grpSp>
            <p:nvGrpSpPr>
              <p:cNvPr id="7" name="Gruppieren 233"/>
              <p:cNvGrpSpPr/>
              <p:nvPr/>
            </p:nvGrpSpPr>
            <p:grpSpPr>
              <a:xfrm>
                <a:off x="5003425" y="2142372"/>
                <a:ext cx="2991479" cy="1376362"/>
                <a:chOff x="5003426" y="2136762"/>
                <a:chExt cx="2991479" cy="1376362"/>
              </a:xfrm>
              <a:grpFill/>
              <a:effectLst>
                <a:outerShdw blurRad="50800" dist="38100" dir="2700000" algn="tl" rotWithShape="0">
                  <a:prstClr val="black">
                    <a:alpha val="40000"/>
                  </a:prstClr>
                </a:outerShdw>
              </a:effectLst>
            </p:grpSpPr>
            <p:sp>
              <p:nvSpPr>
                <p:cNvPr id="274" name="Russia (Urup,Simushir)"/>
                <p:cNvSpPr>
                  <a:spLocks noEditPoints="1"/>
                </p:cNvSpPr>
                <p:nvPr/>
              </p:nvSpPr>
              <p:spPr bwMode="gray">
                <a:xfrm>
                  <a:off x="7875121" y="2136762"/>
                  <a:ext cx="119784" cy="485775"/>
                </a:xfrm>
                <a:custGeom>
                  <a:avLst/>
                  <a:gdLst>
                    <a:gd name="T0" fmla="*/ 0 w 300"/>
                    <a:gd name="T1" fmla="*/ 2147483647 h 1194"/>
                    <a:gd name="T2" fmla="*/ 2147483647 w 300"/>
                    <a:gd name="T3" fmla="*/ 2147483647 h 1194"/>
                    <a:gd name="T4" fmla="*/ 2147483647 w 300"/>
                    <a:gd name="T5" fmla="*/ 2147483647 h 1194"/>
                    <a:gd name="T6" fmla="*/ 2147483647 w 300"/>
                    <a:gd name="T7" fmla="*/ 2147483647 h 1194"/>
                    <a:gd name="T8" fmla="*/ 0 w 300"/>
                    <a:gd name="T9" fmla="*/ 2147483647 h 1194"/>
                    <a:gd name="T10" fmla="*/ 2147483647 w 300"/>
                    <a:gd name="T11" fmla="*/ 2147483647 h 1194"/>
                    <a:gd name="T12" fmla="*/ 2147483647 w 300"/>
                    <a:gd name="T13" fmla="*/ 2147483647 h 1194"/>
                    <a:gd name="T14" fmla="*/ 2147483647 w 300"/>
                    <a:gd name="T15" fmla="*/ 2147483647 h 1194"/>
                    <a:gd name="T16" fmla="*/ 2147483647 w 300"/>
                    <a:gd name="T17" fmla="*/ 2147483647 h 1194"/>
                    <a:gd name="T18" fmla="*/ 2147483647 w 300"/>
                    <a:gd name="T19" fmla="*/ 2147483647 h 1194"/>
                    <a:gd name="T20" fmla="*/ 2147483647 w 300"/>
                    <a:gd name="T21" fmla="*/ 2147483647 h 1194"/>
                    <a:gd name="T22" fmla="*/ 2147483647 w 300"/>
                    <a:gd name="T23" fmla="*/ 2147483647 h 1194"/>
                    <a:gd name="T24" fmla="*/ 2147483647 w 300"/>
                    <a:gd name="T25" fmla="*/ 2147483647 h 1194"/>
                    <a:gd name="T26" fmla="*/ 2147483647 w 300"/>
                    <a:gd name="T27" fmla="*/ 2147483647 h 1194"/>
                    <a:gd name="T28" fmla="*/ 2147483647 w 300"/>
                    <a:gd name="T29" fmla="*/ 2147483647 h 1194"/>
                    <a:gd name="T30" fmla="*/ 2147483647 w 300"/>
                    <a:gd name="T31" fmla="*/ 2147483647 h 1194"/>
                    <a:gd name="T32" fmla="*/ 2147483647 w 300"/>
                    <a:gd name="T33" fmla="*/ 2147483647 h 1194"/>
                    <a:gd name="T34" fmla="*/ 2147483647 w 300"/>
                    <a:gd name="T35" fmla="*/ 2147483647 h 1194"/>
                    <a:gd name="T36" fmla="*/ 2147483647 w 300"/>
                    <a:gd name="T37" fmla="*/ 2147483647 h 1194"/>
                    <a:gd name="T38" fmla="*/ 2147483647 w 300"/>
                    <a:gd name="T39" fmla="*/ 2147483647 h 1194"/>
                    <a:gd name="T40" fmla="*/ 2147483647 w 300"/>
                    <a:gd name="T41" fmla="*/ 2147483647 h 1194"/>
                    <a:gd name="T42" fmla="*/ 2147483647 w 300"/>
                    <a:gd name="T43" fmla="*/ 2147483647 h 1194"/>
                    <a:gd name="T44" fmla="*/ 2147483647 w 300"/>
                    <a:gd name="T45" fmla="*/ 2147483647 h 1194"/>
                    <a:gd name="T46" fmla="*/ 2147483647 w 300"/>
                    <a:gd name="T47" fmla="*/ 2147483647 h 1194"/>
                    <a:gd name="T48" fmla="*/ 2147483647 w 300"/>
                    <a:gd name="T49" fmla="*/ 2147483647 h 1194"/>
                    <a:gd name="T50" fmla="*/ 2147483647 w 300"/>
                    <a:gd name="T51" fmla="*/ 2147483647 h 1194"/>
                    <a:gd name="T52" fmla="*/ 2147483647 w 300"/>
                    <a:gd name="T53" fmla="*/ 2147483647 h 1194"/>
                    <a:gd name="T54" fmla="*/ 2147483647 w 300"/>
                    <a:gd name="T55" fmla="*/ 2147483647 h 1194"/>
                    <a:gd name="T56" fmla="*/ 2147483647 w 300"/>
                    <a:gd name="T57" fmla="*/ 2147483647 h 1194"/>
                    <a:gd name="T58" fmla="*/ 2147483647 w 300"/>
                    <a:gd name="T59" fmla="*/ 2147483647 h 1194"/>
                    <a:gd name="T60" fmla="*/ 2147483647 w 300"/>
                    <a:gd name="T61" fmla="*/ 2147483647 h 1194"/>
                    <a:gd name="T62" fmla="*/ 2147483647 w 300"/>
                    <a:gd name="T63" fmla="*/ 2147483647 h 1194"/>
                    <a:gd name="T64" fmla="*/ 2147483647 w 300"/>
                    <a:gd name="T65" fmla="*/ 2147483647 h 1194"/>
                    <a:gd name="T66" fmla="*/ 2147483647 w 300"/>
                    <a:gd name="T67" fmla="*/ 2147483647 h 1194"/>
                    <a:gd name="T68" fmla="*/ 2147483647 w 300"/>
                    <a:gd name="T69" fmla="*/ 2147483647 h 1194"/>
                    <a:gd name="T70" fmla="*/ 2147483647 w 300"/>
                    <a:gd name="T71" fmla="*/ 2147483647 h 1194"/>
                    <a:gd name="T72" fmla="*/ 2147483647 w 300"/>
                    <a:gd name="T73" fmla="*/ 2147483647 h 1194"/>
                    <a:gd name="T74" fmla="*/ 2147483647 w 300"/>
                    <a:gd name="T75" fmla="*/ 2147483647 h 1194"/>
                    <a:gd name="T76" fmla="*/ 2147483647 w 300"/>
                    <a:gd name="T77" fmla="*/ 2147483647 h 1194"/>
                    <a:gd name="T78" fmla="*/ 2147483647 w 300"/>
                    <a:gd name="T79" fmla="*/ 2147483647 h 1194"/>
                    <a:gd name="T80" fmla="*/ 2147483647 w 300"/>
                    <a:gd name="T81" fmla="*/ 2147483647 h 1194"/>
                    <a:gd name="T82" fmla="*/ 2147483647 w 300"/>
                    <a:gd name="T83" fmla="*/ 2147483647 h 1194"/>
                    <a:gd name="T84" fmla="*/ 2147483647 w 300"/>
                    <a:gd name="T85" fmla="*/ 2147483647 h 1194"/>
                    <a:gd name="T86" fmla="*/ 2147483647 w 300"/>
                    <a:gd name="T87" fmla="*/ 2147483647 h 1194"/>
                    <a:gd name="T88" fmla="*/ 2147483647 w 300"/>
                    <a:gd name="T89" fmla="*/ 2147483647 h 1194"/>
                    <a:gd name="T90" fmla="*/ 2147483647 w 300"/>
                    <a:gd name="T91" fmla="*/ 2147483647 h 1194"/>
                    <a:gd name="T92" fmla="*/ 2147483647 w 300"/>
                    <a:gd name="T93" fmla="*/ 2147483647 h 1194"/>
                    <a:gd name="T94" fmla="*/ 2147483647 w 300"/>
                    <a:gd name="T95" fmla="*/ 2147483647 h 1194"/>
                    <a:gd name="T96" fmla="*/ 2147483647 w 300"/>
                    <a:gd name="T97" fmla="*/ 2147483647 h 1194"/>
                    <a:gd name="T98" fmla="*/ 2147483647 w 300"/>
                    <a:gd name="T99" fmla="*/ 0 h 1194"/>
                    <a:gd name="T100" fmla="*/ 2147483647 w 300"/>
                    <a:gd name="T101" fmla="*/ 2147483647 h 119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00"/>
                    <a:gd name="T154" fmla="*/ 0 h 1194"/>
                    <a:gd name="T155" fmla="*/ 300 w 300"/>
                    <a:gd name="T156" fmla="*/ 1194 h 119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00" h="1194">
                      <a:moveTo>
                        <a:pt x="0" y="1194"/>
                      </a:moveTo>
                      <a:lnTo>
                        <a:pt x="12" y="1188"/>
                      </a:lnTo>
                      <a:lnTo>
                        <a:pt x="36" y="1146"/>
                      </a:lnTo>
                      <a:lnTo>
                        <a:pt x="18" y="1134"/>
                      </a:lnTo>
                      <a:lnTo>
                        <a:pt x="0" y="1194"/>
                      </a:lnTo>
                      <a:close/>
                      <a:moveTo>
                        <a:pt x="114" y="1068"/>
                      </a:moveTo>
                      <a:lnTo>
                        <a:pt x="72" y="1062"/>
                      </a:lnTo>
                      <a:lnTo>
                        <a:pt x="54" y="1134"/>
                      </a:lnTo>
                      <a:lnTo>
                        <a:pt x="66" y="1134"/>
                      </a:lnTo>
                      <a:lnTo>
                        <a:pt x="84" y="1104"/>
                      </a:lnTo>
                      <a:lnTo>
                        <a:pt x="132" y="1074"/>
                      </a:lnTo>
                      <a:lnTo>
                        <a:pt x="120" y="1050"/>
                      </a:lnTo>
                      <a:lnTo>
                        <a:pt x="114" y="1068"/>
                      </a:lnTo>
                      <a:close/>
                      <a:moveTo>
                        <a:pt x="192" y="1008"/>
                      </a:moveTo>
                      <a:lnTo>
                        <a:pt x="186" y="1008"/>
                      </a:lnTo>
                      <a:lnTo>
                        <a:pt x="180" y="1020"/>
                      </a:lnTo>
                      <a:lnTo>
                        <a:pt x="174" y="1026"/>
                      </a:lnTo>
                      <a:lnTo>
                        <a:pt x="168" y="1038"/>
                      </a:lnTo>
                      <a:lnTo>
                        <a:pt x="168" y="1044"/>
                      </a:lnTo>
                      <a:lnTo>
                        <a:pt x="174" y="1050"/>
                      </a:lnTo>
                      <a:lnTo>
                        <a:pt x="180" y="1050"/>
                      </a:lnTo>
                      <a:lnTo>
                        <a:pt x="198" y="1032"/>
                      </a:lnTo>
                      <a:lnTo>
                        <a:pt x="198" y="1014"/>
                      </a:lnTo>
                      <a:lnTo>
                        <a:pt x="192" y="1008"/>
                      </a:lnTo>
                      <a:close/>
                      <a:moveTo>
                        <a:pt x="282" y="636"/>
                      </a:moveTo>
                      <a:lnTo>
                        <a:pt x="264" y="654"/>
                      </a:lnTo>
                      <a:lnTo>
                        <a:pt x="276" y="678"/>
                      </a:lnTo>
                      <a:lnTo>
                        <a:pt x="258" y="678"/>
                      </a:lnTo>
                      <a:lnTo>
                        <a:pt x="258" y="702"/>
                      </a:lnTo>
                      <a:lnTo>
                        <a:pt x="282" y="702"/>
                      </a:lnTo>
                      <a:lnTo>
                        <a:pt x="294" y="684"/>
                      </a:lnTo>
                      <a:lnTo>
                        <a:pt x="282" y="654"/>
                      </a:lnTo>
                      <a:lnTo>
                        <a:pt x="300" y="654"/>
                      </a:lnTo>
                      <a:lnTo>
                        <a:pt x="282" y="636"/>
                      </a:lnTo>
                      <a:close/>
                      <a:moveTo>
                        <a:pt x="276" y="768"/>
                      </a:moveTo>
                      <a:lnTo>
                        <a:pt x="294" y="750"/>
                      </a:lnTo>
                      <a:lnTo>
                        <a:pt x="270" y="732"/>
                      </a:lnTo>
                      <a:lnTo>
                        <a:pt x="276" y="768"/>
                      </a:lnTo>
                      <a:close/>
                      <a:moveTo>
                        <a:pt x="258" y="954"/>
                      </a:moveTo>
                      <a:lnTo>
                        <a:pt x="258" y="924"/>
                      </a:lnTo>
                      <a:lnTo>
                        <a:pt x="240" y="948"/>
                      </a:lnTo>
                      <a:lnTo>
                        <a:pt x="258" y="954"/>
                      </a:lnTo>
                      <a:close/>
                      <a:moveTo>
                        <a:pt x="252" y="858"/>
                      </a:moveTo>
                      <a:lnTo>
                        <a:pt x="270" y="858"/>
                      </a:lnTo>
                      <a:lnTo>
                        <a:pt x="252" y="840"/>
                      </a:lnTo>
                      <a:lnTo>
                        <a:pt x="252" y="858"/>
                      </a:lnTo>
                      <a:close/>
                      <a:moveTo>
                        <a:pt x="126" y="24"/>
                      </a:moveTo>
                      <a:lnTo>
                        <a:pt x="144" y="60"/>
                      </a:lnTo>
                      <a:lnTo>
                        <a:pt x="174" y="24"/>
                      </a:lnTo>
                      <a:lnTo>
                        <a:pt x="162" y="0"/>
                      </a:lnTo>
                      <a:lnTo>
                        <a:pt x="126" y="24"/>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275" name="Parcel Islands"/>
                <p:cNvSpPr>
                  <a:spLocks noEditPoints="1"/>
                </p:cNvSpPr>
                <p:nvPr/>
              </p:nvSpPr>
              <p:spPr bwMode="gray">
                <a:xfrm>
                  <a:off x="7245091" y="3487724"/>
                  <a:ext cx="37335" cy="25400"/>
                </a:xfrm>
                <a:custGeom>
                  <a:avLst/>
                  <a:gdLst>
                    <a:gd name="T0" fmla="*/ 2147483647 w 96"/>
                    <a:gd name="T1" fmla="*/ 2147483647 h 66"/>
                    <a:gd name="T2" fmla="*/ 2147483647 w 96"/>
                    <a:gd name="T3" fmla="*/ 2147483647 h 66"/>
                    <a:gd name="T4" fmla="*/ 0 w 96"/>
                    <a:gd name="T5" fmla="*/ 2147483647 h 66"/>
                    <a:gd name="T6" fmla="*/ 0 w 96"/>
                    <a:gd name="T7" fmla="*/ 2147483647 h 66"/>
                    <a:gd name="T8" fmla="*/ 2147483647 w 96"/>
                    <a:gd name="T9" fmla="*/ 2147483647 h 66"/>
                    <a:gd name="T10" fmla="*/ 2147483647 w 96"/>
                    <a:gd name="T11" fmla="*/ 2147483647 h 66"/>
                    <a:gd name="T12" fmla="*/ 2147483647 w 96"/>
                    <a:gd name="T13" fmla="*/ 2147483647 h 66"/>
                    <a:gd name="T14" fmla="*/ 2147483647 w 96"/>
                    <a:gd name="T15" fmla="*/ 2147483647 h 66"/>
                    <a:gd name="T16" fmla="*/ 2147483647 w 96"/>
                    <a:gd name="T17" fmla="*/ 2147483647 h 66"/>
                    <a:gd name="T18" fmla="*/ 2147483647 w 96"/>
                    <a:gd name="T19" fmla="*/ 0 h 66"/>
                    <a:gd name="T20" fmla="*/ 2147483647 w 96"/>
                    <a:gd name="T21" fmla="*/ 2147483647 h 66"/>
                    <a:gd name="T22" fmla="*/ 2147483647 w 96"/>
                    <a:gd name="T23" fmla="*/ 2147483647 h 66"/>
                    <a:gd name="T24" fmla="*/ 2147483647 w 96"/>
                    <a:gd name="T25" fmla="*/ 2147483647 h 66"/>
                    <a:gd name="T26" fmla="*/ 2147483647 w 96"/>
                    <a:gd name="T27" fmla="*/ 2147483647 h 66"/>
                    <a:gd name="T28" fmla="*/ 2147483647 w 96"/>
                    <a:gd name="T29" fmla="*/ 0 h 66"/>
                    <a:gd name="T30" fmla="*/ 2147483647 w 96"/>
                    <a:gd name="T31" fmla="*/ 0 h 66"/>
                    <a:gd name="T32" fmla="*/ 2147483647 w 96"/>
                    <a:gd name="T33" fmla="*/ 2147483647 h 66"/>
                    <a:gd name="T34" fmla="*/ 2147483647 w 96"/>
                    <a:gd name="T35" fmla="*/ 2147483647 h 66"/>
                    <a:gd name="T36" fmla="*/ 2147483647 w 96"/>
                    <a:gd name="T37" fmla="*/ 2147483647 h 66"/>
                    <a:gd name="T38" fmla="*/ 2147483647 w 96"/>
                    <a:gd name="T39" fmla="*/ 2147483647 h 66"/>
                    <a:gd name="T40" fmla="*/ 2147483647 w 96"/>
                    <a:gd name="T41" fmla="*/ 2147483647 h 66"/>
                    <a:gd name="T42" fmla="*/ 2147483647 w 96"/>
                    <a:gd name="T43" fmla="*/ 2147483647 h 66"/>
                    <a:gd name="T44" fmla="*/ 2147483647 w 96"/>
                    <a:gd name="T45" fmla="*/ 2147483647 h 6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96"/>
                    <a:gd name="T70" fmla="*/ 0 h 66"/>
                    <a:gd name="T71" fmla="*/ 96 w 96"/>
                    <a:gd name="T72" fmla="*/ 66 h 6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96" h="66">
                      <a:moveTo>
                        <a:pt x="12" y="42"/>
                      </a:moveTo>
                      <a:lnTo>
                        <a:pt x="6" y="42"/>
                      </a:lnTo>
                      <a:lnTo>
                        <a:pt x="0" y="48"/>
                      </a:lnTo>
                      <a:lnTo>
                        <a:pt x="0" y="60"/>
                      </a:lnTo>
                      <a:lnTo>
                        <a:pt x="6" y="66"/>
                      </a:lnTo>
                      <a:lnTo>
                        <a:pt x="12" y="66"/>
                      </a:lnTo>
                      <a:lnTo>
                        <a:pt x="24" y="54"/>
                      </a:lnTo>
                      <a:lnTo>
                        <a:pt x="24" y="42"/>
                      </a:lnTo>
                      <a:lnTo>
                        <a:pt x="12" y="42"/>
                      </a:lnTo>
                      <a:close/>
                      <a:moveTo>
                        <a:pt x="42" y="0"/>
                      </a:moveTo>
                      <a:lnTo>
                        <a:pt x="42" y="18"/>
                      </a:lnTo>
                      <a:lnTo>
                        <a:pt x="54" y="30"/>
                      </a:lnTo>
                      <a:lnTo>
                        <a:pt x="60" y="30"/>
                      </a:lnTo>
                      <a:lnTo>
                        <a:pt x="72" y="24"/>
                      </a:lnTo>
                      <a:lnTo>
                        <a:pt x="48" y="0"/>
                      </a:lnTo>
                      <a:lnTo>
                        <a:pt x="42" y="0"/>
                      </a:lnTo>
                      <a:close/>
                      <a:moveTo>
                        <a:pt x="96" y="36"/>
                      </a:moveTo>
                      <a:lnTo>
                        <a:pt x="78" y="36"/>
                      </a:lnTo>
                      <a:lnTo>
                        <a:pt x="72" y="42"/>
                      </a:lnTo>
                      <a:lnTo>
                        <a:pt x="72" y="54"/>
                      </a:lnTo>
                      <a:lnTo>
                        <a:pt x="84" y="60"/>
                      </a:lnTo>
                      <a:lnTo>
                        <a:pt x="96" y="48"/>
                      </a:lnTo>
                      <a:lnTo>
                        <a:pt x="96" y="36"/>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
              <p:nvSpPr>
                <p:cNvPr id="276" name="Cyprus"/>
                <p:cNvSpPr>
                  <a:spLocks/>
                </p:cNvSpPr>
                <p:nvPr/>
              </p:nvSpPr>
              <p:spPr bwMode="gray">
                <a:xfrm>
                  <a:off x="5003426" y="2887649"/>
                  <a:ext cx="59114" cy="34925"/>
                </a:xfrm>
                <a:custGeom>
                  <a:avLst/>
                  <a:gdLst>
                    <a:gd name="T0" fmla="*/ 0 w 150"/>
                    <a:gd name="T1" fmla="*/ 2147483647 h 84"/>
                    <a:gd name="T2" fmla="*/ 2147483647 w 150"/>
                    <a:gd name="T3" fmla="*/ 2147483647 h 84"/>
                    <a:gd name="T4" fmla="*/ 2147483647 w 150"/>
                    <a:gd name="T5" fmla="*/ 2147483647 h 84"/>
                    <a:gd name="T6" fmla="*/ 2147483647 w 150"/>
                    <a:gd name="T7" fmla="*/ 2147483647 h 84"/>
                    <a:gd name="T8" fmla="*/ 2147483647 w 150"/>
                    <a:gd name="T9" fmla="*/ 2147483647 h 84"/>
                    <a:gd name="T10" fmla="*/ 2147483647 w 150"/>
                    <a:gd name="T11" fmla="*/ 2147483647 h 84"/>
                    <a:gd name="T12" fmla="*/ 2147483647 w 150"/>
                    <a:gd name="T13" fmla="*/ 2147483647 h 84"/>
                    <a:gd name="T14" fmla="*/ 2147483647 w 150"/>
                    <a:gd name="T15" fmla="*/ 2147483647 h 84"/>
                    <a:gd name="T16" fmla="*/ 2147483647 w 150"/>
                    <a:gd name="T17" fmla="*/ 2147483647 h 84"/>
                    <a:gd name="T18" fmla="*/ 2147483647 w 150"/>
                    <a:gd name="T19" fmla="*/ 2147483647 h 84"/>
                    <a:gd name="T20" fmla="*/ 2147483647 w 150"/>
                    <a:gd name="T21" fmla="*/ 2147483647 h 84"/>
                    <a:gd name="T22" fmla="*/ 2147483647 w 150"/>
                    <a:gd name="T23" fmla="*/ 2147483647 h 84"/>
                    <a:gd name="T24" fmla="*/ 2147483647 w 150"/>
                    <a:gd name="T25" fmla="*/ 2147483647 h 84"/>
                    <a:gd name="T26" fmla="*/ 2147483647 w 150"/>
                    <a:gd name="T27" fmla="*/ 0 h 84"/>
                    <a:gd name="T28" fmla="*/ 2147483647 w 150"/>
                    <a:gd name="T29" fmla="*/ 2147483647 h 84"/>
                    <a:gd name="T30" fmla="*/ 2147483647 w 150"/>
                    <a:gd name="T31" fmla="*/ 2147483647 h 84"/>
                    <a:gd name="T32" fmla="*/ 2147483647 w 150"/>
                    <a:gd name="T33" fmla="*/ 2147483647 h 84"/>
                    <a:gd name="T34" fmla="*/ 2147483647 w 150"/>
                    <a:gd name="T35" fmla="*/ 2147483647 h 84"/>
                    <a:gd name="T36" fmla="*/ 2147483647 w 150"/>
                    <a:gd name="T37" fmla="*/ 2147483647 h 84"/>
                    <a:gd name="T38" fmla="*/ 0 w 150"/>
                    <a:gd name="T39" fmla="*/ 2147483647 h 84"/>
                    <a:gd name="T40" fmla="*/ 0 w 150"/>
                    <a:gd name="T41" fmla="*/ 2147483647 h 8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50"/>
                    <a:gd name="T64" fmla="*/ 0 h 84"/>
                    <a:gd name="T65" fmla="*/ 150 w 150"/>
                    <a:gd name="T66" fmla="*/ 84 h 8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50" h="84">
                      <a:moveTo>
                        <a:pt x="0" y="48"/>
                      </a:moveTo>
                      <a:lnTo>
                        <a:pt x="6" y="60"/>
                      </a:lnTo>
                      <a:lnTo>
                        <a:pt x="30" y="72"/>
                      </a:lnTo>
                      <a:lnTo>
                        <a:pt x="36" y="84"/>
                      </a:lnTo>
                      <a:lnTo>
                        <a:pt x="54" y="84"/>
                      </a:lnTo>
                      <a:lnTo>
                        <a:pt x="60" y="78"/>
                      </a:lnTo>
                      <a:lnTo>
                        <a:pt x="72" y="72"/>
                      </a:lnTo>
                      <a:lnTo>
                        <a:pt x="78" y="66"/>
                      </a:lnTo>
                      <a:lnTo>
                        <a:pt x="90" y="60"/>
                      </a:lnTo>
                      <a:lnTo>
                        <a:pt x="96" y="54"/>
                      </a:lnTo>
                      <a:lnTo>
                        <a:pt x="102" y="60"/>
                      </a:lnTo>
                      <a:lnTo>
                        <a:pt x="120" y="60"/>
                      </a:lnTo>
                      <a:lnTo>
                        <a:pt x="120" y="36"/>
                      </a:lnTo>
                      <a:lnTo>
                        <a:pt x="150" y="0"/>
                      </a:lnTo>
                      <a:lnTo>
                        <a:pt x="108" y="24"/>
                      </a:lnTo>
                      <a:lnTo>
                        <a:pt x="54" y="24"/>
                      </a:lnTo>
                      <a:lnTo>
                        <a:pt x="48" y="30"/>
                      </a:lnTo>
                      <a:lnTo>
                        <a:pt x="48" y="36"/>
                      </a:lnTo>
                      <a:lnTo>
                        <a:pt x="12" y="36"/>
                      </a:lnTo>
                      <a:lnTo>
                        <a:pt x="0" y="42"/>
                      </a:lnTo>
                      <a:lnTo>
                        <a:pt x="0" y="48"/>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grpSp>
        </p:grpSp>
        <p:sp>
          <p:nvSpPr>
            <p:cNvPr id="268" name="Freeform 199"/>
            <p:cNvSpPr>
              <a:spLocks noEditPoints="1"/>
            </p:cNvSpPr>
            <p:nvPr/>
          </p:nvSpPr>
          <p:spPr bwMode="gray">
            <a:xfrm>
              <a:off x="4644008" y="3156037"/>
              <a:ext cx="54205" cy="45719"/>
            </a:xfrm>
            <a:custGeom>
              <a:avLst/>
              <a:gdLst/>
              <a:ahLst/>
              <a:cxnLst>
                <a:cxn ang="0">
                  <a:pos x="6" y="75"/>
                </a:cxn>
                <a:cxn ang="0">
                  <a:pos x="0" y="72"/>
                </a:cxn>
                <a:cxn ang="0">
                  <a:pos x="227" y="122"/>
                </a:cxn>
                <a:cxn ang="0">
                  <a:pos x="218" y="127"/>
                </a:cxn>
                <a:cxn ang="0">
                  <a:pos x="214" y="120"/>
                </a:cxn>
                <a:cxn ang="0">
                  <a:pos x="206" y="113"/>
                </a:cxn>
                <a:cxn ang="0">
                  <a:pos x="197" y="111"/>
                </a:cxn>
                <a:cxn ang="0">
                  <a:pos x="190" y="110"/>
                </a:cxn>
                <a:cxn ang="0">
                  <a:pos x="185" y="110"/>
                </a:cxn>
                <a:cxn ang="0">
                  <a:pos x="185" y="101"/>
                </a:cxn>
                <a:cxn ang="0">
                  <a:pos x="189" y="95"/>
                </a:cxn>
                <a:cxn ang="0">
                  <a:pos x="187" y="84"/>
                </a:cxn>
                <a:cxn ang="0">
                  <a:pos x="177" y="78"/>
                </a:cxn>
                <a:cxn ang="0">
                  <a:pos x="169" y="76"/>
                </a:cxn>
                <a:cxn ang="0">
                  <a:pos x="170" y="61"/>
                </a:cxn>
                <a:cxn ang="0">
                  <a:pos x="165" y="56"/>
                </a:cxn>
                <a:cxn ang="0">
                  <a:pos x="161" y="61"/>
                </a:cxn>
                <a:cxn ang="0">
                  <a:pos x="157" y="53"/>
                </a:cxn>
                <a:cxn ang="0">
                  <a:pos x="158" y="35"/>
                </a:cxn>
                <a:cxn ang="0">
                  <a:pos x="154" y="32"/>
                </a:cxn>
                <a:cxn ang="0">
                  <a:pos x="147" y="32"/>
                </a:cxn>
                <a:cxn ang="0">
                  <a:pos x="137" y="32"/>
                </a:cxn>
                <a:cxn ang="0">
                  <a:pos x="126" y="27"/>
                </a:cxn>
                <a:cxn ang="0">
                  <a:pos x="131" y="20"/>
                </a:cxn>
                <a:cxn ang="0">
                  <a:pos x="130" y="12"/>
                </a:cxn>
                <a:cxn ang="0">
                  <a:pos x="122" y="0"/>
                </a:cxn>
                <a:cxn ang="0">
                  <a:pos x="115" y="6"/>
                </a:cxn>
                <a:cxn ang="0">
                  <a:pos x="104" y="13"/>
                </a:cxn>
                <a:cxn ang="0">
                  <a:pos x="96" y="15"/>
                </a:cxn>
                <a:cxn ang="0">
                  <a:pos x="89" y="13"/>
                </a:cxn>
                <a:cxn ang="0">
                  <a:pos x="91" y="22"/>
                </a:cxn>
                <a:cxn ang="0">
                  <a:pos x="101" y="27"/>
                </a:cxn>
                <a:cxn ang="0">
                  <a:pos x="97" y="33"/>
                </a:cxn>
                <a:cxn ang="0">
                  <a:pos x="100" y="40"/>
                </a:cxn>
                <a:cxn ang="0">
                  <a:pos x="99" y="46"/>
                </a:cxn>
                <a:cxn ang="0">
                  <a:pos x="92" y="49"/>
                </a:cxn>
                <a:cxn ang="0">
                  <a:pos x="88" y="45"/>
                </a:cxn>
                <a:cxn ang="0">
                  <a:pos x="70" y="59"/>
                </a:cxn>
                <a:cxn ang="0">
                  <a:pos x="73" y="71"/>
                </a:cxn>
                <a:cxn ang="0">
                  <a:pos x="45" y="74"/>
                </a:cxn>
                <a:cxn ang="0">
                  <a:pos x="14" y="72"/>
                </a:cxn>
                <a:cxn ang="0">
                  <a:pos x="6" y="75"/>
                </a:cxn>
                <a:cxn ang="0">
                  <a:pos x="6" y="141"/>
                </a:cxn>
                <a:cxn ang="0">
                  <a:pos x="14" y="155"/>
                </a:cxn>
                <a:cxn ang="0">
                  <a:pos x="27" y="173"/>
                </a:cxn>
                <a:cxn ang="0">
                  <a:pos x="50" y="175"/>
                </a:cxn>
                <a:cxn ang="0">
                  <a:pos x="60" y="211"/>
                </a:cxn>
                <a:cxn ang="0">
                  <a:pos x="60" y="237"/>
                </a:cxn>
                <a:cxn ang="0">
                  <a:pos x="92" y="226"/>
                </a:cxn>
                <a:cxn ang="0">
                  <a:pos x="138" y="205"/>
                </a:cxn>
                <a:cxn ang="0">
                  <a:pos x="146" y="184"/>
                </a:cxn>
                <a:cxn ang="0">
                  <a:pos x="189" y="173"/>
                </a:cxn>
                <a:cxn ang="0">
                  <a:pos x="209" y="163"/>
                </a:cxn>
                <a:cxn ang="0">
                  <a:pos x="217" y="156"/>
                </a:cxn>
                <a:cxn ang="0">
                  <a:pos x="225" y="144"/>
                </a:cxn>
                <a:cxn ang="0">
                  <a:pos x="228" y="137"/>
                </a:cxn>
                <a:cxn ang="0">
                  <a:pos x="232" y="129"/>
                </a:cxn>
              </a:cxnLst>
              <a:rect l="0" t="0" r="r" b="b"/>
              <a:pathLst>
                <a:path w="232" h="237">
                  <a:moveTo>
                    <a:pt x="0" y="72"/>
                  </a:moveTo>
                  <a:cubicBezTo>
                    <a:pt x="1" y="72"/>
                    <a:pt x="2" y="73"/>
                    <a:pt x="6" y="75"/>
                  </a:cubicBezTo>
                  <a:cubicBezTo>
                    <a:pt x="6" y="66"/>
                    <a:pt x="6" y="66"/>
                    <a:pt x="6" y="66"/>
                  </a:cubicBezTo>
                  <a:lnTo>
                    <a:pt x="0" y="72"/>
                  </a:lnTo>
                  <a:close/>
                  <a:moveTo>
                    <a:pt x="231" y="124"/>
                  </a:moveTo>
                  <a:cubicBezTo>
                    <a:pt x="227" y="122"/>
                    <a:pt x="227" y="122"/>
                    <a:pt x="227" y="122"/>
                  </a:cubicBezTo>
                  <a:cubicBezTo>
                    <a:pt x="223" y="124"/>
                    <a:pt x="223" y="124"/>
                    <a:pt x="223" y="124"/>
                  </a:cubicBezTo>
                  <a:cubicBezTo>
                    <a:pt x="218" y="127"/>
                    <a:pt x="218" y="127"/>
                    <a:pt x="218" y="127"/>
                  </a:cubicBezTo>
                  <a:cubicBezTo>
                    <a:pt x="216" y="124"/>
                    <a:pt x="216" y="124"/>
                    <a:pt x="216" y="124"/>
                  </a:cubicBezTo>
                  <a:cubicBezTo>
                    <a:pt x="214" y="120"/>
                    <a:pt x="214" y="120"/>
                    <a:pt x="214" y="120"/>
                  </a:cubicBezTo>
                  <a:cubicBezTo>
                    <a:pt x="210" y="117"/>
                    <a:pt x="210" y="117"/>
                    <a:pt x="210" y="117"/>
                  </a:cubicBezTo>
                  <a:cubicBezTo>
                    <a:pt x="206" y="113"/>
                    <a:pt x="206" y="113"/>
                    <a:pt x="206" y="113"/>
                  </a:cubicBezTo>
                  <a:cubicBezTo>
                    <a:pt x="202" y="113"/>
                    <a:pt x="202" y="113"/>
                    <a:pt x="202" y="113"/>
                  </a:cubicBezTo>
                  <a:cubicBezTo>
                    <a:pt x="197" y="111"/>
                    <a:pt x="197" y="111"/>
                    <a:pt x="197" y="111"/>
                  </a:cubicBezTo>
                  <a:cubicBezTo>
                    <a:pt x="195" y="113"/>
                    <a:pt x="195" y="113"/>
                    <a:pt x="195" y="113"/>
                  </a:cubicBezTo>
                  <a:cubicBezTo>
                    <a:pt x="190" y="110"/>
                    <a:pt x="190" y="110"/>
                    <a:pt x="190" y="110"/>
                  </a:cubicBezTo>
                  <a:cubicBezTo>
                    <a:pt x="186" y="111"/>
                    <a:pt x="186" y="111"/>
                    <a:pt x="186" y="111"/>
                  </a:cubicBezTo>
                  <a:cubicBezTo>
                    <a:pt x="185" y="110"/>
                    <a:pt x="185" y="110"/>
                    <a:pt x="185" y="110"/>
                  </a:cubicBezTo>
                  <a:cubicBezTo>
                    <a:pt x="187" y="106"/>
                    <a:pt x="187" y="106"/>
                    <a:pt x="187" y="106"/>
                  </a:cubicBezTo>
                  <a:cubicBezTo>
                    <a:pt x="185" y="101"/>
                    <a:pt x="185" y="101"/>
                    <a:pt x="185" y="101"/>
                  </a:cubicBezTo>
                  <a:cubicBezTo>
                    <a:pt x="189" y="100"/>
                    <a:pt x="189" y="100"/>
                    <a:pt x="189" y="100"/>
                  </a:cubicBezTo>
                  <a:cubicBezTo>
                    <a:pt x="189" y="95"/>
                    <a:pt x="189" y="95"/>
                    <a:pt x="189" y="95"/>
                  </a:cubicBezTo>
                  <a:cubicBezTo>
                    <a:pt x="191" y="85"/>
                    <a:pt x="191" y="85"/>
                    <a:pt x="191" y="85"/>
                  </a:cubicBezTo>
                  <a:cubicBezTo>
                    <a:pt x="187" y="84"/>
                    <a:pt x="187" y="84"/>
                    <a:pt x="187" y="84"/>
                  </a:cubicBezTo>
                  <a:cubicBezTo>
                    <a:pt x="182" y="80"/>
                    <a:pt x="182" y="80"/>
                    <a:pt x="182" y="80"/>
                  </a:cubicBezTo>
                  <a:cubicBezTo>
                    <a:pt x="177" y="78"/>
                    <a:pt x="177" y="78"/>
                    <a:pt x="177" y="78"/>
                  </a:cubicBezTo>
                  <a:cubicBezTo>
                    <a:pt x="172" y="78"/>
                    <a:pt x="172" y="78"/>
                    <a:pt x="172" y="78"/>
                  </a:cubicBezTo>
                  <a:cubicBezTo>
                    <a:pt x="169" y="76"/>
                    <a:pt x="169" y="76"/>
                    <a:pt x="169" y="76"/>
                  </a:cubicBezTo>
                  <a:cubicBezTo>
                    <a:pt x="169" y="71"/>
                    <a:pt x="169" y="71"/>
                    <a:pt x="169" y="71"/>
                  </a:cubicBezTo>
                  <a:cubicBezTo>
                    <a:pt x="170" y="61"/>
                    <a:pt x="170" y="61"/>
                    <a:pt x="170" y="61"/>
                  </a:cubicBezTo>
                  <a:cubicBezTo>
                    <a:pt x="167" y="57"/>
                    <a:pt x="167" y="57"/>
                    <a:pt x="167" y="57"/>
                  </a:cubicBezTo>
                  <a:cubicBezTo>
                    <a:pt x="165" y="56"/>
                    <a:pt x="165" y="56"/>
                    <a:pt x="165" y="56"/>
                  </a:cubicBezTo>
                  <a:cubicBezTo>
                    <a:pt x="163" y="59"/>
                    <a:pt x="163" y="59"/>
                    <a:pt x="163" y="59"/>
                  </a:cubicBezTo>
                  <a:cubicBezTo>
                    <a:pt x="161" y="61"/>
                    <a:pt x="161" y="61"/>
                    <a:pt x="161" y="61"/>
                  </a:cubicBezTo>
                  <a:cubicBezTo>
                    <a:pt x="158" y="60"/>
                    <a:pt x="158" y="60"/>
                    <a:pt x="158" y="60"/>
                  </a:cubicBezTo>
                  <a:cubicBezTo>
                    <a:pt x="157" y="53"/>
                    <a:pt x="157" y="53"/>
                    <a:pt x="157" y="53"/>
                  </a:cubicBezTo>
                  <a:cubicBezTo>
                    <a:pt x="159" y="36"/>
                    <a:pt x="159" y="36"/>
                    <a:pt x="159" y="36"/>
                  </a:cubicBezTo>
                  <a:cubicBezTo>
                    <a:pt x="158" y="35"/>
                    <a:pt x="158" y="35"/>
                    <a:pt x="158" y="35"/>
                  </a:cubicBezTo>
                  <a:cubicBezTo>
                    <a:pt x="151" y="36"/>
                    <a:pt x="151" y="36"/>
                    <a:pt x="151" y="36"/>
                  </a:cubicBezTo>
                  <a:cubicBezTo>
                    <a:pt x="154" y="32"/>
                    <a:pt x="154" y="32"/>
                    <a:pt x="154" y="32"/>
                  </a:cubicBezTo>
                  <a:cubicBezTo>
                    <a:pt x="152" y="29"/>
                    <a:pt x="152" y="29"/>
                    <a:pt x="152" y="29"/>
                  </a:cubicBezTo>
                  <a:cubicBezTo>
                    <a:pt x="147" y="32"/>
                    <a:pt x="147" y="32"/>
                    <a:pt x="147" y="32"/>
                  </a:cubicBezTo>
                  <a:cubicBezTo>
                    <a:pt x="142" y="30"/>
                    <a:pt x="142" y="30"/>
                    <a:pt x="142" y="30"/>
                  </a:cubicBezTo>
                  <a:cubicBezTo>
                    <a:pt x="137" y="32"/>
                    <a:pt x="137" y="32"/>
                    <a:pt x="137" y="32"/>
                  </a:cubicBezTo>
                  <a:cubicBezTo>
                    <a:pt x="132" y="28"/>
                    <a:pt x="132" y="28"/>
                    <a:pt x="132" y="28"/>
                  </a:cubicBezTo>
                  <a:cubicBezTo>
                    <a:pt x="126" y="27"/>
                    <a:pt x="126" y="27"/>
                    <a:pt x="126" y="27"/>
                  </a:cubicBezTo>
                  <a:cubicBezTo>
                    <a:pt x="125" y="24"/>
                    <a:pt x="125" y="24"/>
                    <a:pt x="125" y="24"/>
                  </a:cubicBezTo>
                  <a:cubicBezTo>
                    <a:pt x="131" y="20"/>
                    <a:pt x="131" y="20"/>
                    <a:pt x="131" y="20"/>
                  </a:cubicBezTo>
                  <a:cubicBezTo>
                    <a:pt x="131" y="17"/>
                    <a:pt x="131" y="17"/>
                    <a:pt x="131" y="17"/>
                  </a:cubicBezTo>
                  <a:cubicBezTo>
                    <a:pt x="130" y="12"/>
                    <a:pt x="130" y="12"/>
                    <a:pt x="130" y="12"/>
                  </a:cubicBezTo>
                  <a:cubicBezTo>
                    <a:pt x="126" y="5"/>
                    <a:pt x="126" y="5"/>
                    <a:pt x="126" y="5"/>
                  </a:cubicBezTo>
                  <a:cubicBezTo>
                    <a:pt x="122" y="0"/>
                    <a:pt x="122" y="0"/>
                    <a:pt x="122" y="0"/>
                  </a:cubicBezTo>
                  <a:cubicBezTo>
                    <a:pt x="116" y="2"/>
                    <a:pt x="116" y="2"/>
                    <a:pt x="116" y="2"/>
                  </a:cubicBezTo>
                  <a:cubicBezTo>
                    <a:pt x="115" y="6"/>
                    <a:pt x="115" y="6"/>
                    <a:pt x="115" y="6"/>
                  </a:cubicBezTo>
                  <a:cubicBezTo>
                    <a:pt x="112" y="8"/>
                    <a:pt x="112" y="8"/>
                    <a:pt x="112" y="8"/>
                  </a:cubicBezTo>
                  <a:cubicBezTo>
                    <a:pt x="104" y="13"/>
                    <a:pt x="104" y="13"/>
                    <a:pt x="104" y="13"/>
                  </a:cubicBezTo>
                  <a:cubicBezTo>
                    <a:pt x="100" y="16"/>
                    <a:pt x="100" y="16"/>
                    <a:pt x="100" y="16"/>
                  </a:cubicBezTo>
                  <a:cubicBezTo>
                    <a:pt x="96" y="15"/>
                    <a:pt x="96" y="15"/>
                    <a:pt x="96" y="15"/>
                  </a:cubicBezTo>
                  <a:cubicBezTo>
                    <a:pt x="92" y="17"/>
                    <a:pt x="92" y="17"/>
                    <a:pt x="92" y="17"/>
                  </a:cubicBezTo>
                  <a:cubicBezTo>
                    <a:pt x="89" y="13"/>
                    <a:pt x="89" y="13"/>
                    <a:pt x="89" y="13"/>
                  </a:cubicBezTo>
                  <a:cubicBezTo>
                    <a:pt x="88" y="16"/>
                    <a:pt x="88" y="16"/>
                    <a:pt x="88" y="16"/>
                  </a:cubicBezTo>
                  <a:cubicBezTo>
                    <a:pt x="91" y="22"/>
                    <a:pt x="91" y="22"/>
                    <a:pt x="91" y="22"/>
                  </a:cubicBezTo>
                  <a:cubicBezTo>
                    <a:pt x="99" y="24"/>
                    <a:pt x="99" y="24"/>
                    <a:pt x="99" y="24"/>
                  </a:cubicBezTo>
                  <a:cubicBezTo>
                    <a:pt x="101" y="27"/>
                    <a:pt x="101" y="27"/>
                    <a:pt x="101" y="27"/>
                  </a:cubicBezTo>
                  <a:cubicBezTo>
                    <a:pt x="97" y="30"/>
                    <a:pt x="97" y="30"/>
                    <a:pt x="97" y="30"/>
                  </a:cubicBezTo>
                  <a:cubicBezTo>
                    <a:pt x="97" y="33"/>
                    <a:pt x="97" y="33"/>
                    <a:pt x="97" y="33"/>
                  </a:cubicBezTo>
                  <a:cubicBezTo>
                    <a:pt x="101" y="35"/>
                    <a:pt x="101" y="35"/>
                    <a:pt x="101" y="35"/>
                  </a:cubicBezTo>
                  <a:cubicBezTo>
                    <a:pt x="100" y="40"/>
                    <a:pt x="100" y="40"/>
                    <a:pt x="100" y="40"/>
                  </a:cubicBezTo>
                  <a:cubicBezTo>
                    <a:pt x="97" y="42"/>
                    <a:pt x="97" y="42"/>
                    <a:pt x="97" y="42"/>
                  </a:cubicBezTo>
                  <a:cubicBezTo>
                    <a:pt x="99" y="46"/>
                    <a:pt x="99" y="46"/>
                    <a:pt x="99" y="46"/>
                  </a:cubicBezTo>
                  <a:cubicBezTo>
                    <a:pt x="96" y="47"/>
                    <a:pt x="96" y="47"/>
                    <a:pt x="96" y="47"/>
                  </a:cubicBezTo>
                  <a:cubicBezTo>
                    <a:pt x="92" y="49"/>
                    <a:pt x="92" y="49"/>
                    <a:pt x="92" y="49"/>
                  </a:cubicBezTo>
                  <a:cubicBezTo>
                    <a:pt x="91" y="44"/>
                    <a:pt x="91" y="44"/>
                    <a:pt x="91" y="44"/>
                  </a:cubicBezTo>
                  <a:cubicBezTo>
                    <a:pt x="88" y="45"/>
                    <a:pt x="88" y="45"/>
                    <a:pt x="88" y="45"/>
                  </a:cubicBezTo>
                  <a:cubicBezTo>
                    <a:pt x="78" y="53"/>
                    <a:pt x="78" y="53"/>
                    <a:pt x="78" y="53"/>
                  </a:cubicBezTo>
                  <a:cubicBezTo>
                    <a:pt x="70" y="59"/>
                    <a:pt x="70" y="59"/>
                    <a:pt x="70" y="59"/>
                  </a:cubicBezTo>
                  <a:cubicBezTo>
                    <a:pt x="72" y="65"/>
                    <a:pt x="72" y="65"/>
                    <a:pt x="72" y="65"/>
                  </a:cubicBezTo>
                  <a:cubicBezTo>
                    <a:pt x="73" y="71"/>
                    <a:pt x="73" y="71"/>
                    <a:pt x="73" y="71"/>
                  </a:cubicBezTo>
                  <a:cubicBezTo>
                    <a:pt x="63" y="74"/>
                    <a:pt x="63" y="74"/>
                    <a:pt x="63" y="74"/>
                  </a:cubicBezTo>
                  <a:cubicBezTo>
                    <a:pt x="45" y="74"/>
                    <a:pt x="45" y="74"/>
                    <a:pt x="45" y="74"/>
                  </a:cubicBezTo>
                  <a:cubicBezTo>
                    <a:pt x="32" y="75"/>
                    <a:pt x="32" y="75"/>
                    <a:pt x="32" y="75"/>
                  </a:cubicBezTo>
                  <a:cubicBezTo>
                    <a:pt x="14" y="72"/>
                    <a:pt x="14" y="72"/>
                    <a:pt x="14" y="72"/>
                  </a:cubicBezTo>
                  <a:cubicBezTo>
                    <a:pt x="9" y="77"/>
                    <a:pt x="9" y="77"/>
                    <a:pt x="9" y="77"/>
                  </a:cubicBezTo>
                  <a:cubicBezTo>
                    <a:pt x="8" y="76"/>
                    <a:pt x="7" y="76"/>
                    <a:pt x="6" y="75"/>
                  </a:cubicBezTo>
                  <a:cubicBezTo>
                    <a:pt x="6" y="116"/>
                    <a:pt x="6" y="116"/>
                    <a:pt x="6" y="116"/>
                  </a:cubicBezTo>
                  <a:cubicBezTo>
                    <a:pt x="6" y="141"/>
                    <a:pt x="6" y="141"/>
                    <a:pt x="6" y="141"/>
                  </a:cubicBezTo>
                  <a:cubicBezTo>
                    <a:pt x="14" y="153"/>
                    <a:pt x="14" y="153"/>
                    <a:pt x="14" y="153"/>
                  </a:cubicBezTo>
                  <a:cubicBezTo>
                    <a:pt x="14" y="154"/>
                    <a:pt x="14" y="155"/>
                    <a:pt x="14" y="155"/>
                  </a:cubicBezTo>
                  <a:cubicBezTo>
                    <a:pt x="14" y="155"/>
                    <a:pt x="15" y="155"/>
                    <a:pt x="16" y="156"/>
                  </a:cubicBezTo>
                  <a:cubicBezTo>
                    <a:pt x="27" y="173"/>
                    <a:pt x="27" y="173"/>
                    <a:pt x="27" y="173"/>
                  </a:cubicBezTo>
                  <a:cubicBezTo>
                    <a:pt x="48" y="173"/>
                    <a:pt x="48" y="173"/>
                    <a:pt x="48" y="173"/>
                  </a:cubicBezTo>
                  <a:cubicBezTo>
                    <a:pt x="48" y="173"/>
                    <a:pt x="49" y="174"/>
                    <a:pt x="50" y="175"/>
                  </a:cubicBezTo>
                  <a:cubicBezTo>
                    <a:pt x="59" y="201"/>
                    <a:pt x="59" y="201"/>
                    <a:pt x="59" y="201"/>
                  </a:cubicBezTo>
                  <a:cubicBezTo>
                    <a:pt x="59" y="205"/>
                    <a:pt x="60" y="208"/>
                    <a:pt x="60" y="211"/>
                  </a:cubicBezTo>
                  <a:cubicBezTo>
                    <a:pt x="60" y="229"/>
                    <a:pt x="60" y="229"/>
                    <a:pt x="60" y="229"/>
                  </a:cubicBezTo>
                  <a:cubicBezTo>
                    <a:pt x="60" y="237"/>
                    <a:pt x="60" y="237"/>
                    <a:pt x="60" y="237"/>
                  </a:cubicBezTo>
                  <a:cubicBezTo>
                    <a:pt x="76" y="232"/>
                    <a:pt x="76" y="232"/>
                    <a:pt x="76" y="232"/>
                  </a:cubicBezTo>
                  <a:cubicBezTo>
                    <a:pt x="92" y="226"/>
                    <a:pt x="92" y="226"/>
                    <a:pt x="92" y="226"/>
                  </a:cubicBezTo>
                  <a:cubicBezTo>
                    <a:pt x="103" y="205"/>
                    <a:pt x="103" y="205"/>
                    <a:pt x="103" y="205"/>
                  </a:cubicBezTo>
                  <a:cubicBezTo>
                    <a:pt x="138" y="205"/>
                    <a:pt x="138" y="205"/>
                    <a:pt x="138" y="205"/>
                  </a:cubicBezTo>
                  <a:cubicBezTo>
                    <a:pt x="146" y="205"/>
                    <a:pt x="146" y="205"/>
                    <a:pt x="146" y="205"/>
                  </a:cubicBezTo>
                  <a:cubicBezTo>
                    <a:pt x="146" y="184"/>
                    <a:pt x="146" y="184"/>
                    <a:pt x="146" y="184"/>
                  </a:cubicBezTo>
                  <a:cubicBezTo>
                    <a:pt x="178" y="184"/>
                    <a:pt x="178" y="184"/>
                    <a:pt x="178" y="184"/>
                  </a:cubicBezTo>
                  <a:cubicBezTo>
                    <a:pt x="189" y="173"/>
                    <a:pt x="189" y="173"/>
                    <a:pt x="189" y="173"/>
                  </a:cubicBezTo>
                  <a:cubicBezTo>
                    <a:pt x="210" y="170"/>
                    <a:pt x="210" y="170"/>
                    <a:pt x="210" y="170"/>
                  </a:cubicBezTo>
                  <a:cubicBezTo>
                    <a:pt x="209" y="163"/>
                    <a:pt x="209" y="163"/>
                    <a:pt x="209" y="163"/>
                  </a:cubicBezTo>
                  <a:cubicBezTo>
                    <a:pt x="213" y="159"/>
                    <a:pt x="213" y="159"/>
                    <a:pt x="213" y="159"/>
                  </a:cubicBezTo>
                  <a:cubicBezTo>
                    <a:pt x="217" y="156"/>
                    <a:pt x="217" y="156"/>
                    <a:pt x="217" y="156"/>
                  </a:cubicBezTo>
                  <a:cubicBezTo>
                    <a:pt x="219" y="147"/>
                    <a:pt x="219" y="147"/>
                    <a:pt x="219" y="147"/>
                  </a:cubicBezTo>
                  <a:cubicBezTo>
                    <a:pt x="225" y="144"/>
                    <a:pt x="225" y="144"/>
                    <a:pt x="225" y="144"/>
                  </a:cubicBezTo>
                  <a:cubicBezTo>
                    <a:pt x="225" y="141"/>
                    <a:pt x="225" y="141"/>
                    <a:pt x="225" y="141"/>
                  </a:cubicBezTo>
                  <a:cubicBezTo>
                    <a:pt x="228" y="137"/>
                    <a:pt x="228" y="137"/>
                    <a:pt x="228" y="137"/>
                  </a:cubicBezTo>
                  <a:cubicBezTo>
                    <a:pt x="229" y="133"/>
                    <a:pt x="229" y="133"/>
                    <a:pt x="229" y="133"/>
                  </a:cubicBezTo>
                  <a:cubicBezTo>
                    <a:pt x="232" y="129"/>
                    <a:pt x="232" y="129"/>
                    <a:pt x="232" y="129"/>
                  </a:cubicBezTo>
                  <a:cubicBezTo>
                    <a:pt x="231" y="124"/>
                    <a:pt x="231" y="124"/>
                    <a:pt x="231" y="124"/>
                  </a:cubicBezTo>
                  <a:close/>
                </a:path>
              </a:pathLst>
            </a:custGeom>
            <a:grpFill/>
            <a:ln w="3175" cap="flat" cmpd="sng">
              <a:solidFill>
                <a:schemeClr val="bg1"/>
              </a:solidFill>
              <a:prstDash val="solid"/>
              <a:round/>
              <a:headEnd type="none" w="med" len="med"/>
              <a:tailEnd type="none" w="med" len="med"/>
            </a:ln>
            <a:effectLst/>
          </p:spPr>
          <p:txBody>
            <a:bodyPr/>
            <a:lstStyle/>
            <a:p>
              <a:endParaRPr lang="en-US">
                <a:solidFill>
                  <a:srgbClr val="000000"/>
                </a:solidFill>
              </a:endParaRPr>
            </a:p>
          </p:txBody>
        </p:sp>
        <p:sp>
          <p:nvSpPr>
            <p:cNvPr id="269" name="Freeform 198"/>
            <p:cNvSpPr>
              <a:spLocks/>
            </p:cNvSpPr>
            <p:nvPr/>
          </p:nvSpPr>
          <p:spPr bwMode="gray">
            <a:xfrm>
              <a:off x="4607748" y="3083855"/>
              <a:ext cx="103075" cy="104794"/>
            </a:xfrm>
            <a:custGeom>
              <a:avLst/>
              <a:gdLst/>
              <a:ahLst/>
              <a:cxnLst>
                <a:cxn ang="0">
                  <a:pos x="464" y="374"/>
                </a:cxn>
                <a:cxn ang="0">
                  <a:pos x="453" y="310"/>
                </a:cxn>
                <a:cxn ang="0">
                  <a:pos x="453" y="235"/>
                </a:cxn>
                <a:cxn ang="0">
                  <a:pos x="378" y="224"/>
                </a:cxn>
                <a:cxn ang="0">
                  <a:pos x="302" y="171"/>
                </a:cxn>
                <a:cxn ang="0">
                  <a:pos x="291" y="118"/>
                </a:cxn>
                <a:cxn ang="0">
                  <a:pos x="259" y="128"/>
                </a:cxn>
                <a:cxn ang="0">
                  <a:pos x="216" y="53"/>
                </a:cxn>
                <a:cxn ang="0">
                  <a:pos x="87" y="0"/>
                </a:cxn>
                <a:cxn ang="0">
                  <a:pos x="0" y="43"/>
                </a:cxn>
                <a:cxn ang="0">
                  <a:pos x="32" y="96"/>
                </a:cxn>
                <a:cxn ang="0">
                  <a:pos x="65" y="139"/>
                </a:cxn>
                <a:cxn ang="0">
                  <a:pos x="54" y="150"/>
                </a:cxn>
                <a:cxn ang="0">
                  <a:pos x="32" y="181"/>
                </a:cxn>
                <a:cxn ang="0">
                  <a:pos x="32" y="192"/>
                </a:cxn>
                <a:cxn ang="0">
                  <a:pos x="76" y="203"/>
                </a:cxn>
                <a:cxn ang="0">
                  <a:pos x="87" y="267"/>
                </a:cxn>
                <a:cxn ang="0">
                  <a:pos x="65" y="310"/>
                </a:cxn>
                <a:cxn ang="0">
                  <a:pos x="98" y="363"/>
                </a:cxn>
                <a:cxn ang="0">
                  <a:pos x="119" y="395"/>
                </a:cxn>
                <a:cxn ang="0">
                  <a:pos x="157" y="442"/>
                </a:cxn>
                <a:cxn ang="0">
                  <a:pos x="173" y="438"/>
                </a:cxn>
                <a:cxn ang="0">
                  <a:pos x="180" y="444"/>
                </a:cxn>
                <a:cxn ang="0">
                  <a:pos x="230" y="446"/>
                </a:cxn>
                <a:cxn ang="0">
                  <a:pos x="237" y="431"/>
                </a:cxn>
                <a:cxn ang="0">
                  <a:pos x="258" y="416"/>
                </a:cxn>
                <a:cxn ang="0">
                  <a:pos x="266" y="418"/>
                </a:cxn>
                <a:cxn ang="0">
                  <a:pos x="268" y="407"/>
                </a:cxn>
                <a:cxn ang="0">
                  <a:pos x="267" y="399"/>
                </a:cxn>
                <a:cxn ang="0">
                  <a:pos x="254" y="388"/>
                </a:cxn>
                <a:cxn ang="0">
                  <a:pos x="262" y="387"/>
                </a:cxn>
                <a:cxn ang="0">
                  <a:pos x="279" y="380"/>
                </a:cxn>
                <a:cxn ang="0">
                  <a:pos x="288" y="372"/>
                </a:cxn>
                <a:cxn ang="0">
                  <a:pos x="298" y="389"/>
                </a:cxn>
                <a:cxn ang="0">
                  <a:pos x="292" y="399"/>
                </a:cxn>
                <a:cxn ang="0">
                  <a:pos x="309" y="402"/>
                </a:cxn>
                <a:cxn ang="0">
                  <a:pos x="321" y="404"/>
                </a:cxn>
                <a:cxn ang="0">
                  <a:pos x="326" y="408"/>
                </a:cxn>
                <a:cxn ang="0">
                  <a:pos x="328" y="433"/>
                </a:cxn>
                <a:cxn ang="0">
                  <a:pos x="334" y="429"/>
                </a:cxn>
                <a:cxn ang="0">
                  <a:pos x="335" y="448"/>
                </a:cxn>
                <a:cxn ang="0">
                  <a:pos x="348" y="452"/>
                </a:cxn>
                <a:cxn ang="0">
                  <a:pos x="356" y="467"/>
                </a:cxn>
                <a:cxn ang="0">
                  <a:pos x="354" y="478"/>
                </a:cxn>
                <a:cxn ang="0">
                  <a:pos x="356" y="482"/>
                </a:cxn>
                <a:cxn ang="0">
                  <a:pos x="369" y="485"/>
                </a:cxn>
                <a:cxn ang="0">
                  <a:pos x="381" y="492"/>
                </a:cxn>
                <a:cxn ang="0">
                  <a:pos x="390" y="496"/>
                </a:cxn>
                <a:cxn ang="0">
                  <a:pos x="399" y="501"/>
                </a:cxn>
                <a:cxn ang="0">
                  <a:pos x="392" y="513"/>
                </a:cxn>
                <a:cxn ang="0">
                  <a:pos x="384" y="528"/>
                </a:cxn>
                <a:cxn ang="0">
                  <a:pos x="376" y="542"/>
                </a:cxn>
                <a:cxn ang="0">
                  <a:pos x="453" y="492"/>
                </a:cxn>
                <a:cxn ang="0">
                  <a:pos x="486" y="470"/>
                </a:cxn>
                <a:cxn ang="0">
                  <a:pos x="486" y="406"/>
                </a:cxn>
              </a:cxnLst>
              <a:rect l="0" t="0" r="r" b="b"/>
              <a:pathLst>
                <a:path w="496" h="542">
                  <a:moveTo>
                    <a:pt x="486" y="406"/>
                  </a:moveTo>
                  <a:cubicBezTo>
                    <a:pt x="453" y="395"/>
                    <a:pt x="453" y="395"/>
                    <a:pt x="453" y="395"/>
                  </a:cubicBezTo>
                  <a:cubicBezTo>
                    <a:pt x="464" y="374"/>
                    <a:pt x="464" y="374"/>
                    <a:pt x="464" y="374"/>
                  </a:cubicBezTo>
                  <a:cubicBezTo>
                    <a:pt x="432" y="363"/>
                    <a:pt x="432" y="363"/>
                    <a:pt x="432" y="363"/>
                  </a:cubicBezTo>
                  <a:cubicBezTo>
                    <a:pt x="432" y="331"/>
                    <a:pt x="432" y="331"/>
                    <a:pt x="432" y="331"/>
                  </a:cubicBezTo>
                  <a:cubicBezTo>
                    <a:pt x="453" y="310"/>
                    <a:pt x="453" y="310"/>
                    <a:pt x="453" y="310"/>
                  </a:cubicBezTo>
                  <a:cubicBezTo>
                    <a:pt x="453" y="267"/>
                    <a:pt x="453" y="267"/>
                    <a:pt x="453" y="267"/>
                  </a:cubicBezTo>
                  <a:cubicBezTo>
                    <a:pt x="442" y="256"/>
                    <a:pt x="442" y="256"/>
                    <a:pt x="442" y="256"/>
                  </a:cubicBezTo>
                  <a:cubicBezTo>
                    <a:pt x="453" y="235"/>
                    <a:pt x="453" y="235"/>
                    <a:pt x="453" y="235"/>
                  </a:cubicBezTo>
                  <a:cubicBezTo>
                    <a:pt x="464" y="224"/>
                    <a:pt x="464" y="224"/>
                    <a:pt x="464" y="224"/>
                  </a:cubicBezTo>
                  <a:cubicBezTo>
                    <a:pt x="421" y="213"/>
                    <a:pt x="421" y="213"/>
                    <a:pt x="421" y="213"/>
                  </a:cubicBezTo>
                  <a:cubicBezTo>
                    <a:pt x="378" y="224"/>
                    <a:pt x="378" y="224"/>
                    <a:pt x="378" y="224"/>
                  </a:cubicBezTo>
                  <a:cubicBezTo>
                    <a:pt x="367" y="213"/>
                    <a:pt x="367" y="213"/>
                    <a:pt x="367" y="213"/>
                  </a:cubicBezTo>
                  <a:cubicBezTo>
                    <a:pt x="324" y="203"/>
                    <a:pt x="324" y="203"/>
                    <a:pt x="324" y="203"/>
                  </a:cubicBezTo>
                  <a:cubicBezTo>
                    <a:pt x="302" y="171"/>
                    <a:pt x="302" y="171"/>
                    <a:pt x="302" y="171"/>
                  </a:cubicBezTo>
                  <a:cubicBezTo>
                    <a:pt x="313" y="160"/>
                    <a:pt x="313" y="160"/>
                    <a:pt x="313" y="160"/>
                  </a:cubicBezTo>
                  <a:cubicBezTo>
                    <a:pt x="313" y="128"/>
                    <a:pt x="313" y="128"/>
                    <a:pt x="313" y="128"/>
                  </a:cubicBezTo>
                  <a:cubicBezTo>
                    <a:pt x="291" y="118"/>
                    <a:pt x="291" y="118"/>
                    <a:pt x="291" y="118"/>
                  </a:cubicBezTo>
                  <a:cubicBezTo>
                    <a:pt x="280" y="118"/>
                    <a:pt x="280" y="118"/>
                    <a:pt x="280" y="118"/>
                  </a:cubicBezTo>
                  <a:cubicBezTo>
                    <a:pt x="270" y="128"/>
                    <a:pt x="270" y="128"/>
                    <a:pt x="270" y="128"/>
                  </a:cubicBezTo>
                  <a:cubicBezTo>
                    <a:pt x="259" y="128"/>
                    <a:pt x="259" y="128"/>
                    <a:pt x="259" y="128"/>
                  </a:cubicBezTo>
                  <a:cubicBezTo>
                    <a:pt x="249" y="118"/>
                    <a:pt x="249" y="118"/>
                    <a:pt x="249" y="118"/>
                  </a:cubicBezTo>
                  <a:cubicBezTo>
                    <a:pt x="227" y="53"/>
                    <a:pt x="227" y="53"/>
                    <a:pt x="227" y="53"/>
                  </a:cubicBezTo>
                  <a:cubicBezTo>
                    <a:pt x="216" y="53"/>
                    <a:pt x="216" y="53"/>
                    <a:pt x="216" y="53"/>
                  </a:cubicBezTo>
                  <a:cubicBezTo>
                    <a:pt x="173" y="21"/>
                    <a:pt x="173" y="21"/>
                    <a:pt x="173" y="21"/>
                  </a:cubicBezTo>
                  <a:cubicBezTo>
                    <a:pt x="129" y="0"/>
                    <a:pt x="129" y="0"/>
                    <a:pt x="129" y="0"/>
                  </a:cubicBezTo>
                  <a:cubicBezTo>
                    <a:pt x="87" y="0"/>
                    <a:pt x="87" y="0"/>
                    <a:pt x="87" y="0"/>
                  </a:cubicBezTo>
                  <a:cubicBezTo>
                    <a:pt x="54" y="32"/>
                    <a:pt x="54" y="32"/>
                    <a:pt x="54" y="32"/>
                  </a:cubicBezTo>
                  <a:cubicBezTo>
                    <a:pt x="11" y="32"/>
                    <a:pt x="11" y="32"/>
                    <a:pt x="11" y="32"/>
                  </a:cubicBezTo>
                  <a:cubicBezTo>
                    <a:pt x="0" y="43"/>
                    <a:pt x="0" y="43"/>
                    <a:pt x="0" y="43"/>
                  </a:cubicBezTo>
                  <a:cubicBezTo>
                    <a:pt x="11" y="43"/>
                    <a:pt x="11" y="43"/>
                    <a:pt x="11" y="43"/>
                  </a:cubicBezTo>
                  <a:cubicBezTo>
                    <a:pt x="22" y="96"/>
                    <a:pt x="22" y="96"/>
                    <a:pt x="22" y="96"/>
                  </a:cubicBezTo>
                  <a:cubicBezTo>
                    <a:pt x="32" y="96"/>
                    <a:pt x="32" y="96"/>
                    <a:pt x="32" y="96"/>
                  </a:cubicBezTo>
                  <a:cubicBezTo>
                    <a:pt x="22" y="128"/>
                    <a:pt x="22" y="128"/>
                    <a:pt x="22" y="128"/>
                  </a:cubicBezTo>
                  <a:cubicBezTo>
                    <a:pt x="43" y="128"/>
                    <a:pt x="43" y="128"/>
                    <a:pt x="43" y="128"/>
                  </a:cubicBezTo>
                  <a:cubicBezTo>
                    <a:pt x="65" y="139"/>
                    <a:pt x="65" y="139"/>
                    <a:pt x="65" y="139"/>
                  </a:cubicBezTo>
                  <a:cubicBezTo>
                    <a:pt x="76" y="139"/>
                    <a:pt x="76" y="139"/>
                    <a:pt x="76" y="139"/>
                  </a:cubicBezTo>
                  <a:cubicBezTo>
                    <a:pt x="65" y="150"/>
                    <a:pt x="65" y="150"/>
                    <a:pt x="65" y="150"/>
                  </a:cubicBezTo>
                  <a:cubicBezTo>
                    <a:pt x="54" y="150"/>
                    <a:pt x="54" y="150"/>
                    <a:pt x="54" y="150"/>
                  </a:cubicBezTo>
                  <a:cubicBezTo>
                    <a:pt x="43" y="160"/>
                    <a:pt x="43" y="160"/>
                    <a:pt x="43" y="160"/>
                  </a:cubicBezTo>
                  <a:cubicBezTo>
                    <a:pt x="32" y="160"/>
                    <a:pt x="32" y="160"/>
                    <a:pt x="32" y="160"/>
                  </a:cubicBezTo>
                  <a:cubicBezTo>
                    <a:pt x="32" y="181"/>
                    <a:pt x="32" y="181"/>
                    <a:pt x="32" y="181"/>
                  </a:cubicBezTo>
                  <a:cubicBezTo>
                    <a:pt x="22" y="181"/>
                    <a:pt x="22" y="181"/>
                    <a:pt x="22" y="181"/>
                  </a:cubicBezTo>
                  <a:cubicBezTo>
                    <a:pt x="22" y="192"/>
                    <a:pt x="22" y="192"/>
                    <a:pt x="22" y="192"/>
                  </a:cubicBezTo>
                  <a:cubicBezTo>
                    <a:pt x="32" y="192"/>
                    <a:pt x="32" y="192"/>
                    <a:pt x="32" y="192"/>
                  </a:cubicBezTo>
                  <a:cubicBezTo>
                    <a:pt x="54" y="181"/>
                    <a:pt x="54" y="181"/>
                    <a:pt x="54" y="181"/>
                  </a:cubicBezTo>
                  <a:cubicBezTo>
                    <a:pt x="76" y="181"/>
                    <a:pt x="76" y="181"/>
                    <a:pt x="76" y="181"/>
                  </a:cubicBezTo>
                  <a:cubicBezTo>
                    <a:pt x="76" y="203"/>
                    <a:pt x="76" y="203"/>
                    <a:pt x="76" y="203"/>
                  </a:cubicBezTo>
                  <a:cubicBezTo>
                    <a:pt x="43" y="235"/>
                    <a:pt x="43" y="235"/>
                    <a:pt x="43" y="235"/>
                  </a:cubicBezTo>
                  <a:cubicBezTo>
                    <a:pt x="43" y="267"/>
                    <a:pt x="43" y="267"/>
                    <a:pt x="43" y="267"/>
                  </a:cubicBezTo>
                  <a:cubicBezTo>
                    <a:pt x="87" y="267"/>
                    <a:pt x="87" y="267"/>
                    <a:pt x="87" y="267"/>
                  </a:cubicBezTo>
                  <a:cubicBezTo>
                    <a:pt x="98" y="278"/>
                    <a:pt x="98" y="278"/>
                    <a:pt x="98" y="278"/>
                  </a:cubicBezTo>
                  <a:cubicBezTo>
                    <a:pt x="108" y="299"/>
                    <a:pt x="108" y="299"/>
                    <a:pt x="108" y="299"/>
                  </a:cubicBezTo>
                  <a:cubicBezTo>
                    <a:pt x="65" y="310"/>
                    <a:pt x="65" y="310"/>
                    <a:pt x="65" y="310"/>
                  </a:cubicBezTo>
                  <a:cubicBezTo>
                    <a:pt x="87" y="331"/>
                    <a:pt x="87" y="331"/>
                    <a:pt x="87" y="331"/>
                  </a:cubicBezTo>
                  <a:cubicBezTo>
                    <a:pt x="98" y="353"/>
                    <a:pt x="98" y="353"/>
                    <a:pt x="98" y="353"/>
                  </a:cubicBezTo>
                  <a:cubicBezTo>
                    <a:pt x="98" y="363"/>
                    <a:pt x="98" y="363"/>
                    <a:pt x="98" y="363"/>
                  </a:cubicBezTo>
                  <a:cubicBezTo>
                    <a:pt x="87" y="363"/>
                    <a:pt x="87" y="363"/>
                    <a:pt x="87" y="363"/>
                  </a:cubicBezTo>
                  <a:cubicBezTo>
                    <a:pt x="87" y="374"/>
                    <a:pt x="87" y="374"/>
                    <a:pt x="87" y="374"/>
                  </a:cubicBezTo>
                  <a:cubicBezTo>
                    <a:pt x="119" y="395"/>
                    <a:pt x="119" y="395"/>
                    <a:pt x="119" y="395"/>
                  </a:cubicBezTo>
                  <a:cubicBezTo>
                    <a:pt x="140" y="417"/>
                    <a:pt x="140" y="417"/>
                    <a:pt x="140" y="417"/>
                  </a:cubicBezTo>
                  <a:cubicBezTo>
                    <a:pt x="157" y="442"/>
                    <a:pt x="157" y="442"/>
                    <a:pt x="157" y="442"/>
                  </a:cubicBezTo>
                  <a:cubicBezTo>
                    <a:pt x="157" y="442"/>
                    <a:pt x="157" y="442"/>
                    <a:pt x="157" y="442"/>
                  </a:cubicBezTo>
                  <a:cubicBezTo>
                    <a:pt x="159" y="442"/>
                    <a:pt x="161" y="443"/>
                    <a:pt x="166" y="444"/>
                  </a:cubicBezTo>
                  <a:cubicBezTo>
                    <a:pt x="166" y="444"/>
                    <a:pt x="166" y="444"/>
                    <a:pt x="167" y="444"/>
                  </a:cubicBezTo>
                  <a:cubicBezTo>
                    <a:pt x="173" y="438"/>
                    <a:pt x="173" y="438"/>
                    <a:pt x="173" y="438"/>
                  </a:cubicBezTo>
                  <a:cubicBezTo>
                    <a:pt x="173" y="447"/>
                    <a:pt x="173" y="447"/>
                    <a:pt x="173" y="447"/>
                  </a:cubicBezTo>
                  <a:cubicBezTo>
                    <a:pt x="174" y="448"/>
                    <a:pt x="175" y="448"/>
                    <a:pt x="176" y="449"/>
                  </a:cubicBezTo>
                  <a:cubicBezTo>
                    <a:pt x="176" y="449"/>
                    <a:pt x="176" y="449"/>
                    <a:pt x="180" y="444"/>
                  </a:cubicBezTo>
                  <a:cubicBezTo>
                    <a:pt x="180" y="444"/>
                    <a:pt x="180" y="444"/>
                    <a:pt x="199" y="447"/>
                  </a:cubicBezTo>
                  <a:cubicBezTo>
                    <a:pt x="199" y="447"/>
                    <a:pt x="199" y="447"/>
                    <a:pt x="212" y="446"/>
                  </a:cubicBezTo>
                  <a:cubicBezTo>
                    <a:pt x="212" y="446"/>
                    <a:pt x="212" y="446"/>
                    <a:pt x="230" y="446"/>
                  </a:cubicBezTo>
                  <a:cubicBezTo>
                    <a:pt x="230" y="446"/>
                    <a:pt x="230" y="446"/>
                    <a:pt x="240" y="443"/>
                  </a:cubicBezTo>
                  <a:cubicBezTo>
                    <a:pt x="240" y="443"/>
                    <a:pt x="240" y="443"/>
                    <a:pt x="239" y="437"/>
                  </a:cubicBezTo>
                  <a:cubicBezTo>
                    <a:pt x="239" y="437"/>
                    <a:pt x="239" y="437"/>
                    <a:pt x="237" y="431"/>
                  </a:cubicBezTo>
                  <a:cubicBezTo>
                    <a:pt x="237" y="431"/>
                    <a:pt x="237" y="431"/>
                    <a:pt x="245" y="425"/>
                  </a:cubicBezTo>
                  <a:cubicBezTo>
                    <a:pt x="245" y="425"/>
                    <a:pt x="245" y="425"/>
                    <a:pt x="255" y="417"/>
                  </a:cubicBezTo>
                  <a:cubicBezTo>
                    <a:pt x="255" y="417"/>
                    <a:pt x="255" y="417"/>
                    <a:pt x="258" y="416"/>
                  </a:cubicBezTo>
                  <a:cubicBezTo>
                    <a:pt x="258" y="416"/>
                    <a:pt x="258" y="416"/>
                    <a:pt x="258" y="421"/>
                  </a:cubicBezTo>
                  <a:cubicBezTo>
                    <a:pt x="258" y="421"/>
                    <a:pt x="258" y="421"/>
                    <a:pt x="262" y="419"/>
                  </a:cubicBezTo>
                  <a:cubicBezTo>
                    <a:pt x="262" y="419"/>
                    <a:pt x="262" y="419"/>
                    <a:pt x="266" y="418"/>
                  </a:cubicBezTo>
                  <a:cubicBezTo>
                    <a:pt x="266" y="418"/>
                    <a:pt x="266" y="418"/>
                    <a:pt x="263" y="414"/>
                  </a:cubicBezTo>
                  <a:cubicBezTo>
                    <a:pt x="263" y="414"/>
                    <a:pt x="263" y="414"/>
                    <a:pt x="267" y="412"/>
                  </a:cubicBezTo>
                  <a:cubicBezTo>
                    <a:pt x="267" y="412"/>
                    <a:pt x="267" y="412"/>
                    <a:pt x="268" y="407"/>
                  </a:cubicBezTo>
                  <a:cubicBezTo>
                    <a:pt x="268" y="407"/>
                    <a:pt x="268" y="407"/>
                    <a:pt x="264" y="405"/>
                  </a:cubicBezTo>
                  <a:cubicBezTo>
                    <a:pt x="264" y="405"/>
                    <a:pt x="264" y="405"/>
                    <a:pt x="264" y="402"/>
                  </a:cubicBezTo>
                  <a:cubicBezTo>
                    <a:pt x="264" y="402"/>
                    <a:pt x="264" y="402"/>
                    <a:pt x="267" y="399"/>
                  </a:cubicBezTo>
                  <a:cubicBezTo>
                    <a:pt x="267" y="399"/>
                    <a:pt x="267" y="399"/>
                    <a:pt x="266" y="396"/>
                  </a:cubicBezTo>
                  <a:cubicBezTo>
                    <a:pt x="266" y="396"/>
                    <a:pt x="266" y="396"/>
                    <a:pt x="258" y="394"/>
                  </a:cubicBezTo>
                  <a:cubicBezTo>
                    <a:pt x="258" y="394"/>
                    <a:pt x="258" y="394"/>
                    <a:pt x="254" y="388"/>
                  </a:cubicBezTo>
                  <a:cubicBezTo>
                    <a:pt x="254" y="388"/>
                    <a:pt x="254" y="388"/>
                    <a:pt x="256" y="385"/>
                  </a:cubicBezTo>
                  <a:cubicBezTo>
                    <a:pt x="256" y="385"/>
                    <a:pt x="256" y="385"/>
                    <a:pt x="259" y="389"/>
                  </a:cubicBezTo>
                  <a:cubicBezTo>
                    <a:pt x="259" y="389"/>
                    <a:pt x="259" y="389"/>
                    <a:pt x="262" y="387"/>
                  </a:cubicBezTo>
                  <a:cubicBezTo>
                    <a:pt x="262" y="387"/>
                    <a:pt x="262" y="387"/>
                    <a:pt x="267" y="388"/>
                  </a:cubicBezTo>
                  <a:cubicBezTo>
                    <a:pt x="267" y="388"/>
                    <a:pt x="267" y="388"/>
                    <a:pt x="271" y="385"/>
                  </a:cubicBezTo>
                  <a:cubicBezTo>
                    <a:pt x="271" y="385"/>
                    <a:pt x="271" y="385"/>
                    <a:pt x="279" y="380"/>
                  </a:cubicBezTo>
                  <a:cubicBezTo>
                    <a:pt x="279" y="380"/>
                    <a:pt x="279" y="380"/>
                    <a:pt x="282" y="378"/>
                  </a:cubicBezTo>
                  <a:cubicBezTo>
                    <a:pt x="282" y="378"/>
                    <a:pt x="282" y="378"/>
                    <a:pt x="283" y="374"/>
                  </a:cubicBezTo>
                  <a:cubicBezTo>
                    <a:pt x="283" y="374"/>
                    <a:pt x="283" y="374"/>
                    <a:pt x="288" y="372"/>
                  </a:cubicBezTo>
                  <a:cubicBezTo>
                    <a:pt x="288" y="372"/>
                    <a:pt x="288" y="372"/>
                    <a:pt x="293" y="377"/>
                  </a:cubicBezTo>
                  <a:cubicBezTo>
                    <a:pt x="293" y="377"/>
                    <a:pt x="293" y="377"/>
                    <a:pt x="297" y="384"/>
                  </a:cubicBezTo>
                  <a:cubicBezTo>
                    <a:pt x="297" y="384"/>
                    <a:pt x="297" y="384"/>
                    <a:pt x="298" y="389"/>
                  </a:cubicBezTo>
                  <a:cubicBezTo>
                    <a:pt x="298" y="389"/>
                    <a:pt x="298" y="389"/>
                    <a:pt x="298" y="392"/>
                  </a:cubicBezTo>
                  <a:cubicBezTo>
                    <a:pt x="298" y="392"/>
                    <a:pt x="298" y="392"/>
                    <a:pt x="291" y="396"/>
                  </a:cubicBezTo>
                  <a:cubicBezTo>
                    <a:pt x="291" y="396"/>
                    <a:pt x="291" y="396"/>
                    <a:pt x="292" y="399"/>
                  </a:cubicBezTo>
                  <a:cubicBezTo>
                    <a:pt x="292" y="399"/>
                    <a:pt x="292" y="399"/>
                    <a:pt x="299" y="400"/>
                  </a:cubicBezTo>
                  <a:cubicBezTo>
                    <a:pt x="299" y="400"/>
                    <a:pt x="299" y="400"/>
                    <a:pt x="303" y="404"/>
                  </a:cubicBezTo>
                  <a:cubicBezTo>
                    <a:pt x="303" y="404"/>
                    <a:pt x="303" y="404"/>
                    <a:pt x="309" y="402"/>
                  </a:cubicBezTo>
                  <a:cubicBezTo>
                    <a:pt x="309" y="402"/>
                    <a:pt x="309" y="402"/>
                    <a:pt x="314" y="404"/>
                  </a:cubicBezTo>
                  <a:cubicBezTo>
                    <a:pt x="314" y="404"/>
                    <a:pt x="314" y="404"/>
                    <a:pt x="319" y="401"/>
                  </a:cubicBezTo>
                  <a:cubicBezTo>
                    <a:pt x="319" y="401"/>
                    <a:pt x="319" y="401"/>
                    <a:pt x="321" y="404"/>
                  </a:cubicBezTo>
                  <a:cubicBezTo>
                    <a:pt x="321" y="404"/>
                    <a:pt x="321" y="404"/>
                    <a:pt x="318" y="408"/>
                  </a:cubicBezTo>
                  <a:cubicBezTo>
                    <a:pt x="318" y="408"/>
                    <a:pt x="318" y="408"/>
                    <a:pt x="324" y="407"/>
                  </a:cubicBezTo>
                  <a:cubicBezTo>
                    <a:pt x="324" y="407"/>
                    <a:pt x="324" y="407"/>
                    <a:pt x="326" y="408"/>
                  </a:cubicBezTo>
                  <a:cubicBezTo>
                    <a:pt x="326" y="408"/>
                    <a:pt x="326" y="408"/>
                    <a:pt x="324" y="425"/>
                  </a:cubicBezTo>
                  <a:cubicBezTo>
                    <a:pt x="324" y="425"/>
                    <a:pt x="324" y="425"/>
                    <a:pt x="324" y="432"/>
                  </a:cubicBezTo>
                  <a:cubicBezTo>
                    <a:pt x="324" y="432"/>
                    <a:pt x="324" y="432"/>
                    <a:pt x="328" y="433"/>
                  </a:cubicBezTo>
                  <a:cubicBezTo>
                    <a:pt x="328" y="433"/>
                    <a:pt x="328" y="433"/>
                    <a:pt x="330" y="431"/>
                  </a:cubicBezTo>
                  <a:cubicBezTo>
                    <a:pt x="330" y="431"/>
                    <a:pt x="330" y="431"/>
                    <a:pt x="331" y="428"/>
                  </a:cubicBezTo>
                  <a:cubicBezTo>
                    <a:pt x="331" y="428"/>
                    <a:pt x="331" y="428"/>
                    <a:pt x="334" y="429"/>
                  </a:cubicBezTo>
                  <a:cubicBezTo>
                    <a:pt x="334" y="429"/>
                    <a:pt x="334" y="429"/>
                    <a:pt x="336" y="433"/>
                  </a:cubicBezTo>
                  <a:cubicBezTo>
                    <a:pt x="336" y="433"/>
                    <a:pt x="336" y="433"/>
                    <a:pt x="336" y="443"/>
                  </a:cubicBezTo>
                  <a:cubicBezTo>
                    <a:pt x="336" y="443"/>
                    <a:pt x="336" y="443"/>
                    <a:pt x="335" y="448"/>
                  </a:cubicBezTo>
                  <a:cubicBezTo>
                    <a:pt x="335" y="448"/>
                    <a:pt x="335" y="448"/>
                    <a:pt x="339" y="450"/>
                  </a:cubicBezTo>
                  <a:cubicBezTo>
                    <a:pt x="339" y="450"/>
                    <a:pt x="339" y="450"/>
                    <a:pt x="344" y="450"/>
                  </a:cubicBezTo>
                  <a:cubicBezTo>
                    <a:pt x="344" y="450"/>
                    <a:pt x="344" y="450"/>
                    <a:pt x="348" y="452"/>
                  </a:cubicBezTo>
                  <a:cubicBezTo>
                    <a:pt x="348" y="452"/>
                    <a:pt x="348" y="452"/>
                    <a:pt x="353" y="456"/>
                  </a:cubicBezTo>
                  <a:cubicBezTo>
                    <a:pt x="353" y="456"/>
                    <a:pt x="353" y="456"/>
                    <a:pt x="357" y="457"/>
                  </a:cubicBezTo>
                  <a:cubicBezTo>
                    <a:pt x="357" y="457"/>
                    <a:pt x="357" y="457"/>
                    <a:pt x="356" y="467"/>
                  </a:cubicBezTo>
                  <a:cubicBezTo>
                    <a:pt x="356" y="467"/>
                    <a:pt x="356" y="467"/>
                    <a:pt x="356" y="472"/>
                  </a:cubicBezTo>
                  <a:cubicBezTo>
                    <a:pt x="356" y="472"/>
                    <a:pt x="356" y="472"/>
                    <a:pt x="352" y="473"/>
                  </a:cubicBezTo>
                  <a:cubicBezTo>
                    <a:pt x="352" y="473"/>
                    <a:pt x="352" y="473"/>
                    <a:pt x="354" y="478"/>
                  </a:cubicBezTo>
                  <a:cubicBezTo>
                    <a:pt x="354" y="478"/>
                    <a:pt x="354" y="478"/>
                    <a:pt x="351" y="482"/>
                  </a:cubicBezTo>
                  <a:cubicBezTo>
                    <a:pt x="351" y="482"/>
                    <a:pt x="351" y="482"/>
                    <a:pt x="353" y="483"/>
                  </a:cubicBezTo>
                  <a:cubicBezTo>
                    <a:pt x="353" y="483"/>
                    <a:pt x="353" y="483"/>
                    <a:pt x="356" y="482"/>
                  </a:cubicBezTo>
                  <a:cubicBezTo>
                    <a:pt x="356" y="482"/>
                    <a:pt x="356" y="482"/>
                    <a:pt x="361" y="485"/>
                  </a:cubicBezTo>
                  <a:cubicBezTo>
                    <a:pt x="361" y="485"/>
                    <a:pt x="361" y="485"/>
                    <a:pt x="364" y="483"/>
                  </a:cubicBezTo>
                  <a:cubicBezTo>
                    <a:pt x="364" y="483"/>
                    <a:pt x="364" y="483"/>
                    <a:pt x="369" y="485"/>
                  </a:cubicBezTo>
                  <a:cubicBezTo>
                    <a:pt x="369" y="485"/>
                    <a:pt x="369" y="485"/>
                    <a:pt x="372" y="485"/>
                  </a:cubicBezTo>
                  <a:cubicBezTo>
                    <a:pt x="372" y="485"/>
                    <a:pt x="372" y="485"/>
                    <a:pt x="377" y="489"/>
                  </a:cubicBezTo>
                  <a:cubicBezTo>
                    <a:pt x="377" y="489"/>
                    <a:pt x="377" y="489"/>
                    <a:pt x="381" y="492"/>
                  </a:cubicBezTo>
                  <a:cubicBezTo>
                    <a:pt x="381" y="492"/>
                    <a:pt x="381" y="492"/>
                    <a:pt x="383" y="496"/>
                  </a:cubicBezTo>
                  <a:cubicBezTo>
                    <a:pt x="383" y="496"/>
                    <a:pt x="383" y="496"/>
                    <a:pt x="385" y="499"/>
                  </a:cubicBezTo>
                  <a:cubicBezTo>
                    <a:pt x="385" y="499"/>
                    <a:pt x="385" y="499"/>
                    <a:pt x="390" y="496"/>
                  </a:cubicBezTo>
                  <a:cubicBezTo>
                    <a:pt x="390" y="496"/>
                    <a:pt x="390" y="496"/>
                    <a:pt x="394" y="494"/>
                  </a:cubicBezTo>
                  <a:cubicBezTo>
                    <a:pt x="394" y="494"/>
                    <a:pt x="394" y="494"/>
                    <a:pt x="398" y="496"/>
                  </a:cubicBezTo>
                  <a:cubicBezTo>
                    <a:pt x="398" y="496"/>
                    <a:pt x="398" y="496"/>
                    <a:pt x="399" y="501"/>
                  </a:cubicBezTo>
                  <a:cubicBezTo>
                    <a:pt x="399" y="501"/>
                    <a:pt x="399" y="501"/>
                    <a:pt x="395" y="505"/>
                  </a:cubicBezTo>
                  <a:cubicBezTo>
                    <a:pt x="395" y="505"/>
                    <a:pt x="395" y="505"/>
                    <a:pt x="395" y="509"/>
                  </a:cubicBezTo>
                  <a:cubicBezTo>
                    <a:pt x="395" y="509"/>
                    <a:pt x="395" y="509"/>
                    <a:pt x="392" y="513"/>
                  </a:cubicBezTo>
                  <a:cubicBezTo>
                    <a:pt x="392" y="513"/>
                    <a:pt x="392" y="513"/>
                    <a:pt x="392" y="516"/>
                  </a:cubicBezTo>
                  <a:cubicBezTo>
                    <a:pt x="392" y="516"/>
                    <a:pt x="392" y="516"/>
                    <a:pt x="386" y="519"/>
                  </a:cubicBezTo>
                  <a:cubicBezTo>
                    <a:pt x="386" y="519"/>
                    <a:pt x="386" y="519"/>
                    <a:pt x="384" y="528"/>
                  </a:cubicBezTo>
                  <a:cubicBezTo>
                    <a:pt x="384" y="528"/>
                    <a:pt x="384" y="528"/>
                    <a:pt x="379" y="531"/>
                  </a:cubicBezTo>
                  <a:cubicBezTo>
                    <a:pt x="379" y="531"/>
                    <a:pt x="379" y="531"/>
                    <a:pt x="376" y="535"/>
                  </a:cubicBezTo>
                  <a:cubicBezTo>
                    <a:pt x="376" y="535"/>
                    <a:pt x="376" y="535"/>
                    <a:pt x="376" y="542"/>
                  </a:cubicBezTo>
                  <a:cubicBezTo>
                    <a:pt x="432" y="535"/>
                    <a:pt x="432" y="535"/>
                    <a:pt x="432" y="535"/>
                  </a:cubicBezTo>
                  <a:cubicBezTo>
                    <a:pt x="453" y="535"/>
                    <a:pt x="453" y="535"/>
                    <a:pt x="453" y="535"/>
                  </a:cubicBezTo>
                  <a:cubicBezTo>
                    <a:pt x="453" y="492"/>
                    <a:pt x="453" y="492"/>
                    <a:pt x="453" y="492"/>
                  </a:cubicBezTo>
                  <a:cubicBezTo>
                    <a:pt x="442" y="481"/>
                    <a:pt x="442" y="481"/>
                    <a:pt x="442" y="481"/>
                  </a:cubicBezTo>
                  <a:cubicBezTo>
                    <a:pt x="442" y="470"/>
                    <a:pt x="442" y="470"/>
                    <a:pt x="442" y="470"/>
                  </a:cubicBezTo>
                  <a:cubicBezTo>
                    <a:pt x="486" y="470"/>
                    <a:pt x="486" y="470"/>
                    <a:pt x="486" y="470"/>
                  </a:cubicBezTo>
                  <a:cubicBezTo>
                    <a:pt x="496" y="460"/>
                    <a:pt x="496" y="460"/>
                    <a:pt x="496" y="460"/>
                  </a:cubicBezTo>
                  <a:cubicBezTo>
                    <a:pt x="496" y="417"/>
                    <a:pt x="496" y="417"/>
                    <a:pt x="496" y="417"/>
                  </a:cubicBezTo>
                  <a:lnTo>
                    <a:pt x="486" y="406"/>
                  </a:lnTo>
                  <a:close/>
                </a:path>
              </a:pathLst>
            </a:custGeom>
            <a:solidFill>
              <a:schemeClr val="accent1"/>
            </a:solidFill>
            <a:ln w="3175">
              <a:solidFill>
                <a:schemeClr val="bg1"/>
              </a:solidFill>
              <a:round/>
              <a:headEnd/>
              <a:tailEnd/>
            </a:ln>
          </p:spPr>
          <p:txBody>
            <a:bodyPr/>
            <a:lstStyle/>
            <a:p>
              <a:pPr>
                <a:spcBef>
                  <a:spcPct val="0"/>
                </a:spcBef>
              </a:pPr>
              <a:endParaRPr lang="en-US">
                <a:solidFill>
                  <a:srgbClr val="000000"/>
                </a:solidFill>
                <a:latin typeface="Calibri" pitchFamily="34" charset="0"/>
              </a:endParaRPr>
            </a:p>
          </p:txBody>
        </p:sp>
      </p:grpSp>
      <p:sp>
        <p:nvSpPr>
          <p:cNvPr id="517" name="Freeform 322"/>
          <p:cNvSpPr>
            <a:spLocks/>
          </p:cNvSpPr>
          <p:nvPr/>
        </p:nvSpPr>
        <p:spPr bwMode="auto">
          <a:xfrm>
            <a:off x="325899" y="1054546"/>
            <a:ext cx="4101843" cy="1494482"/>
          </a:xfrm>
          <a:custGeom>
            <a:avLst/>
            <a:gdLst>
              <a:gd name="T0" fmla="*/ 0 w 1672"/>
              <a:gd name="T1" fmla="*/ 0 h 120"/>
              <a:gd name="T2" fmla="*/ 2147483647 w 1672"/>
              <a:gd name="T3" fmla="*/ 0 h 120"/>
              <a:gd name="T4" fmla="*/ 2147483647 w 1672"/>
              <a:gd name="T5" fmla="*/ 2147483647 h 120"/>
              <a:gd name="T6" fmla="*/ 0 60000 65536"/>
              <a:gd name="T7" fmla="*/ 0 60000 65536"/>
              <a:gd name="T8" fmla="*/ 0 60000 65536"/>
              <a:gd name="T9" fmla="*/ 0 w 1672"/>
              <a:gd name="T10" fmla="*/ 0 h 120"/>
              <a:gd name="T11" fmla="*/ 1672 w 1672"/>
              <a:gd name="T12" fmla="*/ 120 h 120"/>
            </a:gdLst>
            <a:ahLst/>
            <a:cxnLst>
              <a:cxn ang="T6">
                <a:pos x="T0" y="T1"/>
              </a:cxn>
              <a:cxn ang="T7">
                <a:pos x="T2" y="T3"/>
              </a:cxn>
              <a:cxn ang="T8">
                <a:pos x="T4" y="T5"/>
              </a:cxn>
            </a:cxnLst>
            <a:rect l="T9" t="T10" r="T11" b="T12"/>
            <a:pathLst>
              <a:path w="1672" h="120">
                <a:moveTo>
                  <a:pt x="0" y="0"/>
                </a:moveTo>
                <a:lnTo>
                  <a:pt x="1672" y="0"/>
                </a:lnTo>
                <a:lnTo>
                  <a:pt x="1672" y="120"/>
                </a:lnTo>
              </a:path>
            </a:pathLst>
          </a:custGeom>
          <a:noFill/>
          <a:ln w="6350" cap="flat" cmpd="sng">
            <a:solidFill>
              <a:schemeClr val="tx1"/>
            </a:solidFill>
            <a:prstDash val="solid"/>
            <a:round/>
            <a:headEnd/>
            <a:tailEnd/>
          </a:ln>
        </p:spPr>
        <p:txBody>
          <a:bodyPr wrap="none" lIns="78885" tIns="40074" rIns="63108" bIns="40074" anchor="ctr"/>
          <a:lstStyle/>
          <a:p>
            <a:endParaRPr lang="en-US">
              <a:solidFill>
                <a:srgbClr val="000000"/>
              </a:solidFill>
            </a:endParaRPr>
          </a:p>
        </p:txBody>
      </p:sp>
      <p:sp>
        <p:nvSpPr>
          <p:cNvPr id="519" name="Rechteck 518"/>
          <p:cNvSpPr/>
          <p:nvPr/>
        </p:nvSpPr>
        <p:spPr>
          <a:xfrm>
            <a:off x="320194" y="1020368"/>
            <a:ext cx="1015828" cy="276999"/>
          </a:xfrm>
          <a:prstGeom prst="rect">
            <a:avLst/>
          </a:prstGeom>
        </p:spPr>
        <p:txBody>
          <a:bodyPr wrap="square" lIns="0">
            <a:spAutoFit/>
          </a:bodyPr>
          <a:lstStyle/>
          <a:p>
            <a:r>
              <a:rPr lang="en-US" sz="1200" b="1" dirty="0" smtClean="0">
                <a:solidFill>
                  <a:srgbClr val="000000"/>
                </a:solidFill>
              </a:rPr>
              <a:t>Europe </a:t>
            </a:r>
          </a:p>
        </p:txBody>
      </p:sp>
      <p:sp>
        <p:nvSpPr>
          <p:cNvPr id="527" name="Rechteck 526"/>
          <p:cNvSpPr/>
          <p:nvPr/>
        </p:nvSpPr>
        <p:spPr>
          <a:xfrm>
            <a:off x="4805424" y="4823667"/>
            <a:ext cx="644519" cy="276999"/>
          </a:xfrm>
          <a:prstGeom prst="rect">
            <a:avLst/>
          </a:prstGeom>
        </p:spPr>
        <p:txBody>
          <a:bodyPr wrap="square">
            <a:spAutoFit/>
          </a:bodyPr>
          <a:lstStyle/>
          <a:p>
            <a:pPr algn="r"/>
            <a:r>
              <a:rPr lang="en-US" sz="1200" b="1" smtClean="0">
                <a:solidFill>
                  <a:srgbClr val="000000"/>
                </a:solidFill>
              </a:rPr>
              <a:t>Africa</a:t>
            </a:r>
          </a:p>
        </p:txBody>
      </p:sp>
      <p:cxnSp>
        <p:nvCxnSpPr>
          <p:cNvPr id="529" name="Gerade Verbindung 528"/>
          <p:cNvCxnSpPr/>
          <p:nvPr/>
        </p:nvCxnSpPr>
        <p:spPr>
          <a:xfrm>
            <a:off x="7366114" y="4726122"/>
            <a:ext cx="1451375"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0" name="Gerade Verbindung 529"/>
          <p:cNvCxnSpPr/>
          <p:nvPr/>
        </p:nvCxnSpPr>
        <p:spPr>
          <a:xfrm>
            <a:off x="4718433" y="4853284"/>
            <a:ext cx="1524416"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3" name="Gerade Verbindung 532"/>
          <p:cNvCxnSpPr/>
          <p:nvPr/>
        </p:nvCxnSpPr>
        <p:spPr>
          <a:xfrm>
            <a:off x="320082" y="4133204"/>
            <a:ext cx="2540693"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93" name="Gerade Verbindung 692"/>
          <p:cNvCxnSpPr/>
          <p:nvPr/>
        </p:nvCxnSpPr>
        <p:spPr>
          <a:xfrm>
            <a:off x="6823579" y="2692722"/>
            <a:ext cx="1997022"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02" name="Gerade Verbindung 701"/>
          <p:cNvCxnSpPr/>
          <p:nvPr/>
        </p:nvCxnSpPr>
        <p:spPr>
          <a:xfrm>
            <a:off x="320082" y="2693044"/>
            <a:ext cx="1524416"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706" name="Freeform 322"/>
          <p:cNvSpPr>
            <a:spLocks/>
          </p:cNvSpPr>
          <p:nvPr/>
        </p:nvSpPr>
        <p:spPr bwMode="auto">
          <a:xfrm flipH="1">
            <a:off x="4573251" y="1054547"/>
            <a:ext cx="2613285" cy="1598488"/>
          </a:xfrm>
          <a:custGeom>
            <a:avLst/>
            <a:gdLst>
              <a:gd name="T0" fmla="*/ 0 w 1672"/>
              <a:gd name="T1" fmla="*/ 0 h 120"/>
              <a:gd name="T2" fmla="*/ 2147483647 w 1672"/>
              <a:gd name="T3" fmla="*/ 0 h 120"/>
              <a:gd name="T4" fmla="*/ 2147483647 w 1672"/>
              <a:gd name="T5" fmla="*/ 2147483647 h 120"/>
              <a:gd name="T6" fmla="*/ 0 60000 65536"/>
              <a:gd name="T7" fmla="*/ 0 60000 65536"/>
              <a:gd name="T8" fmla="*/ 0 60000 65536"/>
              <a:gd name="T9" fmla="*/ 0 w 1672"/>
              <a:gd name="T10" fmla="*/ 0 h 120"/>
              <a:gd name="T11" fmla="*/ 1672 w 1672"/>
              <a:gd name="T12" fmla="*/ 120 h 120"/>
            </a:gdLst>
            <a:ahLst/>
            <a:cxnLst>
              <a:cxn ang="T6">
                <a:pos x="T0" y="T1"/>
              </a:cxn>
              <a:cxn ang="T7">
                <a:pos x="T2" y="T3"/>
              </a:cxn>
              <a:cxn ang="T8">
                <a:pos x="T4" y="T5"/>
              </a:cxn>
            </a:cxnLst>
            <a:rect l="T9" t="T10" r="T11" b="T12"/>
            <a:pathLst>
              <a:path w="1672" h="120">
                <a:moveTo>
                  <a:pt x="0" y="0"/>
                </a:moveTo>
                <a:lnTo>
                  <a:pt x="1672" y="0"/>
                </a:lnTo>
                <a:lnTo>
                  <a:pt x="1672" y="120"/>
                </a:lnTo>
              </a:path>
            </a:pathLst>
          </a:custGeom>
          <a:noFill/>
          <a:ln w="6350" cap="flat" cmpd="sng">
            <a:solidFill>
              <a:schemeClr val="tx1"/>
            </a:solidFill>
            <a:prstDash val="solid"/>
            <a:round/>
            <a:headEnd/>
            <a:tailEnd/>
          </a:ln>
        </p:spPr>
        <p:txBody>
          <a:bodyPr wrap="none" lIns="78885" tIns="40074" rIns="63108" bIns="40074" anchor="ctr"/>
          <a:lstStyle/>
          <a:p>
            <a:endParaRPr lang="en-US">
              <a:solidFill>
                <a:srgbClr val="000000"/>
              </a:solidFill>
            </a:endParaRPr>
          </a:p>
        </p:txBody>
      </p:sp>
      <p:sp>
        <p:nvSpPr>
          <p:cNvPr id="712" name="Ellipse 711"/>
          <p:cNvSpPr/>
          <p:nvPr/>
        </p:nvSpPr>
        <p:spPr>
          <a:xfrm>
            <a:off x="6692155" y="4101133"/>
            <a:ext cx="36292" cy="45719"/>
          </a:xfrm>
          <a:prstGeom prst="ellipse">
            <a:avLst/>
          </a:prstGeom>
          <a:solidFill>
            <a:schemeClr val="accent1"/>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pitchFamily="34" charset="0"/>
            </a:endParaRPr>
          </a:p>
        </p:txBody>
      </p:sp>
      <p:sp>
        <p:nvSpPr>
          <p:cNvPr id="222" name="Text Box 313"/>
          <p:cNvSpPr txBox="1">
            <a:spLocks noChangeArrowheads="1"/>
          </p:cNvSpPr>
          <p:nvPr/>
        </p:nvSpPr>
        <p:spPr bwMode="auto">
          <a:xfrm>
            <a:off x="1170998" y="1052736"/>
            <a:ext cx="1161460" cy="819594"/>
          </a:xfrm>
          <a:prstGeom prst="rect">
            <a:avLst/>
          </a:prstGeom>
          <a:noFill/>
          <a:ln w="9525" algn="ctr">
            <a:noFill/>
            <a:miter lim="800000"/>
            <a:headEnd/>
            <a:tailEnd/>
          </a:ln>
        </p:spPr>
        <p:txBody>
          <a:bodyPr wrap="square" lIns="78885" tIns="40074" rIns="63108" bIns="40074">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56032" indent="-256032" defTabSz="896112"/>
            <a:r>
              <a:rPr lang="fr-FR" sz="1200" dirty="0" smtClean="0">
                <a:solidFill>
                  <a:srgbClr val="000000"/>
                </a:solidFill>
              </a:rPr>
              <a:t>Autriche</a:t>
            </a:r>
          </a:p>
          <a:p>
            <a:pPr marL="256032" indent="-256032" algn="l" defTabSz="896112">
              <a:buNone/>
            </a:pPr>
            <a:r>
              <a:rPr lang="fr-FR" sz="1200" b="0" i="0" dirty="0" smtClean="0">
                <a:solidFill>
                  <a:srgbClr val="000000"/>
                </a:solidFill>
                <a:latin typeface="Arial"/>
                <a:ea typeface="+mn-ea"/>
                <a:cs typeface="+mn-cs"/>
              </a:rPr>
              <a:t>Belgique</a:t>
            </a:r>
          </a:p>
          <a:p>
            <a:pPr defTabSz="896112"/>
            <a:r>
              <a:rPr lang="fr-FR" sz="1200" dirty="0" smtClean="0">
                <a:solidFill>
                  <a:srgbClr val="000000"/>
                </a:solidFill>
              </a:rPr>
              <a:t>Finlande</a:t>
            </a:r>
            <a:br>
              <a:rPr lang="fr-FR" sz="1200" dirty="0" smtClean="0">
                <a:solidFill>
                  <a:srgbClr val="000000"/>
                </a:solidFill>
              </a:rPr>
            </a:br>
            <a:r>
              <a:rPr lang="fr-FR" sz="1200" dirty="0" smtClean="0">
                <a:solidFill>
                  <a:srgbClr val="000000"/>
                </a:solidFill>
              </a:rPr>
              <a:t>France </a:t>
            </a:r>
            <a:endParaRPr lang="fr-FR" sz="1200" b="0" i="0" dirty="0">
              <a:solidFill>
                <a:srgbClr val="000000"/>
              </a:solidFill>
              <a:latin typeface="Arial"/>
              <a:ea typeface="+mn-ea"/>
              <a:cs typeface="+mn-cs"/>
            </a:endParaRPr>
          </a:p>
        </p:txBody>
      </p:sp>
      <p:sp>
        <p:nvSpPr>
          <p:cNvPr id="223" name="Text Box 313"/>
          <p:cNvSpPr txBox="1">
            <a:spLocks noChangeArrowheads="1"/>
          </p:cNvSpPr>
          <p:nvPr/>
        </p:nvSpPr>
        <p:spPr bwMode="auto">
          <a:xfrm>
            <a:off x="2235983" y="1052736"/>
            <a:ext cx="1202735" cy="819594"/>
          </a:xfrm>
          <a:prstGeom prst="rect">
            <a:avLst/>
          </a:prstGeom>
          <a:noFill/>
          <a:ln w="9525" algn="ctr">
            <a:noFill/>
            <a:miter lim="800000"/>
            <a:headEnd/>
            <a:tailEnd/>
          </a:ln>
        </p:spPr>
        <p:txBody>
          <a:bodyPr wrap="square" lIns="78885" tIns="40074" rIns="63108" bIns="40074">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112"/>
            <a:r>
              <a:rPr lang="fr-FR" sz="1200" dirty="0" smtClean="0">
                <a:solidFill>
                  <a:srgbClr val="000000"/>
                </a:solidFill>
              </a:rPr>
              <a:t>Allemagne* Grèce</a:t>
            </a:r>
            <a:endParaRPr lang="fr-FR" sz="1200" b="0" i="0" dirty="0" smtClean="0">
              <a:solidFill>
                <a:srgbClr val="000000"/>
              </a:solidFill>
              <a:latin typeface="Arial"/>
              <a:ea typeface="+mn-ea"/>
              <a:cs typeface="+mn-cs"/>
            </a:endParaRPr>
          </a:p>
          <a:p>
            <a:pPr defTabSz="896112"/>
            <a:r>
              <a:rPr lang="fr-FR" sz="1200" dirty="0" smtClean="0">
                <a:solidFill>
                  <a:srgbClr val="000000"/>
                </a:solidFill>
              </a:rPr>
              <a:t>Italie</a:t>
            </a:r>
            <a:br>
              <a:rPr lang="fr-FR" sz="1200" dirty="0" smtClean="0">
                <a:solidFill>
                  <a:srgbClr val="000000"/>
                </a:solidFill>
              </a:rPr>
            </a:br>
            <a:r>
              <a:rPr lang="fr-FR" sz="1200" dirty="0" smtClean="0">
                <a:solidFill>
                  <a:srgbClr val="000000"/>
                </a:solidFill>
              </a:rPr>
              <a:t>Portugal</a:t>
            </a:r>
            <a:endParaRPr lang="fr-FR" sz="1200" b="0" i="0" dirty="0">
              <a:solidFill>
                <a:srgbClr val="000000"/>
              </a:solidFill>
              <a:latin typeface="Arial"/>
              <a:ea typeface="+mn-ea"/>
              <a:cs typeface="+mn-cs"/>
            </a:endParaRPr>
          </a:p>
        </p:txBody>
      </p:sp>
      <p:sp>
        <p:nvSpPr>
          <p:cNvPr id="224" name="Text Box 313"/>
          <p:cNvSpPr txBox="1">
            <a:spLocks noChangeArrowheads="1"/>
          </p:cNvSpPr>
          <p:nvPr/>
        </p:nvSpPr>
        <p:spPr bwMode="auto">
          <a:xfrm>
            <a:off x="4582786" y="1052736"/>
            <a:ext cx="1501381" cy="819594"/>
          </a:xfrm>
          <a:prstGeom prst="rect">
            <a:avLst/>
          </a:prstGeom>
          <a:noFill/>
          <a:ln w="9525" algn="ctr">
            <a:noFill/>
            <a:miter lim="800000"/>
            <a:headEnd/>
            <a:tailEnd/>
          </a:ln>
        </p:spPr>
        <p:txBody>
          <a:bodyPr wrap="square" lIns="78885" tIns="40074" rIns="63108" bIns="40074">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112"/>
            <a:r>
              <a:rPr lang="fr-FR" sz="1200" dirty="0" smtClean="0">
                <a:solidFill>
                  <a:srgbClr val="000000"/>
                </a:solidFill>
              </a:rPr>
              <a:t>République tchèque</a:t>
            </a:r>
          </a:p>
          <a:p>
            <a:pPr defTabSz="896112"/>
            <a:r>
              <a:rPr lang="fr-FR" sz="1200" dirty="0" smtClean="0">
                <a:solidFill>
                  <a:srgbClr val="000000"/>
                </a:solidFill>
              </a:rPr>
              <a:t>Hongrie</a:t>
            </a:r>
          </a:p>
          <a:p>
            <a:pPr algn="l" defTabSz="896112">
              <a:buNone/>
            </a:pPr>
            <a:r>
              <a:rPr lang="fr-FR" sz="1200" b="0" i="0" dirty="0" smtClean="0">
                <a:solidFill>
                  <a:srgbClr val="000000"/>
                </a:solidFill>
                <a:latin typeface="Arial"/>
                <a:ea typeface="+mn-ea"/>
                <a:cs typeface="+mn-cs"/>
              </a:rPr>
              <a:t>Roumanie</a:t>
            </a:r>
          </a:p>
          <a:p>
            <a:pPr algn="l" defTabSz="896112">
              <a:buNone/>
            </a:pPr>
            <a:r>
              <a:rPr lang="fr-FR" sz="1200" b="0" i="0" dirty="0" smtClean="0">
                <a:solidFill>
                  <a:srgbClr val="000000"/>
                </a:solidFill>
                <a:latin typeface="Arial"/>
                <a:ea typeface="+mn-ea"/>
                <a:cs typeface="+mn-cs"/>
              </a:rPr>
              <a:t>Russie</a:t>
            </a:r>
          </a:p>
        </p:txBody>
      </p:sp>
      <p:sp>
        <p:nvSpPr>
          <p:cNvPr id="225" name="Text Box 313"/>
          <p:cNvSpPr txBox="1">
            <a:spLocks noChangeArrowheads="1"/>
          </p:cNvSpPr>
          <p:nvPr/>
        </p:nvSpPr>
        <p:spPr bwMode="auto">
          <a:xfrm>
            <a:off x="6156176" y="1052736"/>
            <a:ext cx="1959963" cy="634929"/>
          </a:xfrm>
          <a:prstGeom prst="rect">
            <a:avLst/>
          </a:prstGeom>
          <a:noFill/>
          <a:ln w="9525" algn="ctr">
            <a:noFill/>
            <a:miter lim="800000"/>
            <a:headEnd/>
            <a:tailEnd/>
          </a:ln>
        </p:spPr>
        <p:txBody>
          <a:bodyPr wrap="square" lIns="78885" tIns="40074" rIns="63108" bIns="40074">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112"/>
            <a:r>
              <a:rPr lang="fr-FR" sz="1200" dirty="0" smtClean="0">
                <a:solidFill>
                  <a:srgbClr val="000000"/>
                </a:solidFill>
              </a:rPr>
              <a:t>Serbie</a:t>
            </a:r>
          </a:p>
          <a:p>
            <a:pPr defTabSz="896112"/>
            <a:r>
              <a:rPr lang="fr-FR" sz="1200" dirty="0" smtClean="0">
                <a:solidFill>
                  <a:srgbClr val="000000"/>
                </a:solidFill>
              </a:rPr>
              <a:t>Slovaquie</a:t>
            </a:r>
          </a:p>
          <a:p>
            <a:pPr defTabSz="896112"/>
            <a:r>
              <a:rPr lang="fr-FR" sz="1200" dirty="0" smtClean="0">
                <a:solidFill>
                  <a:srgbClr val="000000"/>
                </a:solidFill>
              </a:rPr>
              <a:t>Turquie</a:t>
            </a:r>
            <a:endParaRPr lang="fr-FR" sz="1200" b="0" i="0" dirty="0">
              <a:solidFill>
                <a:srgbClr val="000000"/>
              </a:solidFill>
              <a:latin typeface="Arial"/>
              <a:ea typeface="+mn-ea"/>
              <a:cs typeface="+mn-cs"/>
            </a:endParaRPr>
          </a:p>
        </p:txBody>
      </p:sp>
      <p:sp>
        <p:nvSpPr>
          <p:cNvPr id="226" name="Text Box 313"/>
          <p:cNvSpPr txBox="1">
            <a:spLocks noChangeArrowheads="1"/>
          </p:cNvSpPr>
          <p:nvPr/>
        </p:nvSpPr>
        <p:spPr bwMode="auto">
          <a:xfrm>
            <a:off x="3347864" y="1052736"/>
            <a:ext cx="1089740" cy="819594"/>
          </a:xfrm>
          <a:prstGeom prst="rect">
            <a:avLst/>
          </a:prstGeom>
          <a:noFill/>
          <a:ln w="9525" algn="ctr">
            <a:noFill/>
            <a:miter lim="800000"/>
            <a:headEnd/>
            <a:tailEnd/>
          </a:ln>
        </p:spPr>
        <p:txBody>
          <a:bodyPr wrap="square" lIns="78885" tIns="40074" rIns="63108" bIns="40074">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112"/>
            <a:r>
              <a:rPr lang="fr-FR" sz="1200" dirty="0" smtClean="0">
                <a:solidFill>
                  <a:srgbClr val="000000"/>
                </a:solidFill>
              </a:rPr>
              <a:t>Espagne</a:t>
            </a:r>
          </a:p>
          <a:p>
            <a:pPr defTabSz="896112"/>
            <a:r>
              <a:rPr lang="fr-FR" sz="1200" dirty="0" smtClean="0">
                <a:solidFill>
                  <a:srgbClr val="000000"/>
                </a:solidFill>
              </a:rPr>
              <a:t>Suède</a:t>
            </a:r>
            <a:endParaRPr lang="fr-FR" sz="1200" b="0" i="0" dirty="0" smtClean="0">
              <a:solidFill>
                <a:srgbClr val="000000"/>
              </a:solidFill>
              <a:latin typeface="Arial"/>
              <a:ea typeface="+mn-ea"/>
              <a:cs typeface="+mn-cs"/>
            </a:endParaRPr>
          </a:p>
          <a:p>
            <a:pPr algn="l" defTabSz="896112">
              <a:buNone/>
            </a:pPr>
            <a:r>
              <a:rPr lang="fr-FR" sz="1200" b="0" i="0" dirty="0" smtClean="0">
                <a:solidFill>
                  <a:srgbClr val="000000"/>
                </a:solidFill>
                <a:latin typeface="Arial"/>
                <a:ea typeface="+mn-ea"/>
                <a:cs typeface="+mn-cs"/>
              </a:rPr>
              <a:t>Suisse</a:t>
            </a:r>
          </a:p>
          <a:p>
            <a:pPr defTabSz="896112"/>
            <a:r>
              <a:rPr lang="fr-FR" sz="1200" dirty="0" smtClean="0">
                <a:solidFill>
                  <a:srgbClr val="000000"/>
                </a:solidFill>
              </a:rPr>
              <a:t>Royaume Uni</a:t>
            </a:r>
            <a:endParaRPr lang="fr-FR" sz="1200" b="0" i="0" dirty="0">
              <a:solidFill>
                <a:srgbClr val="000000"/>
              </a:solidFill>
              <a:latin typeface="Arial"/>
              <a:ea typeface="+mn-ea"/>
              <a:cs typeface="+mn-cs"/>
            </a:endParaRPr>
          </a:p>
        </p:txBody>
      </p:sp>
      <p:sp>
        <p:nvSpPr>
          <p:cNvPr id="232" name="Text Box 5"/>
          <p:cNvSpPr txBox="1">
            <a:spLocks noChangeArrowheads="1"/>
          </p:cNvSpPr>
          <p:nvPr/>
        </p:nvSpPr>
        <p:spPr bwMode="auto">
          <a:xfrm>
            <a:off x="4355977" y="5762836"/>
            <a:ext cx="4464174" cy="138499"/>
          </a:xfrm>
          <a:prstGeom prst="rect">
            <a:avLst/>
          </a:prstGeom>
          <a:noFill/>
          <a:ln w="9525" algn="ctr">
            <a:noFill/>
            <a:miter lim="800000"/>
            <a:headEnd/>
            <a:tailEnd/>
          </a:ln>
        </p:spPr>
        <p:txBody>
          <a:bodyPr wrap="square" lIns="0" tIns="0" rIns="0" bIns="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56032" indent="-256032" algn="r" defTabSz="877824">
              <a:buNone/>
            </a:pPr>
            <a:r>
              <a:rPr lang="en-US" sz="900" b="0" i="0" dirty="0" smtClean="0">
                <a:solidFill>
                  <a:srgbClr val="000000"/>
                </a:solidFill>
                <a:latin typeface="Arial"/>
                <a:ea typeface="+mn-ea"/>
                <a:cs typeface="+mn-cs"/>
              </a:rPr>
              <a:t>Status: </a:t>
            </a:r>
            <a:r>
              <a:rPr lang="en-US" sz="900" dirty="0" smtClean="0">
                <a:solidFill>
                  <a:srgbClr val="000000"/>
                </a:solidFill>
              </a:rPr>
              <a:t> January </a:t>
            </a:r>
            <a:r>
              <a:rPr lang="en-US" sz="900" b="0" i="0" dirty="0" smtClean="0">
                <a:solidFill>
                  <a:srgbClr val="000000"/>
                </a:solidFill>
                <a:latin typeface="Arial"/>
                <a:ea typeface="+mn-ea"/>
                <a:cs typeface="+mn-cs"/>
              </a:rPr>
              <a:t>1, 2011</a:t>
            </a:r>
            <a:endParaRPr lang="en-US" sz="900" b="0" i="0" dirty="0">
              <a:solidFill>
                <a:srgbClr val="000000"/>
              </a:solidFill>
              <a:latin typeface="Arial"/>
              <a:ea typeface="+mn-ea"/>
              <a:cs typeface="+mn-cs"/>
            </a:endParaRPr>
          </a:p>
        </p:txBody>
      </p:sp>
      <p:sp>
        <p:nvSpPr>
          <p:cNvPr id="233" name="Text Box 313"/>
          <p:cNvSpPr txBox="1">
            <a:spLocks noChangeArrowheads="1"/>
          </p:cNvSpPr>
          <p:nvPr/>
        </p:nvSpPr>
        <p:spPr bwMode="auto">
          <a:xfrm>
            <a:off x="237550" y="4129346"/>
            <a:ext cx="1271110" cy="819594"/>
          </a:xfrm>
          <a:prstGeom prst="rect">
            <a:avLst/>
          </a:prstGeom>
          <a:noFill/>
          <a:ln w="9525" algn="ctr">
            <a:noFill/>
            <a:miter lim="800000"/>
            <a:headEnd/>
            <a:tailEnd/>
          </a:ln>
        </p:spPr>
        <p:txBody>
          <a:bodyPr wrap="square" lIns="78885" tIns="40074" rIns="63108" bIns="40074">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56032" indent="-256032" algn="l" defTabSz="896112">
              <a:buNone/>
            </a:pPr>
            <a:r>
              <a:rPr lang="en-US" sz="1200" b="1" i="0" dirty="0" smtClean="0">
                <a:solidFill>
                  <a:srgbClr val="000000"/>
                </a:solidFill>
                <a:latin typeface="Arial"/>
                <a:ea typeface="+mn-ea"/>
                <a:cs typeface="+mn-cs"/>
              </a:rPr>
              <a:t>South America</a:t>
            </a:r>
          </a:p>
          <a:p>
            <a:pPr marL="256032" indent="-256032" algn="l" defTabSz="896112">
              <a:buNone/>
            </a:pPr>
            <a:r>
              <a:rPr lang="fr-FR" sz="1200" b="0" i="0" dirty="0" smtClean="0">
                <a:solidFill>
                  <a:srgbClr val="000000"/>
                </a:solidFill>
                <a:latin typeface="Arial"/>
                <a:ea typeface="+mn-ea"/>
                <a:cs typeface="+mn-cs"/>
              </a:rPr>
              <a:t>Brésil</a:t>
            </a:r>
          </a:p>
          <a:p>
            <a:pPr marL="256032" indent="-256032" algn="l" defTabSz="896112">
              <a:buNone/>
            </a:pPr>
            <a:r>
              <a:rPr lang="fr-FR" sz="1200" b="0" i="0" dirty="0" err="1" smtClean="0">
                <a:solidFill>
                  <a:srgbClr val="000000"/>
                </a:solidFill>
                <a:latin typeface="Arial"/>
                <a:ea typeface="+mn-ea"/>
                <a:cs typeface="+mn-cs"/>
              </a:rPr>
              <a:t>Chilie</a:t>
            </a:r>
            <a:endParaRPr lang="fr-FR" sz="1200" b="0" i="0" dirty="0" smtClean="0">
              <a:solidFill>
                <a:srgbClr val="000000"/>
              </a:solidFill>
              <a:latin typeface="Arial"/>
              <a:ea typeface="+mn-ea"/>
              <a:cs typeface="+mn-cs"/>
            </a:endParaRPr>
          </a:p>
          <a:p>
            <a:pPr marL="256032" indent="-256032" algn="l" defTabSz="896112">
              <a:buNone/>
            </a:pPr>
            <a:r>
              <a:rPr lang="fr-FR" sz="1200" b="0" i="0" dirty="0" err="1" smtClean="0">
                <a:solidFill>
                  <a:srgbClr val="000000"/>
                </a:solidFill>
                <a:latin typeface="Arial"/>
                <a:ea typeface="+mn-ea"/>
                <a:cs typeface="+mn-cs"/>
              </a:rPr>
              <a:t>Ecuateur</a:t>
            </a:r>
            <a:endParaRPr lang="fr-FR" sz="1200" b="0" i="0" dirty="0">
              <a:solidFill>
                <a:srgbClr val="000000"/>
              </a:solidFill>
              <a:latin typeface="Arial"/>
              <a:ea typeface="+mn-ea"/>
              <a:cs typeface="+mn-cs"/>
            </a:endParaRPr>
          </a:p>
        </p:txBody>
      </p:sp>
      <p:sp>
        <p:nvSpPr>
          <p:cNvPr id="234" name="Rechteck 233"/>
          <p:cNvSpPr/>
          <p:nvPr/>
        </p:nvSpPr>
        <p:spPr>
          <a:xfrm>
            <a:off x="7740352" y="2698107"/>
            <a:ext cx="1155921" cy="2123658"/>
          </a:xfrm>
          <a:prstGeom prst="rect">
            <a:avLst/>
          </a:prstGeom>
        </p:spPr>
        <p:txBody>
          <a:bodyPr wrap="square">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914400">
              <a:buNone/>
            </a:pPr>
            <a:r>
              <a:rPr lang="en-US" sz="1200" b="1" i="0" dirty="0" smtClean="0">
                <a:solidFill>
                  <a:srgbClr val="000000"/>
                </a:solidFill>
                <a:latin typeface="Arial"/>
                <a:ea typeface="+mn-ea"/>
                <a:cs typeface="+mn-cs"/>
              </a:rPr>
              <a:t>Asia</a:t>
            </a:r>
          </a:p>
          <a:p>
            <a:pPr algn="r" defTabSz="914400">
              <a:buNone/>
            </a:pPr>
            <a:r>
              <a:rPr lang="fr-FR" sz="1200" b="0" i="0" dirty="0" smtClean="0">
                <a:solidFill>
                  <a:srgbClr val="000000"/>
                </a:solidFill>
                <a:latin typeface="Arial"/>
                <a:ea typeface="+mn-ea"/>
                <a:cs typeface="+mn-cs"/>
              </a:rPr>
              <a:t>Chine</a:t>
            </a:r>
          </a:p>
          <a:p>
            <a:pPr algn="r" defTabSz="914400">
              <a:buNone/>
            </a:pPr>
            <a:r>
              <a:rPr lang="fr-FR" sz="1200" b="0" i="0" dirty="0" smtClean="0">
                <a:solidFill>
                  <a:srgbClr val="000000"/>
                </a:solidFill>
                <a:latin typeface="Arial"/>
                <a:ea typeface="+mn-ea"/>
                <a:cs typeface="+mn-cs"/>
              </a:rPr>
              <a:t>Inde</a:t>
            </a:r>
          </a:p>
          <a:p>
            <a:pPr algn="r" defTabSz="914400">
              <a:buNone/>
            </a:pPr>
            <a:r>
              <a:rPr lang="fr-FR" sz="1200" b="0" i="0" dirty="0" smtClean="0">
                <a:solidFill>
                  <a:srgbClr val="000000"/>
                </a:solidFill>
                <a:latin typeface="Arial"/>
                <a:ea typeface="+mn-ea"/>
                <a:cs typeface="+mn-cs"/>
              </a:rPr>
              <a:t>Japon</a:t>
            </a:r>
          </a:p>
          <a:p>
            <a:pPr algn="r" defTabSz="914400">
              <a:buNone/>
            </a:pPr>
            <a:r>
              <a:rPr lang="fr-FR" sz="1200" b="0" i="0" dirty="0" smtClean="0">
                <a:solidFill>
                  <a:srgbClr val="000000"/>
                </a:solidFill>
                <a:latin typeface="Arial"/>
                <a:ea typeface="+mn-ea"/>
                <a:cs typeface="+mn-cs"/>
              </a:rPr>
              <a:t>Malaisie</a:t>
            </a:r>
          </a:p>
          <a:p>
            <a:pPr algn="r" defTabSz="914400">
              <a:buNone/>
            </a:pPr>
            <a:r>
              <a:rPr lang="fr-FR" sz="1200" b="0" i="0" dirty="0" smtClean="0">
                <a:solidFill>
                  <a:srgbClr val="000000"/>
                </a:solidFill>
                <a:latin typeface="Arial"/>
                <a:ea typeface="+mn-ea"/>
                <a:cs typeface="+mn-cs"/>
              </a:rPr>
              <a:t>Philippines</a:t>
            </a:r>
          </a:p>
          <a:p>
            <a:pPr algn="r" defTabSz="914400">
              <a:buNone/>
            </a:pPr>
            <a:r>
              <a:rPr lang="fr-FR" sz="1200" b="0" i="0" dirty="0" smtClean="0">
                <a:solidFill>
                  <a:srgbClr val="000000"/>
                </a:solidFill>
                <a:latin typeface="Arial"/>
                <a:ea typeface="+mn-ea"/>
                <a:cs typeface="+mn-cs"/>
              </a:rPr>
              <a:t>Singapour</a:t>
            </a:r>
          </a:p>
          <a:p>
            <a:pPr algn="r"/>
            <a:r>
              <a:rPr lang="fr-FR" sz="1200" dirty="0" smtClean="0">
                <a:solidFill>
                  <a:srgbClr val="000000"/>
                </a:solidFill>
              </a:rPr>
              <a:t>Corée du sud</a:t>
            </a:r>
          </a:p>
          <a:p>
            <a:pPr algn="r" defTabSz="914400">
              <a:buNone/>
            </a:pPr>
            <a:r>
              <a:rPr lang="fr-FR" sz="1200" b="0" i="0" dirty="0" smtClean="0">
                <a:solidFill>
                  <a:srgbClr val="000000"/>
                </a:solidFill>
                <a:latin typeface="Arial"/>
                <a:ea typeface="+mn-ea"/>
                <a:cs typeface="+mn-cs"/>
              </a:rPr>
              <a:t>Sri Lanka</a:t>
            </a:r>
          </a:p>
          <a:p>
            <a:pPr algn="r" defTabSz="914400">
              <a:buNone/>
            </a:pPr>
            <a:r>
              <a:rPr lang="fr-FR" sz="1200" b="0" i="0" dirty="0" smtClean="0">
                <a:solidFill>
                  <a:srgbClr val="000000"/>
                </a:solidFill>
                <a:latin typeface="Arial"/>
                <a:ea typeface="+mn-ea"/>
                <a:cs typeface="+mn-cs"/>
              </a:rPr>
              <a:t>Thaïlande</a:t>
            </a:r>
          </a:p>
          <a:p>
            <a:pPr algn="r" defTabSz="914400">
              <a:buNone/>
            </a:pPr>
            <a:endParaRPr lang="en-US" sz="1200" dirty="0" smtClean="0">
              <a:solidFill>
                <a:srgbClr val="000000"/>
              </a:solidFill>
            </a:endParaRPr>
          </a:p>
        </p:txBody>
      </p:sp>
      <p:sp>
        <p:nvSpPr>
          <p:cNvPr id="235" name="Rechteck 234"/>
          <p:cNvSpPr/>
          <p:nvPr/>
        </p:nvSpPr>
        <p:spPr>
          <a:xfrm>
            <a:off x="5204112" y="4822326"/>
            <a:ext cx="1312104" cy="461665"/>
          </a:xfrm>
          <a:prstGeom prst="rect">
            <a:avLst/>
          </a:prstGeom>
        </p:spPr>
        <p:txBody>
          <a:bodyPr wrap="square">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914400">
              <a:buNone/>
            </a:pPr>
            <a:r>
              <a:rPr lang="fr-FR" sz="1200" b="0" i="0" dirty="0" smtClean="0">
                <a:solidFill>
                  <a:srgbClr val="000000"/>
                </a:solidFill>
                <a:latin typeface="Arial"/>
                <a:ea typeface="+mn-ea"/>
                <a:cs typeface="+mn-cs"/>
              </a:rPr>
              <a:t>Afrique du sud</a:t>
            </a:r>
          </a:p>
          <a:p>
            <a:pPr algn="r" defTabSz="914400">
              <a:buNone/>
            </a:pPr>
            <a:r>
              <a:rPr lang="fr-FR" sz="1200" b="0" i="0" dirty="0" smtClean="0">
                <a:solidFill>
                  <a:srgbClr val="000000"/>
                </a:solidFill>
                <a:latin typeface="Arial"/>
                <a:ea typeface="+mn-ea"/>
                <a:cs typeface="+mn-cs"/>
              </a:rPr>
              <a:t>Tunisie</a:t>
            </a:r>
            <a:endParaRPr lang="fr-FR" sz="1200" b="0" i="0" dirty="0">
              <a:solidFill>
                <a:srgbClr val="000000"/>
              </a:solidFill>
              <a:latin typeface="Arial"/>
              <a:ea typeface="+mn-ea"/>
              <a:cs typeface="+mn-cs"/>
            </a:endParaRPr>
          </a:p>
        </p:txBody>
      </p:sp>
      <p:sp>
        <p:nvSpPr>
          <p:cNvPr id="236" name="Rechteck 235"/>
          <p:cNvSpPr/>
          <p:nvPr/>
        </p:nvSpPr>
        <p:spPr>
          <a:xfrm>
            <a:off x="7602689" y="4718960"/>
            <a:ext cx="1306642" cy="276999"/>
          </a:xfrm>
          <a:prstGeom prst="rect">
            <a:avLst/>
          </a:prstGeom>
        </p:spPr>
        <p:txBody>
          <a:bodyPr wrap="square">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914400">
              <a:buNone/>
            </a:pPr>
            <a:r>
              <a:rPr lang="en-US" sz="1200" b="1" i="0" smtClean="0">
                <a:solidFill>
                  <a:srgbClr val="000000"/>
                </a:solidFill>
                <a:latin typeface="Arial"/>
                <a:ea typeface="+mn-ea"/>
                <a:cs typeface="+mn-cs"/>
              </a:rPr>
              <a:t>Australia</a:t>
            </a:r>
            <a:endParaRPr lang="en-US" sz="1200" b="1" i="0">
              <a:solidFill>
                <a:srgbClr val="000000"/>
              </a:solidFill>
              <a:latin typeface="Arial"/>
              <a:ea typeface="+mn-ea"/>
              <a:cs typeface="+mn-cs"/>
            </a:endParaRPr>
          </a:p>
        </p:txBody>
      </p:sp>
      <p:sp>
        <p:nvSpPr>
          <p:cNvPr id="237" name="Text Box 313"/>
          <p:cNvSpPr txBox="1">
            <a:spLocks noChangeArrowheads="1"/>
          </p:cNvSpPr>
          <p:nvPr/>
        </p:nvSpPr>
        <p:spPr bwMode="auto">
          <a:xfrm>
            <a:off x="234669" y="2689186"/>
            <a:ext cx="1271110" cy="819594"/>
          </a:xfrm>
          <a:prstGeom prst="rect">
            <a:avLst/>
          </a:prstGeom>
          <a:noFill/>
          <a:ln w="9525" algn="ctr">
            <a:noFill/>
            <a:miter lim="800000"/>
            <a:headEnd/>
            <a:tailEnd/>
          </a:ln>
        </p:spPr>
        <p:txBody>
          <a:bodyPr wrap="square" lIns="78885" tIns="40074" rIns="63108" bIns="40074">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56032" indent="-256032" algn="l" defTabSz="896112">
              <a:buNone/>
            </a:pPr>
            <a:r>
              <a:rPr lang="en-US" sz="1200" b="1" i="0" dirty="0" smtClean="0">
                <a:solidFill>
                  <a:srgbClr val="000000"/>
                </a:solidFill>
                <a:latin typeface="Arial"/>
                <a:ea typeface="+mn-ea"/>
                <a:cs typeface="+mn-cs"/>
              </a:rPr>
              <a:t>North America</a:t>
            </a:r>
          </a:p>
          <a:p>
            <a:pPr marL="256032" indent="-256032" algn="l" defTabSz="896112">
              <a:buNone/>
            </a:pPr>
            <a:r>
              <a:rPr lang="en-US" sz="1200" b="0" i="0" dirty="0" smtClean="0">
                <a:solidFill>
                  <a:srgbClr val="000000"/>
                </a:solidFill>
                <a:latin typeface="Arial"/>
                <a:ea typeface="+mn-ea"/>
                <a:cs typeface="+mn-cs"/>
              </a:rPr>
              <a:t>Canada</a:t>
            </a:r>
          </a:p>
          <a:p>
            <a:pPr marL="256032" indent="-256032" algn="l" defTabSz="896112">
              <a:buNone/>
            </a:pPr>
            <a:r>
              <a:rPr lang="en-US" sz="1200" b="0" i="0" dirty="0" err="1" smtClean="0">
                <a:solidFill>
                  <a:srgbClr val="000000"/>
                </a:solidFill>
                <a:latin typeface="Arial"/>
                <a:ea typeface="+mn-ea"/>
                <a:cs typeface="+mn-cs"/>
              </a:rPr>
              <a:t>Mexique</a:t>
            </a:r>
            <a:endParaRPr lang="en-US" sz="1200" b="0" i="0" dirty="0" smtClean="0">
              <a:solidFill>
                <a:srgbClr val="000000"/>
              </a:solidFill>
              <a:latin typeface="Arial"/>
              <a:ea typeface="+mn-ea"/>
              <a:cs typeface="+mn-cs"/>
            </a:endParaRPr>
          </a:p>
          <a:p>
            <a:pPr marL="256032" indent="-256032" algn="l" defTabSz="896112">
              <a:buNone/>
            </a:pPr>
            <a:r>
              <a:rPr lang="en-US" sz="1200" b="0" i="0" dirty="0" smtClean="0">
                <a:solidFill>
                  <a:srgbClr val="000000"/>
                </a:solidFill>
                <a:latin typeface="Arial"/>
                <a:ea typeface="+mn-ea"/>
                <a:cs typeface="+mn-cs"/>
              </a:rPr>
              <a:t>USA</a:t>
            </a:r>
            <a:endParaRPr lang="en-US" sz="1200" b="0" i="0" dirty="0">
              <a:solidFill>
                <a:srgbClr val="000000"/>
              </a:solidFill>
              <a:latin typeface="Arial"/>
              <a:ea typeface="+mn-ea"/>
              <a:cs typeface="+mn-cs"/>
            </a:endParaRPr>
          </a:p>
        </p:txBody>
      </p:sp>
      <p:sp>
        <p:nvSpPr>
          <p:cNvPr id="221" name="Rechteck 220"/>
          <p:cNvSpPr/>
          <p:nvPr/>
        </p:nvSpPr>
        <p:spPr>
          <a:xfrm>
            <a:off x="219436" y="5710427"/>
            <a:ext cx="4572000" cy="230832"/>
          </a:xfrm>
          <a:prstGeom prst="rect">
            <a:avLst/>
          </a:prstGeom>
        </p:spPr>
        <p:txBody>
          <a:bodyPr wrap="square" anchor="ctr">
            <a:spAutoFit/>
          </a:bodyPr>
          <a:lstStyle/>
          <a:p>
            <a:r>
              <a:rPr lang="en-US" sz="900" dirty="0" smtClean="0">
                <a:solidFill>
                  <a:srgbClr val="000000"/>
                </a:solidFill>
              </a:rPr>
              <a:t>*Siege à </a:t>
            </a:r>
            <a:r>
              <a:rPr lang="en-US" sz="900" dirty="0" err="1" smtClean="0">
                <a:solidFill>
                  <a:srgbClr val="000000"/>
                </a:solidFill>
              </a:rPr>
              <a:t>Hanovre</a:t>
            </a:r>
            <a:endParaRPr lang="de-DE" dirty="0"/>
          </a:p>
        </p:txBody>
      </p:sp>
      <p:sp>
        <p:nvSpPr>
          <p:cNvPr id="227" name="Costa Rica"/>
          <p:cNvSpPr>
            <a:spLocks/>
          </p:cNvSpPr>
          <p:nvPr/>
        </p:nvSpPr>
        <p:spPr bwMode="gray">
          <a:xfrm>
            <a:off x="2129520" y="3676043"/>
            <a:ext cx="80626" cy="79035"/>
          </a:xfrm>
          <a:custGeom>
            <a:avLst/>
            <a:gdLst>
              <a:gd name="T0" fmla="*/ 2147483647 w 240"/>
              <a:gd name="T1" fmla="*/ 2147483647 h 228"/>
              <a:gd name="T2" fmla="*/ 2147483647 w 240"/>
              <a:gd name="T3" fmla="*/ 2147483647 h 228"/>
              <a:gd name="T4" fmla="*/ 2147483647 w 240"/>
              <a:gd name="T5" fmla="*/ 2147483647 h 228"/>
              <a:gd name="T6" fmla="*/ 2147483647 w 240"/>
              <a:gd name="T7" fmla="*/ 2147483647 h 228"/>
              <a:gd name="T8" fmla="*/ 2147483647 w 240"/>
              <a:gd name="T9" fmla="*/ 2147483647 h 228"/>
              <a:gd name="T10" fmla="*/ 2147483647 w 240"/>
              <a:gd name="T11" fmla="*/ 2147483647 h 228"/>
              <a:gd name="T12" fmla="*/ 2147483647 w 240"/>
              <a:gd name="T13" fmla="*/ 2147483647 h 228"/>
              <a:gd name="T14" fmla="*/ 2147483647 w 240"/>
              <a:gd name="T15" fmla="*/ 2147483647 h 228"/>
              <a:gd name="T16" fmla="*/ 2147483647 w 240"/>
              <a:gd name="T17" fmla="*/ 2147483647 h 228"/>
              <a:gd name="T18" fmla="*/ 2147483647 w 240"/>
              <a:gd name="T19" fmla="*/ 2147483647 h 228"/>
              <a:gd name="T20" fmla="*/ 2147483647 w 240"/>
              <a:gd name="T21" fmla="*/ 2147483647 h 228"/>
              <a:gd name="T22" fmla="*/ 2147483647 w 240"/>
              <a:gd name="T23" fmla="*/ 2147483647 h 228"/>
              <a:gd name="T24" fmla="*/ 2147483647 w 240"/>
              <a:gd name="T25" fmla="*/ 2147483647 h 228"/>
              <a:gd name="T26" fmla="*/ 2147483647 w 240"/>
              <a:gd name="T27" fmla="*/ 2147483647 h 228"/>
              <a:gd name="T28" fmla="*/ 2147483647 w 240"/>
              <a:gd name="T29" fmla="*/ 2147483647 h 228"/>
              <a:gd name="T30" fmla="*/ 2147483647 w 240"/>
              <a:gd name="T31" fmla="*/ 0 h 228"/>
              <a:gd name="T32" fmla="*/ 2147483647 w 240"/>
              <a:gd name="T33" fmla="*/ 2147483647 h 228"/>
              <a:gd name="T34" fmla="*/ 2147483647 w 240"/>
              <a:gd name="T35" fmla="*/ 2147483647 h 228"/>
              <a:gd name="T36" fmla="*/ 0 w 240"/>
              <a:gd name="T37" fmla="*/ 2147483647 h 228"/>
              <a:gd name="T38" fmla="*/ 2147483647 w 240"/>
              <a:gd name="T39" fmla="*/ 2147483647 h 228"/>
              <a:gd name="T40" fmla="*/ 2147483647 w 240"/>
              <a:gd name="T41" fmla="*/ 2147483647 h 228"/>
              <a:gd name="T42" fmla="*/ 2147483647 w 240"/>
              <a:gd name="T43" fmla="*/ 2147483647 h 228"/>
              <a:gd name="T44" fmla="*/ 2147483647 w 240"/>
              <a:gd name="T45" fmla="*/ 2147483647 h 228"/>
              <a:gd name="T46" fmla="*/ 2147483647 w 240"/>
              <a:gd name="T47" fmla="*/ 2147483647 h 228"/>
              <a:gd name="T48" fmla="*/ 2147483647 w 240"/>
              <a:gd name="T49" fmla="*/ 2147483647 h 228"/>
              <a:gd name="T50" fmla="*/ 2147483647 w 240"/>
              <a:gd name="T51" fmla="*/ 2147483647 h 228"/>
              <a:gd name="T52" fmla="*/ 2147483647 w 240"/>
              <a:gd name="T53" fmla="*/ 2147483647 h 228"/>
              <a:gd name="T54" fmla="*/ 2147483647 w 240"/>
              <a:gd name="T55" fmla="*/ 2147483647 h 228"/>
              <a:gd name="T56" fmla="*/ 2147483647 w 240"/>
              <a:gd name="T57" fmla="*/ 2147483647 h 228"/>
              <a:gd name="T58" fmla="*/ 2147483647 w 240"/>
              <a:gd name="T59" fmla="*/ 2147483647 h 228"/>
              <a:gd name="T60" fmla="*/ 2147483647 w 240"/>
              <a:gd name="T61" fmla="*/ 2147483647 h 228"/>
              <a:gd name="T62" fmla="*/ 2147483647 w 240"/>
              <a:gd name="T63" fmla="*/ 2147483647 h 228"/>
              <a:gd name="T64" fmla="*/ 2147483647 w 240"/>
              <a:gd name="T65" fmla="*/ 2147483647 h 228"/>
              <a:gd name="T66" fmla="*/ 2147483647 w 240"/>
              <a:gd name="T67" fmla="*/ 2147483647 h 22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40"/>
              <a:gd name="T103" fmla="*/ 0 h 228"/>
              <a:gd name="T104" fmla="*/ 240 w 240"/>
              <a:gd name="T105" fmla="*/ 228 h 22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40" h="228">
                <a:moveTo>
                  <a:pt x="210" y="198"/>
                </a:moveTo>
                <a:lnTo>
                  <a:pt x="216" y="198"/>
                </a:lnTo>
                <a:lnTo>
                  <a:pt x="234" y="180"/>
                </a:lnTo>
                <a:lnTo>
                  <a:pt x="228" y="174"/>
                </a:lnTo>
                <a:lnTo>
                  <a:pt x="210" y="174"/>
                </a:lnTo>
                <a:lnTo>
                  <a:pt x="210" y="168"/>
                </a:lnTo>
                <a:lnTo>
                  <a:pt x="204" y="162"/>
                </a:lnTo>
                <a:lnTo>
                  <a:pt x="204" y="144"/>
                </a:lnTo>
                <a:lnTo>
                  <a:pt x="210" y="138"/>
                </a:lnTo>
                <a:lnTo>
                  <a:pt x="222" y="138"/>
                </a:lnTo>
                <a:lnTo>
                  <a:pt x="228" y="132"/>
                </a:lnTo>
                <a:lnTo>
                  <a:pt x="240" y="132"/>
                </a:lnTo>
                <a:lnTo>
                  <a:pt x="228" y="126"/>
                </a:lnTo>
                <a:lnTo>
                  <a:pt x="210" y="108"/>
                </a:lnTo>
                <a:lnTo>
                  <a:pt x="198" y="84"/>
                </a:lnTo>
                <a:lnTo>
                  <a:pt x="192" y="78"/>
                </a:lnTo>
                <a:lnTo>
                  <a:pt x="186" y="66"/>
                </a:lnTo>
                <a:lnTo>
                  <a:pt x="180" y="60"/>
                </a:lnTo>
                <a:lnTo>
                  <a:pt x="174" y="36"/>
                </a:lnTo>
                <a:lnTo>
                  <a:pt x="138" y="36"/>
                </a:lnTo>
                <a:lnTo>
                  <a:pt x="126" y="24"/>
                </a:lnTo>
                <a:lnTo>
                  <a:pt x="126" y="18"/>
                </a:lnTo>
                <a:lnTo>
                  <a:pt x="120" y="18"/>
                </a:lnTo>
                <a:lnTo>
                  <a:pt x="114" y="12"/>
                </a:lnTo>
                <a:lnTo>
                  <a:pt x="84" y="12"/>
                </a:lnTo>
                <a:lnTo>
                  <a:pt x="84" y="18"/>
                </a:lnTo>
                <a:lnTo>
                  <a:pt x="78" y="18"/>
                </a:lnTo>
                <a:lnTo>
                  <a:pt x="72" y="12"/>
                </a:lnTo>
                <a:lnTo>
                  <a:pt x="60" y="6"/>
                </a:lnTo>
                <a:lnTo>
                  <a:pt x="48" y="6"/>
                </a:lnTo>
                <a:lnTo>
                  <a:pt x="42" y="0"/>
                </a:lnTo>
                <a:lnTo>
                  <a:pt x="24" y="0"/>
                </a:lnTo>
                <a:lnTo>
                  <a:pt x="6" y="30"/>
                </a:lnTo>
                <a:lnTo>
                  <a:pt x="18" y="42"/>
                </a:lnTo>
                <a:lnTo>
                  <a:pt x="24" y="42"/>
                </a:lnTo>
                <a:lnTo>
                  <a:pt x="24" y="48"/>
                </a:lnTo>
                <a:lnTo>
                  <a:pt x="6" y="66"/>
                </a:lnTo>
                <a:lnTo>
                  <a:pt x="0" y="78"/>
                </a:lnTo>
                <a:lnTo>
                  <a:pt x="6" y="90"/>
                </a:lnTo>
                <a:lnTo>
                  <a:pt x="18" y="102"/>
                </a:lnTo>
                <a:lnTo>
                  <a:pt x="30" y="108"/>
                </a:lnTo>
                <a:lnTo>
                  <a:pt x="42" y="108"/>
                </a:lnTo>
                <a:lnTo>
                  <a:pt x="60" y="126"/>
                </a:lnTo>
                <a:lnTo>
                  <a:pt x="72" y="126"/>
                </a:lnTo>
                <a:lnTo>
                  <a:pt x="72" y="102"/>
                </a:lnTo>
                <a:lnTo>
                  <a:pt x="66" y="96"/>
                </a:lnTo>
                <a:lnTo>
                  <a:pt x="54" y="90"/>
                </a:lnTo>
                <a:lnTo>
                  <a:pt x="42" y="78"/>
                </a:lnTo>
                <a:lnTo>
                  <a:pt x="42" y="72"/>
                </a:lnTo>
                <a:lnTo>
                  <a:pt x="48" y="72"/>
                </a:lnTo>
                <a:lnTo>
                  <a:pt x="60" y="78"/>
                </a:lnTo>
                <a:lnTo>
                  <a:pt x="66" y="84"/>
                </a:lnTo>
                <a:lnTo>
                  <a:pt x="90" y="96"/>
                </a:lnTo>
                <a:lnTo>
                  <a:pt x="96" y="102"/>
                </a:lnTo>
                <a:lnTo>
                  <a:pt x="96" y="132"/>
                </a:lnTo>
                <a:lnTo>
                  <a:pt x="114" y="132"/>
                </a:lnTo>
                <a:lnTo>
                  <a:pt x="126" y="138"/>
                </a:lnTo>
                <a:lnTo>
                  <a:pt x="138" y="138"/>
                </a:lnTo>
                <a:lnTo>
                  <a:pt x="156" y="180"/>
                </a:lnTo>
                <a:lnTo>
                  <a:pt x="150" y="186"/>
                </a:lnTo>
                <a:lnTo>
                  <a:pt x="150" y="198"/>
                </a:lnTo>
                <a:lnTo>
                  <a:pt x="168" y="216"/>
                </a:lnTo>
                <a:lnTo>
                  <a:pt x="180" y="222"/>
                </a:lnTo>
                <a:lnTo>
                  <a:pt x="192" y="222"/>
                </a:lnTo>
                <a:lnTo>
                  <a:pt x="174" y="198"/>
                </a:lnTo>
                <a:lnTo>
                  <a:pt x="204" y="228"/>
                </a:lnTo>
                <a:lnTo>
                  <a:pt x="210" y="222"/>
                </a:lnTo>
                <a:lnTo>
                  <a:pt x="210" y="198"/>
                </a:lnTo>
                <a:close/>
              </a:path>
            </a:pathLst>
          </a:custGeom>
          <a:no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mtClean="0">
              <a:solidFill>
                <a:srgbClr val="000000"/>
              </a:solidFill>
              <a:cs typeface="Arial" pitchFamily="34" charset="0"/>
            </a:endParaRPr>
          </a:p>
        </p:txBody>
      </p:sp>
    </p:spTree>
  </p:cSld>
  <p:clrMapOvr>
    <a:masterClrMapping/>
  </p:clrMapOvr>
  <p:transition advTm="29469"/>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Grafik 10" descr="140Jahre-140Years_ohnetext.jpg"/>
          <p:cNvPicPr>
            <a:picLocks noChangeAspect="1"/>
          </p:cNvPicPr>
          <p:nvPr/>
        </p:nvPicPr>
        <p:blipFill>
          <a:blip r:embed="rId3"/>
          <a:srcRect r="1176" b="60"/>
          <a:stretch>
            <a:fillRect/>
          </a:stretch>
        </p:blipFill>
        <p:spPr>
          <a:xfrm>
            <a:off x="0" y="0"/>
            <a:ext cx="9144000" cy="3789363"/>
          </a:xfrm>
          <a:prstGeom prst="rect">
            <a:avLst/>
          </a:prstGeom>
        </p:spPr>
      </p:pic>
      <p:sp>
        <p:nvSpPr>
          <p:cNvPr id="18" name="Rechteck 17"/>
          <p:cNvSpPr/>
          <p:nvPr/>
        </p:nvSpPr>
        <p:spPr>
          <a:xfrm>
            <a:off x="0" y="5876925"/>
            <a:ext cx="9144000" cy="981075"/>
          </a:xfrm>
          <a:prstGeom prst="rect">
            <a:avLst/>
          </a:prstGeom>
          <a:solidFill>
            <a:schemeClr val="tx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4" name="Picture 2" descr="I:\ContiTech\Bildarchiv\CT_Logos_Claims_Fonts\0_CT_logo_vorlagen\01_logos_continental\continental_ppt.png"/>
          <p:cNvPicPr>
            <a:picLocks noChangeAspect="1" noChangeArrowheads="1"/>
          </p:cNvPicPr>
          <p:nvPr/>
        </p:nvPicPr>
        <p:blipFill>
          <a:blip r:embed="rId4"/>
          <a:stretch>
            <a:fillRect/>
          </a:stretch>
        </p:blipFill>
        <p:spPr bwMode="auto">
          <a:xfrm>
            <a:off x="6631459" y="6202441"/>
            <a:ext cx="2196642" cy="377201"/>
          </a:xfrm>
          <a:prstGeom prst="rect">
            <a:avLst/>
          </a:prstGeom>
          <a:noFill/>
        </p:spPr>
      </p:pic>
      <p:sp>
        <p:nvSpPr>
          <p:cNvPr id="15" name="Titel 14"/>
          <p:cNvSpPr>
            <a:spLocks noGrp="1"/>
          </p:cNvSpPr>
          <p:nvPr>
            <p:ph type="ctrTitle"/>
          </p:nvPr>
        </p:nvSpPr>
        <p:spPr>
          <a:xfrm>
            <a:off x="323849" y="3789363"/>
            <a:ext cx="8512175" cy="863774"/>
          </a:xfrm>
        </p:spPr>
        <p:txBody>
          <a:bodyPr/>
          <a:lstStyle/>
          <a:p>
            <a:r>
              <a:rPr lang="en-US" dirty="0" smtClean="0"/>
              <a:t>2. </a:t>
            </a:r>
            <a:r>
              <a:rPr lang="en-US" dirty="0" smtClean="0">
                <a:solidFill>
                  <a:srgbClr val="000000"/>
                </a:solidFill>
                <a:latin typeface="Arial"/>
                <a:cs typeface="Arial"/>
              </a:rPr>
              <a:t>Mon service</a:t>
            </a:r>
            <a:endParaRPr lang="en-US" dirty="0"/>
          </a:p>
        </p:txBody>
      </p:sp>
      <p:sp>
        <p:nvSpPr>
          <p:cNvPr id="16" name="Untertitel 15"/>
          <p:cNvSpPr>
            <a:spLocks noGrp="1"/>
          </p:cNvSpPr>
          <p:nvPr>
            <p:ph type="subTitle" idx="1"/>
          </p:nvPr>
        </p:nvSpPr>
        <p:spPr>
          <a:xfrm>
            <a:off x="323850" y="4869160"/>
            <a:ext cx="8512175" cy="1007765"/>
          </a:xfrm>
        </p:spPr>
        <p:txBody>
          <a:bodyPr/>
          <a:lstStyle/>
          <a:p>
            <a:endParaRPr lang="en-US" dirty="0" smtClean="0">
              <a:solidFill>
                <a:srgbClr val="000000"/>
              </a:solidFill>
            </a:endParaRPr>
          </a:p>
        </p:txBody>
      </p:sp>
      <p:sp>
        <p:nvSpPr>
          <p:cNvPr id="9" name="Textfeld 12"/>
          <p:cNvSpPr txBox="1"/>
          <p:nvPr/>
        </p:nvSpPr>
        <p:spPr>
          <a:xfrm>
            <a:off x="2098543" y="321677"/>
            <a:ext cx="3705502" cy="954107"/>
          </a:xfrm>
          <a:prstGeom prst="rect">
            <a:avLst/>
          </a:prstGeom>
          <a:noFill/>
        </p:spPr>
        <p:txBody>
          <a:bodyPr wrap="non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de-DE" sz="2800" dirty="0" smtClean="0"/>
              <a:t>140 </a:t>
            </a:r>
            <a:r>
              <a:rPr lang="de-DE" sz="2800" dirty="0" err="1" smtClean="0"/>
              <a:t>Years</a:t>
            </a:r>
            <a:r>
              <a:rPr lang="de-DE" sz="2800" dirty="0" smtClean="0"/>
              <a:t> Continental</a:t>
            </a:r>
          </a:p>
          <a:p>
            <a:pPr algn="ctr"/>
            <a:r>
              <a:rPr lang="de-DE" sz="2800" dirty="0" smtClean="0"/>
              <a:t>1871 – 2011</a:t>
            </a:r>
            <a:endParaRPr lang="de-DE" sz="2800" dirty="0"/>
          </a:p>
        </p:txBody>
      </p:sp>
    </p:spTree>
  </p:cSld>
  <p:clrMapOvr>
    <a:masterClrMapping/>
  </p:clrMapOvr>
  <p:transition advTm="6516">
    <p:wipe dir="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2" name="Rectangle 5"/>
          <p:cNvSpPr>
            <a:spLocks noGrp="1" noChangeArrowheads="1"/>
          </p:cNvSpPr>
          <p:nvPr>
            <p:ph type="title"/>
            <p:custDataLst>
              <p:tags r:id="rId2"/>
            </p:custDataLst>
          </p:nvPr>
        </p:nvSpPr>
        <p:spPr>
          <a:xfrm>
            <a:off x="323851" y="82550"/>
            <a:ext cx="8496299" cy="682625"/>
          </a:xfrm>
          <a:noFill/>
        </p:spPr>
        <p:txBody>
          <a:bodyPr>
            <a:noAutofit/>
          </a:bodyPr>
          <a:lstStyle/>
          <a:p>
            <a:r>
              <a:rPr lang="en-US" dirty="0" smtClean="0"/>
              <a:t/>
            </a:r>
            <a:br>
              <a:rPr lang="en-US" dirty="0" smtClean="0"/>
            </a:br>
            <a:r>
              <a:rPr lang="en-US" dirty="0" smtClean="0">
                <a:solidFill>
                  <a:srgbClr val="000000"/>
                </a:solidFill>
                <a:latin typeface="Arial"/>
                <a:cs typeface="Arial"/>
              </a:rPr>
              <a:t> Mon service </a:t>
            </a:r>
            <a:br>
              <a:rPr lang="en-US" dirty="0" smtClean="0">
                <a:solidFill>
                  <a:srgbClr val="000000"/>
                </a:solidFill>
                <a:latin typeface="Arial"/>
                <a:cs typeface="Arial"/>
              </a:rPr>
            </a:br>
            <a:r>
              <a:rPr lang="fr-FR" dirty="0" smtClean="0">
                <a:solidFill>
                  <a:srgbClr val="5F5F5F"/>
                </a:solidFill>
                <a:latin typeface="Arial"/>
                <a:cs typeface="Arial"/>
              </a:rPr>
              <a:t>2.1 - 5 grandes Divisions</a:t>
            </a:r>
            <a:endParaRPr lang="fr-FR" dirty="0" smtClean="0">
              <a:solidFill>
                <a:schemeClr val="accent5"/>
              </a:solidFill>
            </a:endParaRPr>
          </a:p>
        </p:txBody>
      </p:sp>
      <p:graphicFrame>
        <p:nvGraphicFramePr>
          <p:cNvPr id="1027" name="Rectangle 62" hidden="1"/>
          <p:cNvGraphicFramePr>
            <a:graphicFrameLocks/>
          </p:cNvGraphicFramePr>
          <p:nvPr/>
        </p:nvGraphicFramePr>
        <p:xfrm>
          <a:off x="-4763" y="0"/>
          <a:ext cx="146051" cy="144463"/>
        </p:xfrm>
        <a:graphic>
          <a:graphicData uri="http://schemas.openxmlformats.org/presentationml/2006/ole">
            <p:oleObj spid="_x0000_s1026" name="think-cell Slide" r:id="rId15" imgW="0" imgH="0" progId="">
              <p:embed/>
            </p:oleObj>
          </a:graphicData>
        </a:graphic>
      </p:graphicFrame>
      <p:sp>
        <p:nvSpPr>
          <p:cNvPr id="63" name="Datumsplatzhalter 62"/>
          <p:cNvSpPr>
            <a:spLocks noGrp="1"/>
          </p:cNvSpPr>
          <p:nvPr>
            <p:ph type="dt" sz="half" idx="10"/>
          </p:nvPr>
        </p:nvSpPr>
        <p:spPr/>
        <p:txBody>
          <a:bodyPr/>
          <a:lstStyle/>
          <a:p>
            <a:fld id="{000282F3-911D-4B70-BD8F-60BA3E356055}" type="datetime5">
              <a:rPr lang="de-DE" smtClean="0"/>
              <a:pPr/>
              <a:t>12-05-18</a:t>
            </a:fld>
            <a:endParaRPr lang="en-US"/>
          </a:p>
        </p:txBody>
      </p:sp>
      <p:sp>
        <p:nvSpPr>
          <p:cNvPr id="69" name="Foliennummernplatzhalter 68"/>
          <p:cNvSpPr>
            <a:spLocks noGrp="1"/>
          </p:cNvSpPr>
          <p:nvPr>
            <p:ph type="sldNum" sz="quarter" idx="11"/>
          </p:nvPr>
        </p:nvSpPr>
        <p:spPr/>
        <p:txBody>
          <a:bodyPr/>
          <a:lstStyle/>
          <a:p>
            <a:fld id="{ADA48181-2C78-49CB-8C52-912A07842C2E}" type="slidenum">
              <a:rPr lang="en-US" smtClean="0"/>
              <a:pPr/>
              <a:t>7</a:t>
            </a:fld>
            <a:endParaRPr lang="en-US"/>
          </a:p>
        </p:txBody>
      </p:sp>
      <p:sp>
        <p:nvSpPr>
          <p:cNvPr id="89" name="Fußzeilenplatzhalter 88"/>
          <p:cNvSpPr>
            <a:spLocks noGrp="1"/>
          </p:cNvSpPr>
          <p:nvPr>
            <p:ph type="ftr" sz="quarter" idx="12"/>
          </p:nvPr>
        </p:nvSpPr>
        <p:spPr/>
        <p:txBody>
          <a:bodyPr/>
          <a:lstStyle/>
          <a:p>
            <a:r>
              <a:rPr lang="en-US" smtClean="0"/>
              <a:t>© Continental AG</a:t>
            </a:r>
            <a:endParaRPr lang="en-US"/>
          </a:p>
        </p:txBody>
      </p:sp>
      <p:sp>
        <p:nvSpPr>
          <p:cNvPr id="64" name="Rectangle 2"/>
          <p:cNvSpPr>
            <a:spLocks noChangeArrowheads="1"/>
          </p:cNvSpPr>
          <p:nvPr>
            <p:custDataLst>
              <p:tags r:id="rId3"/>
            </p:custDataLst>
          </p:nvPr>
        </p:nvSpPr>
        <p:spPr bwMode="auto">
          <a:xfrm>
            <a:off x="323850" y="1266591"/>
            <a:ext cx="5061882" cy="4373263"/>
          </a:xfrm>
          <a:prstGeom prst="rect">
            <a:avLst/>
          </a:prstGeom>
          <a:solidFill>
            <a:schemeClr val="bg1">
              <a:lumMod val="50000"/>
            </a:schemeClr>
          </a:solidFill>
          <a:ln w="28575" algn="ctr">
            <a:noFill/>
            <a:miter lim="800000"/>
            <a:headEnd/>
            <a:tailEnd/>
          </a:ln>
          <a:scene3d>
            <a:camera prst="orthographicFront"/>
            <a:lightRig rig="balanced" dir="t"/>
          </a:scene3d>
          <a:sp3d>
            <a:bevelT w="165100" prst="coolSlant"/>
            <a:bevelB prst="relaxedInset"/>
          </a:sp3d>
        </p:spPr>
        <p:txBody>
          <a:bodyPr lIns="90000" tIns="144000" rIns="126075" bIns="126075"/>
          <a:lstStyle/>
          <a:p>
            <a:pPr marL="155575" indent="-155575" defTabSz="873125">
              <a:lnSpc>
                <a:spcPct val="65000"/>
              </a:lnSpc>
            </a:pPr>
            <a:endParaRPr lang="en-US" sz="1800" dirty="0">
              <a:solidFill>
                <a:schemeClr val="bg1"/>
              </a:solidFill>
              <a:ea typeface="ヒラギノ角ゴ Pro W3" pitchFamily="1" charset="-128"/>
            </a:endParaRPr>
          </a:p>
        </p:txBody>
      </p:sp>
      <p:sp>
        <p:nvSpPr>
          <p:cNvPr id="65" name="Rectangle 7"/>
          <p:cNvSpPr>
            <a:spLocks noChangeArrowheads="1"/>
          </p:cNvSpPr>
          <p:nvPr/>
        </p:nvSpPr>
        <p:spPr bwMode="auto">
          <a:xfrm>
            <a:off x="2035262" y="2039839"/>
            <a:ext cx="1620000" cy="3537348"/>
          </a:xfrm>
          <a:prstGeom prst="rect">
            <a:avLst/>
          </a:prstGeom>
          <a:solidFill>
            <a:schemeClr val="bg1">
              <a:lumMod val="75000"/>
            </a:schemeClr>
          </a:solidFill>
          <a:ln w="9525" algn="ctr">
            <a:noFill/>
            <a:miter lim="800000"/>
            <a:headEnd/>
            <a:tailEnd/>
          </a:ln>
        </p:spPr>
        <p:txBody>
          <a:bodyPr wrap="none" lIns="216000" tIns="35120" rIns="70239" bIns="35120" anchor="ctr"/>
          <a:lstStyle/>
          <a:p>
            <a:pPr marL="238125" indent="-238125">
              <a:spcAft>
                <a:spcPct val="35000"/>
              </a:spcAft>
              <a:buClr>
                <a:srgbClr val="E19900"/>
              </a:buClr>
              <a:tabLst>
                <a:tab pos="446088" algn="l"/>
              </a:tabLst>
            </a:pPr>
            <a:endParaRPr lang="en-US" sz="2800" b="1" kern="0" dirty="0" smtClean="0">
              <a:solidFill>
                <a:schemeClr val="bg1">
                  <a:lumMod val="65000"/>
                </a:schemeClr>
              </a:solidFill>
              <a:latin typeface="Arial" pitchFamily="34" charset="0"/>
              <a:cs typeface="Arial" pitchFamily="34" charset="0"/>
            </a:endParaRPr>
          </a:p>
          <a:p>
            <a:pPr marL="238125" indent="-238125">
              <a:spcAft>
                <a:spcPct val="35000"/>
              </a:spcAft>
              <a:buClr>
                <a:srgbClr val="E19900"/>
              </a:buClr>
              <a:buFont typeface="Arial" charset="0"/>
              <a:buBlip>
                <a:blip r:embed="rId16"/>
              </a:buBlip>
              <a:tabLst>
                <a:tab pos="446088" algn="l"/>
              </a:tabLst>
            </a:pPr>
            <a:endParaRPr lang="en-US" sz="2800" kern="0" dirty="0" smtClean="0">
              <a:solidFill>
                <a:schemeClr val="bg1">
                  <a:lumMod val="65000"/>
                </a:schemeClr>
              </a:solidFill>
              <a:latin typeface="Arial" pitchFamily="34" charset="0"/>
              <a:cs typeface="Arial" pitchFamily="34" charset="0"/>
            </a:endParaRPr>
          </a:p>
          <a:p>
            <a:pPr marL="238125" indent="-238125">
              <a:spcAft>
                <a:spcPct val="35000"/>
              </a:spcAft>
              <a:buClr>
                <a:srgbClr val="E19900"/>
              </a:buClr>
              <a:buFont typeface="Arial" charset="0"/>
              <a:buNone/>
              <a:tabLst>
                <a:tab pos="446088" algn="l"/>
              </a:tabLst>
            </a:pPr>
            <a:endParaRPr lang="en-US" sz="2800" kern="0" dirty="0" smtClean="0">
              <a:solidFill>
                <a:schemeClr val="bg1">
                  <a:lumMod val="65000"/>
                </a:schemeClr>
              </a:solidFill>
              <a:latin typeface="Arial" pitchFamily="34" charset="0"/>
              <a:cs typeface="Arial" pitchFamily="34" charset="0"/>
            </a:endParaRPr>
          </a:p>
          <a:p>
            <a:pPr marL="238125" indent="-238125">
              <a:spcAft>
                <a:spcPct val="35000"/>
              </a:spcAft>
              <a:buClr>
                <a:srgbClr val="E19900"/>
              </a:buClr>
              <a:buFont typeface="Arial" charset="0"/>
              <a:buNone/>
              <a:tabLst>
                <a:tab pos="446088" algn="l"/>
              </a:tabLst>
            </a:pPr>
            <a:r>
              <a:rPr lang="en-US" sz="2800" kern="0" dirty="0" smtClean="0">
                <a:solidFill>
                  <a:schemeClr val="bg1">
                    <a:lumMod val="65000"/>
                  </a:schemeClr>
                </a:solidFill>
                <a:latin typeface="Arial" pitchFamily="34" charset="0"/>
                <a:cs typeface="Arial" pitchFamily="34" charset="0"/>
              </a:rPr>
              <a:t/>
            </a:r>
            <a:br>
              <a:rPr lang="en-US" sz="2800" kern="0" dirty="0" smtClean="0">
                <a:solidFill>
                  <a:schemeClr val="bg1">
                    <a:lumMod val="65000"/>
                  </a:schemeClr>
                </a:solidFill>
                <a:latin typeface="Arial" pitchFamily="34" charset="0"/>
                <a:cs typeface="Arial" pitchFamily="34" charset="0"/>
              </a:rPr>
            </a:br>
            <a:endParaRPr lang="en-US" sz="2800" kern="0" dirty="0" smtClean="0">
              <a:solidFill>
                <a:schemeClr val="bg1">
                  <a:lumMod val="65000"/>
                </a:schemeClr>
              </a:solidFill>
              <a:latin typeface="Arial" pitchFamily="34" charset="0"/>
              <a:cs typeface="Arial" pitchFamily="34" charset="0"/>
            </a:endParaRPr>
          </a:p>
          <a:p>
            <a:pPr marL="238125" indent="-238125">
              <a:spcAft>
                <a:spcPct val="35000"/>
              </a:spcAft>
              <a:buClr>
                <a:srgbClr val="E19900"/>
              </a:buClr>
              <a:buFont typeface="Arial" charset="0"/>
              <a:buNone/>
              <a:tabLst>
                <a:tab pos="446088" algn="l"/>
              </a:tabLst>
            </a:pPr>
            <a:endParaRPr lang="en-US" sz="2800" kern="0" dirty="0" smtClean="0">
              <a:solidFill>
                <a:schemeClr val="bg1">
                  <a:lumMod val="65000"/>
                </a:schemeClr>
              </a:solidFill>
              <a:latin typeface="Arial" pitchFamily="34" charset="0"/>
              <a:cs typeface="Arial" pitchFamily="34" charset="0"/>
            </a:endParaRPr>
          </a:p>
          <a:p>
            <a:pPr marL="238125" indent="-238125">
              <a:spcAft>
                <a:spcPct val="35000"/>
              </a:spcAft>
              <a:tabLst>
                <a:tab pos="446088" algn="l"/>
              </a:tabLst>
            </a:pPr>
            <a:endParaRPr lang="en-US" sz="2800" kern="0" dirty="0" smtClean="0">
              <a:solidFill>
                <a:schemeClr val="bg1">
                  <a:lumMod val="65000"/>
                </a:schemeClr>
              </a:solidFill>
              <a:latin typeface="Arial" pitchFamily="34" charset="0"/>
              <a:cs typeface="Arial" pitchFamily="34" charset="0"/>
            </a:endParaRPr>
          </a:p>
        </p:txBody>
      </p:sp>
      <p:sp>
        <p:nvSpPr>
          <p:cNvPr id="66" name="Rectangle 7"/>
          <p:cNvSpPr>
            <a:spLocks noChangeArrowheads="1"/>
          </p:cNvSpPr>
          <p:nvPr/>
        </p:nvSpPr>
        <p:spPr bwMode="auto">
          <a:xfrm>
            <a:off x="359712" y="2039839"/>
            <a:ext cx="1620000" cy="3537348"/>
          </a:xfrm>
          <a:prstGeom prst="rect">
            <a:avLst/>
          </a:prstGeom>
          <a:solidFill>
            <a:schemeClr val="bg1">
              <a:lumMod val="75000"/>
            </a:schemeClr>
          </a:solidFill>
          <a:ln w="9525" algn="ctr">
            <a:noFill/>
            <a:miter lim="800000"/>
            <a:headEnd/>
            <a:tailEnd/>
          </a:ln>
        </p:spPr>
        <p:txBody>
          <a:bodyPr wrap="none" lIns="216000" tIns="35120" rIns="70239" bIns="35120" anchor="ctr"/>
          <a:lstStyle/>
          <a:p>
            <a:pPr marL="238125" indent="-238125">
              <a:spcAft>
                <a:spcPct val="35000"/>
              </a:spcAft>
              <a:buClr>
                <a:srgbClr val="E19900"/>
              </a:buClr>
              <a:tabLst>
                <a:tab pos="446088" algn="l"/>
              </a:tabLst>
            </a:pPr>
            <a:endParaRPr lang="en-US" sz="2800" b="1" kern="0" dirty="0" smtClean="0">
              <a:solidFill>
                <a:schemeClr val="bg1">
                  <a:lumMod val="65000"/>
                </a:schemeClr>
              </a:solidFill>
              <a:latin typeface="Arial" pitchFamily="34" charset="0"/>
              <a:cs typeface="Arial" pitchFamily="34" charset="0"/>
            </a:endParaRPr>
          </a:p>
          <a:p>
            <a:pPr marL="238125" indent="-238125">
              <a:spcAft>
                <a:spcPct val="35000"/>
              </a:spcAft>
              <a:buClr>
                <a:srgbClr val="E19900"/>
              </a:buClr>
              <a:buFont typeface="Arial" charset="0"/>
              <a:buBlip>
                <a:blip r:embed="rId16"/>
              </a:buBlip>
              <a:tabLst>
                <a:tab pos="446088" algn="l"/>
              </a:tabLst>
            </a:pPr>
            <a:endParaRPr lang="en-US" sz="2800" kern="0" dirty="0" smtClean="0">
              <a:solidFill>
                <a:schemeClr val="bg1">
                  <a:lumMod val="65000"/>
                </a:schemeClr>
              </a:solidFill>
              <a:latin typeface="Arial" pitchFamily="34" charset="0"/>
              <a:cs typeface="Arial" pitchFamily="34" charset="0"/>
            </a:endParaRPr>
          </a:p>
          <a:p>
            <a:pPr marL="238125" indent="-238125">
              <a:spcAft>
                <a:spcPct val="35000"/>
              </a:spcAft>
              <a:buClr>
                <a:srgbClr val="E19900"/>
              </a:buClr>
              <a:buFont typeface="Arial" charset="0"/>
              <a:buNone/>
              <a:tabLst>
                <a:tab pos="446088" algn="l"/>
              </a:tabLst>
            </a:pPr>
            <a:endParaRPr lang="en-US" sz="2800" kern="0" dirty="0" smtClean="0">
              <a:solidFill>
                <a:schemeClr val="bg1">
                  <a:lumMod val="65000"/>
                </a:schemeClr>
              </a:solidFill>
              <a:latin typeface="Arial" pitchFamily="34" charset="0"/>
              <a:cs typeface="Arial" pitchFamily="34" charset="0"/>
            </a:endParaRPr>
          </a:p>
          <a:p>
            <a:pPr marL="238125" indent="-238125">
              <a:spcAft>
                <a:spcPct val="35000"/>
              </a:spcAft>
              <a:buClr>
                <a:srgbClr val="E19900"/>
              </a:buClr>
              <a:buFont typeface="Arial" charset="0"/>
              <a:buNone/>
              <a:tabLst>
                <a:tab pos="446088" algn="l"/>
              </a:tabLst>
            </a:pPr>
            <a:r>
              <a:rPr lang="en-US" sz="2800" kern="0" dirty="0" smtClean="0">
                <a:solidFill>
                  <a:schemeClr val="bg1">
                    <a:lumMod val="65000"/>
                  </a:schemeClr>
                </a:solidFill>
                <a:latin typeface="Arial" pitchFamily="34" charset="0"/>
                <a:cs typeface="Arial" pitchFamily="34" charset="0"/>
              </a:rPr>
              <a:t/>
            </a:r>
            <a:br>
              <a:rPr lang="en-US" sz="2800" kern="0" dirty="0" smtClean="0">
                <a:solidFill>
                  <a:schemeClr val="bg1">
                    <a:lumMod val="65000"/>
                  </a:schemeClr>
                </a:solidFill>
                <a:latin typeface="Arial" pitchFamily="34" charset="0"/>
                <a:cs typeface="Arial" pitchFamily="34" charset="0"/>
              </a:rPr>
            </a:br>
            <a:endParaRPr lang="en-US" sz="2800" kern="0" dirty="0" smtClean="0">
              <a:solidFill>
                <a:schemeClr val="bg1">
                  <a:lumMod val="65000"/>
                </a:schemeClr>
              </a:solidFill>
              <a:latin typeface="Arial" pitchFamily="34" charset="0"/>
              <a:cs typeface="Arial" pitchFamily="34" charset="0"/>
            </a:endParaRPr>
          </a:p>
          <a:p>
            <a:pPr marL="238125" indent="-238125">
              <a:spcAft>
                <a:spcPct val="35000"/>
              </a:spcAft>
              <a:buClr>
                <a:srgbClr val="E19900"/>
              </a:buClr>
              <a:buFont typeface="Arial" charset="0"/>
              <a:buNone/>
              <a:tabLst>
                <a:tab pos="446088" algn="l"/>
              </a:tabLst>
            </a:pPr>
            <a:endParaRPr lang="en-US" sz="2800" kern="0" dirty="0" smtClean="0">
              <a:solidFill>
                <a:schemeClr val="bg1">
                  <a:lumMod val="65000"/>
                </a:schemeClr>
              </a:solidFill>
              <a:latin typeface="Arial" pitchFamily="34" charset="0"/>
              <a:cs typeface="Arial" pitchFamily="34" charset="0"/>
            </a:endParaRPr>
          </a:p>
          <a:p>
            <a:pPr marL="238125" indent="-238125">
              <a:spcAft>
                <a:spcPct val="35000"/>
              </a:spcAft>
              <a:tabLst>
                <a:tab pos="446088" algn="l"/>
              </a:tabLst>
            </a:pPr>
            <a:endParaRPr lang="en-US" sz="2800" kern="0" dirty="0" smtClean="0">
              <a:solidFill>
                <a:schemeClr val="bg1">
                  <a:lumMod val="65000"/>
                </a:schemeClr>
              </a:solidFill>
              <a:latin typeface="Arial" pitchFamily="34" charset="0"/>
              <a:cs typeface="Arial" pitchFamily="34" charset="0"/>
            </a:endParaRPr>
          </a:p>
        </p:txBody>
      </p:sp>
      <p:sp>
        <p:nvSpPr>
          <p:cNvPr id="67" name="Rectangle 7"/>
          <p:cNvSpPr>
            <a:spLocks noChangeArrowheads="1"/>
          </p:cNvSpPr>
          <p:nvPr/>
        </p:nvSpPr>
        <p:spPr bwMode="auto">
          <a:xfrm>
            <a:off x="3727075" y="2039839"/>
            <a:ext cx="1620000" cy="3537348"/>
          </a:xfrm>
          <a:prstGeom prst="rect">
            <a:avLst/>
          </a:prstGeom>
          <a:solidFill>
            <a:schemeClr val="bg1">
              <a:lumMod val="75000"/>
            </a:schemeClr>
          </a:solidFill>
          <a:ln w="9525" algn="ctr">
            <a:noFill/>
            <a:miter lim="800000"/>
            <a:headEnd/>
            <a:tailEnd/>
          </a:ln>
        </p:spPr>
        <p:txBody>
          <a:bodyPr wrap="none" lIns="216000" tIns="35120" rIns="70239" bIns="35120" anchor="ctr"/>
          <a:lstStyle/>
          <a:p>
            <a:pPr marL="238125" indent="-238125">
              <a:spcAft>
                <a:spcPct val="35000"/>
              </a:spcAft>
              <a:buClr>
                <a:srgbClr val="E19900"/>
              </a:buClr>
              <a:tabLst>
                <a:tab pos="446088" algn="l"/>
              </a:tabLst>
            </a:pPr>
            <a:endParaRPr lang="en-US" sz="2800" b="1" kern="0" dirty="0" smtClean="0">
              <a:solidFill>
                <a:schemeClr val="bg1">
                  <a:lumMod val="65000"/>
                </a:schemeClr>
              </a:solidFill>
              <a:latin typeface="Arial" pitchFamily="34" charset="0"/>
              <a:cs typeface="Arial" pitchFamily="34" charset="0"/>
            </a:endParaRPr>
          </a:p>
          <a:p>
            <a:pPr marL="238125" indent="-238125">
              <a:spcAft>
                <a:spcPct val="35000"/>
              </a:spcAft>
              <a:buClr>
                <a:srgbClr val="E19900"/>
              </a:buClr>
              <a:buFont typeface="Arial" charset="0"/>
              <a:buBlip>
                <a:blip r:embed="rId16"/>
              </a:buBlip>
              <a:tabLst>
                <a:tab pos="446088" algn="l"/>
              </a:tabLst>
            </a:pPr>
            <a:endParaRPr lang="en-US" sz="2800" kern="0" dirty="0" smtClean="0">
              <a:solidFill>
                <a:schemeClr val="bg1">
                  <a:lumMod val="65000"/>
                </a:schemeClr>
              </a:solidFill>
              <a:latin typeface="Arial" pitchFamily="34" charset="0"/>
              <a:cs typeface="Arial" pitchFamily="34" charset="0"/>
            </a:endParaRPr>
          </a:p>
          <a:p>
            <a:pPr marL="238125" indent="-238125">
              <a:spcAft>
                <a:spcPct val="35000"/>
              </a:spcAft>
              <a:buClr>
                <a:srgbClr val="E19900"/>
              </a:buClr>
              <a:buFont typeface="Arial" charset="0"/>
              <a:buNone/>
              <a:tabLst>
                <a:tab pos="446088" algn="l"/>
              </a:tabLst>
            </a:pPr>
            <a:endParaRPr lang="en-US" sz="2800" kern="0" dirty="0" smtClean="0">
              <a:solidFill>
                <a:schemeClr val="bg1">
                  <a:lumMod val="65000"/>
                </a:schemeClr>
              </a:solidFill>
              <a:latin typeface="Arial" pitchFamily="34" charset="0"/>
              <a:cs typeface="Arial" pitchFamily="34" charset="0"/>
            </a:endParaRPr>
          </a:p>
          <a:p>
            <a:pPr marL="238125" indent="-238125">
              <a:spcAft>
                <a:spcPct val="35000"/>
              </a:spcAft>
              <a:buClr>
                <a:srgbClr val="E19900"/>
              </a:buClr>
              <a:buFont typeface="Arial" charset="0"/>
              <a:buNone/>
              <a:tabLst>
                <a:tab pos="446088" algn="l"/>
              </a:tabLst>
            </a:pPr>
            <a:r>
              <a:rPr lang="en-US" sz="2800" kern="0" dirty="0" smtClean="0">
                <a:solidFill>
                  <a:schemeClr val="bg1">
                    <a:lumMod val="65000"/>
                  </a:schemeClr>
                </a:solidFill>
                <a:latin typeface="Arial" pitchFamily="34" charset="0"/>
                <a:cs typeface="Arial" pitchFamily="34" charset="0"/>
              </a:rPr>
              <a:t/>
            </a:r>
            <a:br>
              <a:rPr lang="en-US" sz="2800" kern="0" dirty="0" smtClean="0">
                <a:solidFill>
                  <a:schemeClr val="bg1">
                    <a:lumMod val="65000"/>
                  </a:schemeClr>
                </a:solidFill>
                <a:latin typeface="Arial" pitchFamily="34" charset="0"/>
                <a:cs typeface="Arial" pitchFamily="34" charset="0"/>
              </a:rPr>
            </a:br>
            <a:endParaRPr lang="en-US" sz="2800" kern="0" dirty="0" smtClean="0">
              <a:solidFill>
                <a:schemeClr val="bg1">
                  <a:lumMod val="65000"/>
                </a:schemeClr>
              </a:solidFill>
              <a:latin typeface="Arial" pitchFamily="34" charset="0"/>
              <a:cs typeface="Arial" pitchFamily="34" charset="0"/>
            </a:endParaRPr>
          </a:p>
          <a:p>
            <a:pPr marL="238125" indent="-238125">
              <a:spcAft>
                <a:spcPct val="35000"/>
              </a:spcAft>
              <a:buClr>
                <a:srgbClr val="E19900"/>
              </a:buClr>
              <a:buFont typeface="Arial" charset="0"/>
              <a:buNone/>
              <a:tabLst>
                <a:tab pos="446088" algn="l"/>
              </a:tabLst>
            </a:pPr>
            <a:endParaRPr lang="en-US" sz="2800" kern="0" dirty="0" smtClean="0">
              <a:solidFill>
                <a:schemeClr val="bg1">
                  <a:lumMod val="65000"/>
                </a:schemeClr>
              </a:solidFill>
              <a:latin typeface="Arial" pitchFamily="34" charset="0"/>
              <a:cs typeface="Arial" pitchFamily="34" charset="0"/>
            </a:endParaRPr>
          </a:p>
          <a:p>
            <a:pPr marL="238125" indent="-238125">
              <a:spcAft>
                <a:spcPct val="35000"/>
              </a:spcAft>
              <a:tabLst>
                <a:tab pos="446088" algn="l"/>
              </a:tabLst>
            </a:pPr>
            <a:endParaRPr lang="en-US" sz="2800" kern="0" dirty="0" smtClean="0">
              <a:solidFill>
                <a:schemeClr val="bg1">
                  <a:lumMod val="65000"/>
                </a:schemeClr>
              </a:solidFill>
              <a:latin typeface="Arial" pitchFamily="34" charset="0"/>
              <a:cs typeface="Arial" pitchFamily="34" charset="0"/>
            </a:endParaRPr>
          </a:p>
        </p:txBody>
      </p:sp>
      <p:sp>
        <p:nvSpPr>
          <p:cNvPr id="68" name="Rectangle 3"/>
          <p:cNvSpPr>
            <a:spLocks noChangeArrowheads="1"/>
          </p:cNvSpPr>
          <p:nvPr>
            <p:custDataLst>
              <p:tags r:id="rId4"/>
            </p:custDataLst>
          </p:nvPr>
        </p:nvSpPr>
        <p:spPr bwMode="auto">
          <a:xfrm>
            <a:off x="5436096" y="1268414"/>
            <a:ext cx="3384054" cy="4373262"/>
          </a:xfrm>
          <a:prstGeom prst="rect">
            <a:avLst/>
          </a:prstGeom>
          <a:solidFill>
            <a:schemeClr val="bg1">
              <a:lumMod val="50000"/>
            </a:schemeClr>
          </a:solidFill>
          <a:ln w="28575" algn="ctr">
            <a:noFill/>
            <a:miter lim="800000"/>
            <a:headEnd/>
            <a:tailEnd/>
          </a:ln>
          <a:scene3d>
            <a:camera prst="orthographicFront"/>
            <a:lightRig rig="balanced" dir="t"/>
          </a:scene3d>
          <a:sp3d>
            <a:bevelT w="165100" prst="coolSlant"/>
            <a:bevelB prst="relaxedInset"/>
          </a:sp3d>
        </p:spPr>
        <p:txBody>
          <a:bodyPr lIns="90000" tIns="144000" rIns="126075" bIns="126075"/>
          <a:lstStyle/>
          <a:p>
            <a:pPr marL="155575" indent="-155575" defTabSz="873125">
              <a:lnSpc>
                <a:spcPct val="65000"/>
              </a:lnSpc>
            </a:pPr>
            <a:endParaRPr lang="en-US" dirty="0">
              <a:solidFill>
                <a:schemeClr val="bg1"/>
              </a:solidFill>
              <a:ea typeface="ヒラギノ角ゴ Pro W3" pitchFamily="1" charset="-128"/>
            </a:endParaRPr>
          </a:p>
        </p:txBody>
      </p:sp>
      <p:sp>
        <p:nvSpPr>
          <p:cNvPr id="70" name="Rectangle 7"/>
          <p:cNvSpPr>
            <a:spLocks noChangeArrowheads="1"/>
          </p:cNvSpPr>
          <p:nvPr/>
        </p:nvSpPr>
        <p:spPr bwMode="auto">
          <a:xfrm>
            <a:off x="5480028" y="2039839"/>
            <a:ext cx="1620000" cy="3537348"/>
          </a:xfrm>
          <a:prstGeom prst="rect">
            <a:avLst/>
          </a:prstGeom>
          <a:solidFill>
            <a:schemeClr val="bg1">
              <a:lumMod val="75000"/>
            </a:schemeClr>
          </a:solidFill>
          <a:ln w="9525" algn="ctr">
            <a:noFill/>
            <a:miter lim="800000"/>
            <a:headEnd/>
            <a:tailEnd/>
          </a:ln>
        </p:spPr>
        <p:txBody>
          <a:bodyPr wrap="none" lIns="216000" tIns="35120" rIns="70239" bIns="35120" anchor="ctr"/>
          <a:lstStyle/>
          <a:p>
            <a:pPr marL="238125" indent="-238125">
              <a:spcAft>
                <a:spcPct val="35000"/>
              </a:spcAft>
              <a:buClr>
                <a:srgbClr val="E19900"/>
              </a:buClr>
              <a:tabLst>
                <a:tab pos="446088" algn="l"/>
              </a:tabLst>
            </a:pPr>
            <a:endParaRPr lang="en-US" sz="2800" b="1" kern="0" dirty="0" smtClean="0">
              <a:solidFill>
                <a:schemeClr val="bg1">
                  <a:lumMod val="65000"/>
                </a:schemeClr>
              </a:solidFill>
              <a:latin typeface="Arial" pitchFamily="34" charset="0"/>
              <a:cs typeface="Arial" pitchFamily="34" charset="0"/>
            </a:endParaRPr>
          </a:p>
          <a:p>
            <a:pPr marL="238125" indent="-238125">
              <a:spcAft>
                <a:spcPct val="35000"/>
              </a:spcAft>
              <a:buClr>
                <a:srgbClr val="E19900"/>
              </a:buClr>
              <a:buFont typeface="Arial" charset="0"/>
              <a:buBlip>
                <a:blip r:embed="rId16"/>
              </a:buBlip>
              <a:tabLst>
                <a:tab pos="446088" algn="l"/>
              </a:tabLst>
            </a:pPr>
            <a:endParaRPr lang="en-US" sz="2800" b="1" kern="0" dirty="0" smtClean="0">
              <a:solidFill>
                <a:schemeClr val="bg1">
                  <a:lumMod val="65000"/>
                </a:schemeClr>
              </a:solidFill>
              <a:latin typeface="Arial" pitchFamily="34" charset="0"/>
              <a:cs typeface="Arial" pitchFamily="34" charset="0"/>
            </a:endParaRPr>
          </a:p>
          <a:p>
            <a:pPr marL="238125" indent="-238125">
              <a:spcAft>
                <a:spcPct val="35000"/>
              </a:spcAft>
              <a:buClr>
                <a:srgbClr val="E19900"/>
              </a:buClr>
              <a:buFont typeface="Arial" charset="0"/>
              <a:buNone/>
              <a:tabLst>
                <a:tab pos="446088" algn="l"/>
              </a:tabLst>
            </a:pPr>
            <a:endParaRPr lang="en-US" sz="2800" b="1" kern="0" dirty="0" smtClean="0">
              <a:solidFill>
                <a:schemeClr val="bg1">
                  <a:lumMod val="65000"/>
                </a:schemeClr>
              </a:solidFill>
              <a:latin typeface="Arial" pitchFamily="34" charset="0"/>
              <a:cs typeface="Arial" pitchFamily="34" charset="0"/>
            </a:endParaRPr>
          </a:p>
          <a:p>
            <a:pPr marL="238125" indent="-238125">
              <a:spcAft>
                <a:spcPct val="35000"/>
              </a:spcAft>
              <a:buClr>
                <a:srgbClr val="E19900"/>
              </a:buClr>
              <a:buFont typeface="Arial" charset="0"/>
              <a:buNone/>
              <a:tabLst>
                <a:tab pos="446088" algn="l"/>
              </a:tabLst>
            </a:pPr>
            <a:r>
              <a:rPr lang="en-US" sz="2800" b="1" kern="0" dirty="0" smtClean="0">
                <a:solidFill>
                  <a:schemeClr val="bg1">
                    <a:lumMod val="65000"/>
                  </a:schemeClr>
                </a:solidFill>
                <a:latin typeface="Arial" pitchFamily="34" charset="0"/>
                <a:cs typeface="Arial" pitchFamily="34" charset="0"/>
              </a:rPr>
              <a:t/>
            </a:r>
            <a:br>
              <a:rPr lang="en-US" sz="2800" b="1" kern="0" dirty="0" smtClean="0">
                <a:solidFill>
                  <a:schemeClr val="bg1">
                    <a:lumMod val="65000"/>
                  </a:schemeClr>
                </a:solidFill>
                <a:latin typeface="Arial" pitchFamily="34" charset="0"/>
                <a:cs typeface="Arial" pitchFamily="34" charset="0"/>
              </a:rPr>
            </a:br>
            <a:endParaRPr lang="en-US" sz="2800" b="1" kern="0" dirty="0" smtClean="0">
              <a:solidFill>
                <a:schemeClr val="bg1">
                  <a:lumMod val="65000"/>
                </a:schemeClr>
              </a:solidFill>
              <a:latin typeface="Arial" pitchFamily="34" charset="0"/>
              <a:cs typeface="Arial" pitchFamily="34" charset="0"/>
            </a:endParaRPr>
          </a:p>
          <a:p>
            <a:pPr marL="238125" indent="-238125">
              <a:spcAft>
                <a:spcPct val="35000"/>
              </a:spcAft>
              <a:buClr>
                <a:srgbClr val="E19900"/>
              </a:buClr>
              <a:buFont typeface="Arial" charset="0"/>
              <a:buNone/>
              <a:tabLst>
                <a:tab pos="446088" algn="l"/>
              </a:tabLst>
            </a:pPr>
            <a:endParaRPr lang="en-US" sz="2800" b="1" kern="0" dirty="0" smtClean="0">
              <a:solidFill>
                <a:schemeClr val="bg1">
                  <a:lumMod val="65000"/>
                </a:schemeClr>
              </a:solidFill>
              <a:latin typeface="Arial" pitchFamily="34" charset="0"/>
              <a:cs typeface="Arial" pitchFamily="34" charset="0"/>
            </a:endParaRPr>
          </a:p>
          <a:p>
            <a:pPr marL="238125" indent="-238125">
              <a:spcAft>
                <a:spcPct val="35000"/>
              </a:spcAft>
              <a:tabLst>
                <a:tab pos="446088" algn="l"/>
              </a:tabLst>
            </a:pPr>
            <a:endParaRPr lang="en-US" sz="2800" b="1" kern="0" dirty="0" smtClean="0">
              <a:solidFill>
                <a:schemeClr val="bg1">
                  <a:lumMod val="65000"/>
                </a:schemeClr>
              </a:solidFill>
              <a:latin typeface="Arial" pitchFamily="34" charset="0"/>
              <a:cs typeface="Arial" pitchFamily="34" charset="0"/>
            </a:endParaRPr>
          </a:p>
        </p:txBody>
      </p:sp>
      <p:sp>
        <p:nvSpPr>
          <p:cNvPr id="71" name="Rectangle 7"/>
          <p:cNvSpPr>
            <a:spLocks noChangeArrowheads="1"/>
          </p:cNvSpPr>
          <p:nvPr>
            <p:custDataLst>
              <p:tags r:id="rId5"/>
            </p:custDataLst>
          </p:nvPr>
        </p:nvSpPr>
        <p:spPr bwMode="auto">
          <a:xfrm>
            <a:off x="7148790" y="2039839"/>
            <a:ext cx="1620000" cy="3537348"/>
          </a:xfrm>
          <a:prstGeom prst="rect">
            <a:avLst/>
          </a:prstGeom>
          <a:solidFill>
            <a:schemeClr val="bg1">
              <a:lumMod val="75000"/>
            </a:schemeClr>
          </a:solidFill>
          <a:ln w="9525" algn="ctr">
            <a:noFill/>
            <a:miter lim="800000"/>
            <a:headEnd/>
            <a:tailEnd/>
          </a:ln>
        </p:spPr>
        <p:txBody>
          <a:bodyPr wrap="none" lIns="216000" tIns="35120" rIns="70239" bIns="35120" anchor="ctr"/>
          <a:lstStyle/>
          <a:p>
            <a:pPr marL="238125" indent="-238125">
              <a:lnSpc>
                <a:spcPts val="1300"/>
              </a:lnSpc>
              <a:buClr>
                <a:srgbClr val="E19900"/>
              </a:buClr>
              <a:tabLst>
                <a:tab pos="446088" algn="l"/>
              </a:tabLst>
            </a:pPr>
            <a:endParaRPr lang="en-US" sz="2800" b="1" kern="0" dirty="0" smtClean="0">
              <a:solidFill>
                <a:schemeClr val="bg1">
                  <a:lumMod val="65000"/>
                </a:schemeClr>
              </a:solidFill>
              <a:latin typeface="Arial" pitchFamily="34" charset="0"/>
              <a:cs typeface="Arial" pitchFamily="34" charset="0"/>
            </a:endParaRPr>
          </a:p>
          <a:p>
            <a:pPr marL="238125" indent="-238125">
              <a:lnSpc>
                <a:spcPts val="1300"/>
              </a:lnSpc>
              <a:buClr>
                <a:srgbClr val="E19900"/>
              </a:buClr>
              <a:buFont typeface="Arial" charset="0"/>
              <a:buBlip>
                <a:blip r:embed="rId16"/>
              </a:buBlip>
              <a:tabLst>
                <a:tab pos="446088" algn="l"/>
              </a:tabLst>
            </a:pPr>
            <a:endParaRPr lang="en-US" sz="2800" b="1" kern="0" dirty="0" smtClean="0">
              <a:solidFill>
                <a:schemeClr val="bg1">
                  <a:lumMod val="65000"/>
                </a:schemeClr>
              </a:solidFill>
              <a:latin typeface="Arial" pitchFamily="34" charset="0"/>
              <a:cs typeface="Arial" pitchFamily="34" charset="0"/>
            </a:endParaRPr>
          </a:p>
          <a:p>
            <a:pPr marL="238125" indent="-238125">
              <a:lnSpc>
                <a:spcPts val="1300"/>
              </a:lnSpc>
              <a:buClr>
                <a:srgbClr val="E19900"/>
              </a:buClr>
              <a:buFont typeface="Arial" charset="0"/>
              <a:buNone/>
              <a:tabLst>
                <a:tab pos="446088" algn="l"/>
              </a:tabLst>
            </a:pPr>
            <a:endParaRPr lang="en-US" sz="2800" b="1" kern="0" dirty="0" smtClean="0">
              <a:solidFill>
                <a:schemeClr val="bg1">
                  <a:lumMod val="65000"/>
                </a:schemeClr>
              </a:solidFill>
              <a:latin typeface="Arial" pitchFamily="34" charset="0"/>
              <a:cs typeface="Arial" pitchFamily="34" charset="0"/>
            </a:endParaRPr>
          </a:p>
          <a:p>
            <a:pPr marL="238125" indent="-238125">
              <a:lnSpc>
                <a:spcPts val="1300"/>
              </a:lnSpc>
              <a:buClr>
                <a:srgbClr val="E19900"/>
              </a:buClr>
              <a:buFont typeface="Arial" charset="0"/>
              <a:buNone/>
              <a:tabLst>
                <a:tab pos="446088" algn="l"/>
              </a:tabLst>
            </a:pPr>
            <a:r>
              <a:rPr lang="en-US" sz="2800" b="1" kern="0" dirty="0" smtClean="0">
                <a:solidFill>
                  <a:schemeClr val="bg1">
                    <a:lumMod val="65000"/>
                  </a:schemeClr>
                </a:solidFill>
                <a:latin typeface="Arial" pitchFamily="34" charset="0"/>
                <a:cs typeface="Arial" pitchFamily="34" charset="0"/>
              </a:rPr>
              <a:t/>
            </a:r>
            <a:br>
              <a:rPr lang="en-US" sz="2800" b="1" kern="0" dirty="0" smtClean="0">
                <a:solidFill>
                  <a:schemeClr val="bg1">
                    <a:lumMod val="65000"/>
                  </a:schemeClr>
                </a:solidFill>
                <a:latin typeface="Arial" pitchFamily="34" charset="0"/>
                <a:cs typeface="Arial" pitchFamily="34" charset="0"/>
              </a:rPr>
            </a:br>
            <a:endParaRPr lang="en-US" sz="2800" b="1" kern="0" dirty="0" smtClean="0">
              <a:solidFill>
                <a:schemeClr val="bg1">
                  <a:lumMod val="65000"/>
                </a:schemeClr>
              </a:solidFill>
              <a:latin typeface="Arial" pitchFamily="34" charset="0"/>
              <a:cs typeface="Arial" pitchFamily="34" charset="0"/>
            </a:endParaRPr>
          </a:p>
          <a:p>
            <a:pPr marL="238125" indent="-238125">
              <a:lnSpc>
                <a:spcPts val="1300"/>
              </a:lnSpc>
              <a:buClr>
                <a:srgbClr val="E19900"/>
              </a:buClr>
              <a:buFont typeface="Arial" charset="0"/>
              <a:buNone/>
              <a:tabLst>
                <a:tab pos="446088" algn="l"/>
              </a:tabLst>
            </a:pPr>
            <a:endParaRPr lang="en-US" sz="2800" b="1" kern="0" dirty="0" smtClean="0">
              <a:solidFill>
                <a:schemeClr val="bg1">
                  <a:lumMod val="65000"/>
                </a:schemeClr>
              </a:solidFill>
              <a:latin typeface="Arial" pitchFamily="34" charset="0"/>
              <a:cs typeface="Arial" pitchFamily="34" charset="0"/>
            </a:endParaRPr>
          </a:p>
          <a:p>
            <a:pPr marL="238125" indent="-238125">
              <a:lnSpc>
                <a:spcPts val="1300"/>
              </a:lnSpc>
              <a:tabLst>
                <a:tab pos="446088" algn="l"/>
              </a:tabLst>
            </a:pPr>
            <a:endParaRPr lang="en-US" sz="2800" b="1" kern="0" dirty="0" smtClean="0">
              <a:solidFill>
                <a:schemeClr val="bg1">
                  <a:lumMod val="65000"/>
                </a:schemeClr>
              </a:solidFill>
              <a:latin typeface="Arial" pitchFamily="34" charset="0"/>
              <a:cs typeface="Arial" pitchFamily="34" charset="0"/>
            </a:endParaRPr>
          </a:p>
        </p:txBody>
      </p:sp>
      <p:sp>
        <p:nvSpPr>
          <p:cNvPr id="72" name="Rectangle 32"/>
          <p:cNvSpPr>
            <a:spLocks noChangeArrowheads="1"/>
          </p:cNvSpPr>
          <p:nvPr/>
        </p:nvSpPr>
        <p:spPr bwMode="auto">
          <a:xfrm>
            <a:off x="2087896" y="2183210"/>
            <a:ext cx="1548000" cy="360000"/>
          </a:xfrm>
          <a:prstGeom prst="rect">
            <a:avLst/>
          </a:prstGeom>
          <a:solidFill>
            <a:schemeClr val="bg1">
              <a:alpha val="60000"/>
            </a:schemeClr>
          </a:solidFill>
          <a:ln w="6350" algn="ctr">
            <a:solidFill>
              <a:schemeClr val="bg1"/>
            </a:solidFill>
            <a:miter lim="800000"/>
            <a:headEnd/>
            <a:tailEnd/>
          </a:ln>
          <a:scene3d>
            <a:camera prst="orthographicFront"/>
            <a:lightRig rig="threePt" dir="t"/>
          </a:scene3d>
          <a:sp3d prstMaterial="metal">
            <a:bevelT prst="relaxedInset"/>
          </a:sp3d>
        </p:spPr>
        <p:txBody>
          <a:bodyPr wrap="none" lIns="36000" tIns="7200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ts val="1300"/>
              </a:lnSpc>
              <a:buNone/>
            </a:pPr>
            <a:r>
              <a:rPr lang="en-US" sz="1300" dirty="0" smtClean="0"/>
              <a:t>Engine Systems</a:t>
            </a:r>
            <a:endParaRPr lang="en-US" sz="1300" dirty="0"/>
          </a:p>
        </p:txBody>
      </p:sp>
      <p:sp>
        <p:nvSpPr>
          <p:cNvPr id="73" name="Rectangle 32"/>
          <p:cNvSpPr>
            <a:spLocks noChangeArrowheads="1"/>
          </p:cNvSpPr>
          <p:nvPr/>
        </p:nvSpPr>
        <p:spPr bwMode="auto">
          <a:xfrm>
            <a:off x="2087896" y="2593978"/>
            <a:ext cx="1548000" cy="360000"/>
          </a:xfrm>
          <a:prstGeom prst="rect">
            <a:avLst/>
          </a:prstGeom>
          <a:solidFill>
            <a:schemeClr val="bg1">
              <a:alpha val="60000"/>
            </a:schemeClr>
          </a:solidFill>
          <a:ln w="6350" algn="ctr">
            <a:solidFill>
              <a:schemeClr val="bg1"/>
            </a:solidFill>
            <a:miter lim="800000"/>
            <a:headEnd/>
            <a:tailEnd/>
          </a:ln>
          <a:scene3d>
            <a:camera prst="orthographicFront"/>
            <a:lightRig rig="threePt" dir="t"/>
          </a:scene3d>
          <a:sp3d prstMaterial="metal">
            <a:bevelT prst="relaxedInset"/>
          </a:sp3d>
        </p:spPr>
        <p:txBody>
          <a:bodyPr wrap="none" lIns="36000" tIns="7200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ts val="1300"/>
              </a:lnSpc>
            </a:pPr>
            <a:r>
              <a:rPr lang="en-US" sz="1300" dirty="0" smtClean="0"/>
              <a:t>Transmission</a:t>
            </a:r>
            <a:endParaRPr lang="en-US" sz="1300" dirty="0"/>
          </a:p>
        </p:txBody>
      </p:sp>
      <p:sp>
        <p:nvSpPr>
          <p:cNvPr id="74" name="Rectangle 32"/>
          <p:cNvSpPr>
            <a:spLocks noChangeArrowheads="1"/>
          </p:cNvSpPr>
          <p:nvPr/>
        </p:nvSpPr>
        <p:spPr bwMode="auto">
          <a:xfrm>
            <a:off x="2087896" y="2993060"/>
            <a:ext cx="1548000" cy="360000"/>
          </a:xfrm>
          <a:prstGeom prst="rect">
            <a:avLst/>
          </a:prstGeom>
          <a:solidFill>
            <a:schemeClr val="bg1">
              <a:alpha val="60000"/>
            </a:schemeClr>
          </a:solidFill>
          <a:ln w="6350" algn="ctr">
            <a:solidFill>
              <a:schemeClr val="bg1"/>
            </a:solidFill>
            <a:miter lim="800000"/>
            <a:headEnd/>
            <a:tailEnd/>
          </a:ln>
          <a:scene3d>
            <a:camera prst="orthographicFront"/>
            <a:lightRig rig="threePt" dir="t"/>
          </a:scene3d>
          <a:sp3d prstMaterial="metal">
            <a:bevelT prst="relaxedInset"/>
          </a:sp3d>
        </p:spPr>
        <p:txBody>
          <a:bodyPr wrap="none" lIns="36000" tIns="7200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ts val="1300"/>
              </a:lnSpc>
              <a:buNone/>
            </a:pPr>
            <a:r>
              <a:rPr lang="en-US" sz="1300" dirty="0" smtClean="0"/>
              <a:t>Hybrid Electric</a:t>
            </a:r>
            <a:br>
              <a:rPr lang="en-US" sz="1300" dirty="0" smtClean="0"/>
            </a:br>
            <a:r>
              <a:rPr lang="en-US" sz="1300" dirty="0" smtClean="0"/>
              <a:t>Vehicle</a:t>
            </a:r>
            <a:endParaRPr lang="en-US" sz="1300" dirty="0"/>
          </a:p>
        </p:txBody>
      </p:sp>
      <p:sp>
        <p:nvSpPr>
          <p:cNvPr id="75" name="Rectangle 32"/>
          <p:cNvSpPr>
            <a:spLocks noChangeArrowheads="1"/>
          </p:cNvSpPr>
          <p:nvPr/>
        </p:nvSpPr>
        <p:spPr bwMode="auto">
          <a:xfrm>
            <a:off x="2087896" y="3402298"/>
            <a:ext cx="1548000" cy="360000"/>
          </a:xfrm>
          <a:prstGeom prst="rect">
            <a:avLst/>
          </a:prstGeom>
          <a:solidFill>
            <a:schemeClr val="bg1">
              <a:alpha val="60000"/>
            </a:schemeClr>
          </a:solidFill>
          <a:ln w="6350" algn="ctr">
            <a:solidFill>
              <a:schemeClr val="bg1"/>
            </a:solidFill>
            <a:miter lim="800000"/>
            <a:headEnd/>
            <a:tailEnd/>
          </a:ln>
          <a:scene3d>
            <a:camera prst="orthographicFront"/>
            <a:lightRig rig="threePt" dir="t"/>
          </a:scene3d>
          <a:sp3d prstMaterial="metal">
            <a:bevelT prst="relaxedInset"/>
          </a:sp3d>
        </p:spPr>
        <p:txBody>
          <a:bodyPr wrap="none" lIns="36000" tIns="7200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ts val="1300"/>
              </a:lnSpc>
            </a:pPr>
            <a:r>
              <a:rPr lang="en-US" sz="1300" smtClean="0"/>
              <a:t>Sensors &amp; </a:t>
            </a:r>
            <a:br>
              <a:rPr lang="en-US" sz="1300" smtClean="0"/>
            </a:br>
            <a:r>
              <a:rPr lang="en-US" sz="1300" smtClean="0"/>
              <a:t>Actuators</a:t>
            </a:r>
            <a:endParaRPr lang="en-US" sz="1300"/>
          </a:p>
        </p:txBody>
      </p:sp>
      <p:sp>
        <p:nvSpPr>
          <p:cNvPr id="76" name="Rectangle 32"/>
          <p:cNvSpPr>
            <a:spLocks noChangeArrowheads="1"/>
          </p:cNvSpPr>
          <p:nvPr/>
        </p:nvSpPr>
        <p:spPr bwMode="auto">
          <a:xfrm>
            <a:off x="2087896" y="3811536"/>
            <a:ext cx="1548000" cy="360000"/>
          </a:xfrm>
          <a:prstGeom prst="rect">
            <a:avLst/>
          </a:prstGeom>
          <a:solidFill>
            <a:schemeClr val="bg1">
              <a:alpha val="60000"/>
            </a:schemeClr>
          </a:solidFill>
          <a:ln w="6350" algn="ctr">
            <a:solidFill>
              <a:schemeClr val="bg1"/>
            </a:solidFill>
            <a:miter lim="800000"/>
            <a:headEnd/>
            <a:tailEnd/>
          </a:ln>
          <a:scene3d>
            <a:camera prst="orthographicFront"/>
            <a:lightRig rig="threePt" dir="t"/>
          </a:scene3d>
          <a:sp3d prstMaterial="metal">
            <a:bevelT prst="relaxedInset"/>
          </a:sp3d>
        </p:spPr>
        <p:txBody>
          <a:bodyPr wrap="none" lIns="36000" tIns="7200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ts val="1300"/>
              </a:lnSpc>
            </a:pPr>
            <a:r>
              <a:rPr lang="en-US" sz="1300" smtClean="0"/>
              <a:t>Fuel Supply</a:t>
            </a:r>
          </a:p>
        </p:txBody>
      </p:sp>
      <p:sp>
        <p:nvSpPr>
          <p:cNvPr id="77" name="Rectangle 32"/>
          <p:cNvSpPr>
            <a:spLocks noChangeArrowheads="1"/>
          </p:cNvSpPr>
          <p:nvPr/>
        </p:nvSpPr>
        <p:spPr bwMode="auto">
          <a:xfrm>
            <a:off x="3779912" y="2174584"/>
            <a:ext cx="1548000" cy="360000"/>
          </a:xfrm>
          <a:prstGeom prst="rect">
            <a:avLst/>
          </a:prstGeom>
          <a:solidFill>
            <a:schemeClr val="bg1">
              <a:alpha val="60000"/>
            </a:schemeClr>
          </a:solidFill>
          <a:ln w="6350" algn="ctr">
            <a:solidFill>
              <a:schemeClr val="bg1"/>
            </a:solidFill>
            <a:miter lim="800000"/>
            <a:headEnd/>
            <a:tailEnd/>
          </a:ln>
          <a:scene3d>
            <a:camera prst="orthographicFront"/>
            <a:lightRig rig="threePt" dir="t"/>
          </a:scene3d>
          <a:sp3d prstMaterial="metal">
            <a:bevelT prst="relaxedInset"/>
          </a:sp3d>
        </p:spPr>
        <p:txBody>
          <a:bodyPr wrap="none" lIns="36000" tIns="7200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ts val="1300"/>
              </a:lnSpc>
              <a:buNone/>
            </a:pPr>
            <a:r>
              <a:rPr lang="en-US" sz="1300" dirty="0" smtClean="0"/>
              <a:t>Instrumentation &amp; </a:t>
            </a:r>
            <a:br>
              <a:rPr lang="en-US" sz="1300" dirty="0" smtClean="0"/>
            </a:br>
            <a:r>
              <a:rPr lang="en-US" sz="1300" dirty="0" smtClean="0"/>
              <a:t>Driver HMI</a:t>
            </a:r>
            <a:endParaRPr lang="en-US" sz="1300" dirty="0"/>
          </a:p>
        </p:txBody>
      </p:sp>
      <p:sp>
        <p:nvSpPr>
          <p:cNvPr id="78" name="Rectangle 32"/>
          <p:cNvSpPr>
            <a:spLocks noChangeArrowheads="1"/>
          </p:cNvSpPr>
          <p:nvPr/>
        </p:nvSpPr>
        <p:spPr bwMode="auto">
          <a:xfrm>
            <a:off x="3779912" y="2585352"/>
            <a:ext cx="1548000" cy="360000"/>
          </a:xfrm>
          <a:prstGeom prst="rect">
            <a:avLst/>
          </a:prstGeom>
          <a:solidFill>
            <a:schemeClr val="bg1">
              <a:alpha val="60000"/>
            </a:schemeClr>
          </a:solidFill>
          <a:ln w="6350" algn="ctr">
            <a:solidFill>
              <a:schemeClr val="bg1"/>
            </a:solidFill>
            <a:miter lim="800000"/>
            <a:headEnd/>
            <a:tailEnd/>
          </a:ln>
          <a:scene3d>
            <a:camera prst="orthographicFront"/>
            <a:lightRig rig="threePt" dir="t"/>
          </a:scene3d>
          <a:sp3d prstMaterial="metal">
            <a:bevelT prst="relaxedInset"/>
          </a:sp3d>
        </p:spPr>
        <p:txBody>
          <a:bodyPr wrap="none" lIns="36000" tIns="7200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ts val="1300"/>
              </a:lnSpc>
            </a:pPr>
            <a:r>
              <a:rPr lang="en-US" sz="1300" smtClean="0"/>
              <a:t>Infotainment &amp; </a:t>
            </a:r>
            <a:br>
              <a:rPr lang="en-US" sz="1300" smtClean="0"/>
            </a:br>
            <a:r>
              <a:rPr lang="en-US" sz="1300" smtClean="0"/>
              <a:t>Connectivity</a:t>
            </a:r>
            <a:endParaRPr lang="en-US" sz="1300"/>
          </a:p>
        </p:txBody>
      </p:sp>
      <p:sp>
        <p:nvSpPr>
          <p:cNvPr id="79" name="Rectangle 32"/>
          <p:cNvSpPr>
            <a:spLocks noChangeArrowheads="1"/>
          </p:cNvSpPr>
          <p:nvPr/>
        </p:nvSpPr>
        <p:spPr bwMode="auto">
          <a:xfrm>
            <a:off x="3779912" y="2993060"/>
            <a:ext cx="1548000" cy="360000"/>
          </a:xfrm>
          <a:prstGeom prst="rect">
            <a:avLst/>
          </a:prstGeom>
          <a:solidFill>
            <a:schemeClr val="bg1">
              <a:alpha val="60000"/>
            </a:schemeClr>
          </a:solidFill>
          <a:ln w="6350" algn="ctr">
            <a:solidFill>
              <a:schemeClr val="bg1"/>
            </a:solidFill>
            <a:miter lim="800000"/>
            <a:headEnd/>
            <a:tailEnd/>
          </a:ln>
          <a:scene3d>
            <a:camera prst="orthographicFront"/>
            <a:lightRig rig="threePt" dir="t"/>
          </a:scene3d>
          <a:sp3d prstMaterial="metal">
            <a:bevelT prst="relaxedInset"/>
          </a:sp3d>
        </p:spPr>
        <p:txBody>
          <a:bodyPr wrap="none" lIns="36000" tIns="7200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ts val="1300"/>
              </a:lnSpc>
              <a:buNone/>
            </a:pPr>
            <a:r>
              <a:rPr lang="en-US" sz="1300" smtClean="0"/>
              <a:t>Body &amp; Security</a:t>
            </a:r>
            <a:endParaRPr lang="en-US" sz="1300"/>
          </a:p>
        </p:txBody>
      </p:sp>
      <p:sp>
        <p:nvSpPr>
          <p:cNvPr id="80" name="Rectangle 32"/>
          <p:cNvSpPr>
            <a:spLocks noChangeArrowheads="1"/>
          </p:cNvSpPr>
          <p:nvPr/>
        </p:nvSpPr>
        <p:spPr bwMode="auto">
          <a:xfrm>
            <a:off x="3779912" y="3402298"/>
            <a:ext cx="1548000" cy="360000"/>
          </a:xfrm>
          <a:prstGeom prst="rect">
            <a:avLst/>
          </a:prstGeom>
          <a:solidFill>
            <a:schemeClr val="bg1">
              <a:alpha val="60000"/>
            </a:schemeClr>
          </a:solidFill>
          <a:ln w="6350" algn="ctr">
            <a:solidFill>
              <a:schemeClr val="bg1"/>
            </a:solidFill>
            <a:miter lim="800000"/>
            <a:headEnd/>
            <a:tailEnd/>
          </a:ln>
          <a:scene3d>
            <a:camera prst="orthographicFront"/>
            <a:lightRig rig="threePt" dir="t"/>
          </a:scene3d>
          <a:sp3d prstMaterial="metal">
            <a:bevelT prst="relaxedInset"/>
          </a:sp3d>
        </p:spPr>
        <p:txBody>
          <a:bodyPr wrap="none" lIns="36000" tIns="7200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ts val="1300"/>
              </a:lnSpc>
            </a:pPr>
            <a:r>
              <a:rPr lang="en-US" sz="1300" smtClean="0"/>
              <a:t>Comm. Vehicles </a:t>
            </a:r>
            <a:br>
              <a:rPr lang="en-US" sz="1300" smtClean="0"/>
            </a:br>
            <a:r>
              <a:rPr lang="en-US" sz="1300" smtClean="0"/>
              <a:t>&amp; Aftermarket</a:t>
            </a:r>
            <a:endParaRPr lang="en-US" sz="1300"/>
          </a:p>
        </p:txBody>
      </p:sp>
      <p:sp>
        <p:nvSpPr>
          <p:cNvPr id="81" name="Rectangle 32"/>
          <p:cNvSpPr>
            <a:spLocks noChangeArrowheads="1"/>
          </p:cNvSpPr>
          <p:nvPr/>
        </p:nvSpPr>
        <p:spPr bwMode="auto">
          <a:xfrm>
            <a:off x="395536" y="2174584"/>
            <a:ext cx="1548000" cy="360000"/>
          </a:xfrm>
          <a:prstGeom prst="rect">
            <a:avLst/>
          </a:prstGeom>
          <a:solidFill>
            <a:schemeClr val="bg1">
              <a:alpha val="60000"/>
            </a:schemeClr>
          </a:solidFill>
          <a:ln w="6350" algn="ctr">
            <a:solidFill>
              <a:schemeClr val="bg1"/>
            </a:solidFill>
            <a:miter lim="800000"/>
            <a:headEnd/>
            <a:tailEnd/>
          </a:ln>
          <a:scene3d>
            <a:camera prst="orthographicFront"/>
            <a:lightRig rig="threePt" dir="t"/>
          </a:scene3d>
          <a:sp3d prstMaterial="metal">
            <a:bevelT prst="relaxedInset"/>
          </a:sp3d>
        </p:spPr>
        <p:txBody>
          <a:bodyPr wrap="none" lIns="36000" tIns="7200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defTabSz="914400">
              <a:lnSpc>
                <a:spcPts val="1300"/>
              </a:lnSpc>
              <a:buNone/>
            </a:pPr>
            <a:r>
              <a:rPr lang="en-US" sz="1300" b="0" i="0" dirty="0" smtClean="0">
                <a:latin typeface="Arial"/>
                <a:ea typeface="+mn-ea"/>
                <a:cs typeface="+mn-cs"/>
              </a:rPr>
              <a:t>Electronic</a:t>
            </a:r>
            <a:br>
              <a:rPr lang="en-US" sz="1300" b="0" i="0" dirty="0" smtClean="0">
                <a:latin typeface="Arial"/>
                <a:ea typeface="+mn-ea"/>
                <a:cs typeface="+mn-cs"/>
              </a:rPr>
            </a:br>
            <a:r>
              <a:rPr lang="en-US" sz="1300" b="0" i="0" dirty="0" smtClean="0">
                <a:latin typeface="Arial"/>
                <a:ea typeface="+mn-ea"/>
                <a:cs typeface="+mn-cs"/>
              </a:rPr>
              <a:t>Brake Systems</a:t>
            </a:r>
            <a:endParaRPr lang="en-US" sz="1300" b="0" i="0" dirty="0">
              <a:latin typeface="Arial"/>
              <a:ea typeface="+mn-ea"/>
              <a:cs typeface="+mn-cs"/>
            </a:endParaRPr>
          </a:p>
        </p:txBody>
      </p:sp>
      <p:sp>
        <p:nvSpPr>
          <p:cNvPr id="82" name="Rectangle 32"/>
          <p:cNvSpPr>
            <a:spLocks noChangeArrowheads="1"/>
          </p:cNvSpPr>
          <p:nvPr/>
        </p:nvSpPr>
        <p:spPr bwMode="auto">
          <a:xfrm>
            <a:off x="395536" y="2585352"/>
            <a:ext cx="1548000" cy="360000"/>
          </a:xfrm>
          <a:prstGeom prst="rect">
            <a:avLst/>
          </a:prstGeom>
          <a:solidFill>
            <a:schemeClr val="bg1">
              <a:alpha val="60000"/>
            </a:schemeClr>
          </a:solidFill>
          <a:ln w="6350" algn="ctr">
            <a:solidFill>
              <a:schemeClr val="bg1"/>
            </a:solidFill>
            <a:miter lim="800000"/>
            <a:headEnd/>
            <a:tailEnd/>
          </a:ln>
          <a:scene3d>
            <a:camera prst="orthographicFront"/>
            <a:lightRig rig="threePt" dir="t"/>
          </a:scene3d>
          <a:sp3d prstMaterial="metal">
            <a:bevelT prst="relaxedInset"/>
          </a:sp3d>
        </p:spPr>
        <p:txBody>
          <a:bodyPr wrap="none" lIns="36000" tIns="7200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defTabSz="914400">
              <a:lnSpc>
                <a:spcPts val="1300"/>
              </a:lnSpc>
              <a:buNone/>
            </a:pPr>
            <a:r>
              <a:rPr lang="en-US" sz="1300" b="0" i="0" dirty="0" smtClean="0">
                <a:latin typeface="Arial"/>
                <a:ea typeface="+mn-ea"/>
                <a:cs typeface="+mn-cs"/>
              </a:rPr>
              <a:t>Hydraulic </a:t>
            </a:r>
            <a:br>
              <a:rPr lang="en-US" sz="1300" b="0" i="0" dirty="0" smtClean="0">
                <a:latin typeface="Arial"/>
                <a:ea typeface="+mn-ea"/>
                <a:cs typeface="+mn-cs"/>
              </a:rPr>
            </a:br>
            <a:r>
              <a:rPr lang="en-US" sz="1300" b="0" i="0" dirty="0" smtClean="0">
                <a:latin typeface="Arial"/>
                <a:ea typeface="+mn-ea"/>
                <a:cs typeface="+mn-cs"/>
              </a:rPr>
              <a:t>Brake Systems</a:t>
            </a:r>
            <a:endParaRPr lang="en-US" sz="1300" b="0" i="0" dirty="0">
              <a:latin typeface="Arial"/>
              <a:ea typeface="+mn-ea"/>
              <a:cs typeface="+mn-cs"/>
            </a:endParaRPr>
          </a:p>
        </p:txBody>
      </p:sp>
      <p:sp>
        <p:nvSpPr>
          <p:cNvPr id="83" name="Rectangle 32"/>
          <p:cNvSpPr>
            <a:spLocks noChangeArrowheads="1"/>
          </p:cNvSpPr>
          <p:nvPr/>
        </p:nvSpPr>
        <p:spPr bwMode="auto">
          <a:xfrm>
            <a:off x="395536" y="2993060"/>
            <a:ext cx="1548000" cy="360000"/>
          </a:xfrm>
          <a:prstGeom prst="rect">
            <a:avLst/>
          </a:prstGeom>
          <a:solidFill>
            <a:schemeClr val="bg1">
              <a:alpha val="60000"/>
            </a:schemeClr>
          </a:solidFill>
          <a:ln w="6350" algn="ctr">
            <a:solidFill>
              <a:schemeClr val="bg1"/>
            </a:solidFill>
            <a:miter lim="800000"/>
            <a:headEnd/>
            <a:tailEnd/>
          </a:ln>
          <a:scene3d>
            <a:camera prst="orthographicFront"/>
            <a:lightRig rig="threePt" dir="t"/>
          </a:scene3d>
          <a:sp3d prstMaterial="metal">
            <a:bevelT prst="relaxedInset"/>
          </a:sp3d>
        </p:spPr>
        <p:txBody>
          <a:bodyPr wrap="none" lIns="36000" tIns="7200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defTabSz="914400">
              <a:lnSpc>
                <a:spcPts val="1300"/>
              </a:lnSpc>
              <a:buNone/>
            </a:pPr>
            <a:r>
              <a:rPr lang="en-US" sz="1300" b="0" i="0" smtClean="0">
                <a:latin typeface="Arial"/>
                <a:ea typeface="+mn-ea"/>
                <a:cs typeface="+mn-cs"/>
              </a:rPr>
              <a:t>Sensorics</a:t>
            </a:r>
            <a:endParaRPr lang="en-US" sz="1300" b="0" i="0">
              <a:latin typeface="Arial"/>
              <a:ea typeface="+mn-ea"/>
              <a:cs typeface="+mn-cs"/>
            </a:endParaRPr>
          </a:p>
        </p:txBody>
      </p:sp>
      <p:sp>
        <p:nvSpPr>
          <p:cNvPr id="84" name="Rectangle 32"/>
          <p:cNvSpPr>
            <a:spLocks noChangeArrowheads="1"/>
          </p:cNvSpPr>
          <p:nvPr/>
        </p:nvSpPr>
        <p:spPr bwMode="auto">
          <a:xfrm>
            <a:off x="395536" y="3402298"/>
            <a:ext cx="1548000" cy="766800"/>
          </a:xfrm>
          <a:prstGeom prst="rect">
            <a:avLst/>
          </a:prstGeom>
          <a:solidFill>
            <a:schemeClr val="bg1">
              <a:alpha val="60000"/>
            </a:schemeClr>
          </a:solidFill>
          <a:ln w="6350" algn="ctr">
            <a:solidFill>
              <a:schemeClr val="bg1"/>
            </a:solidFill>
            <a:miter lim="800000"/>
            <a:headEnd/>
            <a:tailEnd/>
          </a:ln>
          <a:scene3d>
            <a:camera prst="orthographicFront"/>
            <a:lightRig rig="threePt" dir="t"/>
          </a:scene3d>
          <a:sp3d prstMaterial="metal">
            <a:bevelT prst="relaxedInset"/>
          </a:sp3d>
        </p:spPr>
        <p:txBody>
          <a:bodyPr wrap="square" lIns="36000" tIns="72000" anchor="ctr"/>
          <a:lstStyle/>
          <a:p>
            <a:pPr>
              <a:lnSpc>
                <a:spcPts val="1300"/>
              </a:lnSpc>
            </a:pPr>
            <a:r>
              <a:rPr lang="en-US" sz="1300" dirty="0" smtClean="0"/>
              <a:t>Passive Safety &amp; Advanced Driver Assistance Systems (PSAD) </a:t>
            </a:r>
            <a:endParaRPr lang="en-US" sz="1300" dirty="0"/>
          </a:p>
        </p:txBody>
      </p:sp>
      <p:sp>
        <p:nvSpPr>
          <p:cNvPr id="85" name="Rectangle 32"/>
          <p:cNvSpPr>
            <a:spLocks noChangeArrowheads="1"/>
          </p:cNvSpPr>
          <p:nvPr/>
        </p:nvSpPr>
        <p:spPr bwMode="auto">
          <a:xfrm>
            <a:off x="395536" y="4220774"/>
            <a:ext cx="1548000" cy="360000"/>
          </a:xfrm>
          <a:prstGeom prst="rect">
            <a:avLst/>
          </a:prstGeom>
          <a:solidFill>
            <a:schemeClr val="bg1">
              <a:alpha val="60000"/>
            </a:schemeClr>
          </a:solidFill>
          <a:ln w="6350" algn="ctr">
            <a:solidFill>
              <a:schemeClr val="bg1"/>
            </a:solidFill>
            <a:miter lim="800000"/>
            <a:headEnd/>
            <a:tailEnd/>
          </a:ln>
          <a:scene3d>
            <a:camera prst="orthographicFront"/>
            <a:lightRig rig="threePt" dir="t"/>
          </a:scene3d>
          <a:sp3d prstMaterial="metal">
            <a:bevelT prst="relaxedInset"/>
          </a:sp3d>
        </p:spPr>
        <p:txBody>
          <a:bodyPr wrap="none" lIns="36000" tIns="72000" anchor="ctr"/>
          <a:lstStyle/>
          <a:p>
            <a:pPr>
              <a:lnSpc>
                <a:spcPts val="1300"/>
              </a:lnSpc>
            </a:pPr>
            <a:r>
              <a:rPr lang="de-DE" sz="1300" smtClean="0"/>
              <a:t>Chassis</a:t>
            </a:r>
            <a:br>
              <a:rPr lang="de-DE" sz="1300" smtClean="0"/>
            </a:br>
            <a:r>
              <a:rPr lang="de-DE" sz="1300" smtClean="0"/>
              <a:t>Components</a:t>
            </a:r>
            <a:endParaRPr lang="de-DE" sz="1300"/>
          </a:p>
        </p:txBody>
      </p:sp>
      <p:sp>
        <p:nvSpPr>
          <p:cNvPr id="86" name="Rectangle 32"/>
          <p:cNvSpPr>
            <a:spLocks noChangeArrowheads="1"/>
          </p:cNvSpPr>
          <p:nvPr/>
        </p:nvSpPr>
        <p:spPr bwMode="auto">
          <a:xfrm>
            <a:off x="5508104" y="2183210"/>
            <a:ext cx="1548000" cy="360000"/>
          </a:xfrm>
          <a:prstGeom prst="rect">
            <a:avLst/>
          </a:prstGeom>
          <a:solidFill>
            <a:schemeClr val="bg1">
              <a:alpha val="60000"/>
            </a:schemeClr>
          </a:solidFill>
          <a:ln w="6350" algn="ctr">
            <a:solidFill>
              <a:schemeClr val="bg1"/>
            </a:solidFill>
            <a:miter lim="800000"/>
            <a:headEnd/>
            <a:tailEnd/>
          </a:ln>
          <a:scene3d>
            <a:camera prst="orthographicFront"/>
            <a:lightRig rig="threePt" dir="t"/>
          </a:scene3d>
          <a:sp3d prstMaterial="metal">
            <a:bevelT prst="relaxedInset"/>
          </a:sp3d>
        </p:spPr>
        <p:txBody>
          <a:bodyPr wrap="none" lIns="36000" tIns="7200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ts val="1300"/>
              </a:lnSpc>
            </a:pPr>
            <a:r>
              <a:rPr lang="en-US" sz="1300" dirty="0" smtClean="0"/>
              <a:t>PLT,</a:t>
            </a:r>
          </a:p>
          <a:p>
            <a:pPr>
              <a:lnSpc>
                <a:spcPts val="1300"/>
              </a:lnSpc>
            </a:pPr>
            <a:r>
              <a:rPr lang="en-US" sz="1300" dirty="0" smtClean="0"/>
              <a:t>Original Equipment</a:t>
            </a:r>
            <a:endParaRPr lang="en-US" sz="1300" dirty="0"/>
          </a:p>
        </p:txBody>
      </p:sp>
      <p:sp>
        <p:nvSpPr>
          <p:cNvPr id="87" name="Rectangle 32"/>
          <p:cNvSpPr>
            <a:spLocks noChangeArrowheads="1"/>
          </p:cNvSpPr>
          <p:nvPr/>
        </p:nvSpPr>
        <p:spPr bwMode="auto">
          <a:xfrm>
            <a:off x="5508104" y="2593978"/>
            <a:ext cx="1548000" cy="360000"/>
          </a:xfrm>
          <a:prstGeom prst="rect">
            <a:avLst/>
          </a:prstGeom>
          <a:solidFill>
            <a:schemeClr val="bg1">
              <a:alpha val="60000"/>
            </a:schemeClr>
          </a:solidFill>
          <a:ln w="6350" algn="ctr">
            <a:solidFill>
              <a:schemeClr val="bg1"/>
            </a:solidFill>
            <a:miter lim="800000"/>
            <a:headEnd/>
            <a:tailEnd/>
          </a:ln>
          <a:scene3d>
            <a:camera prst="orthographicFront"/>
            <a:lightRig rig="threePt" dir="t"/>
          </a:scene3d>
          <a:sp3d prstMaterial="metal">
            <a:bevelT prst="relaxedInset"/>
          </a:sp3d>
        </p:spPr>
        <p:txBody>
          <a:bodyPr wrap="none" lIns="36000" tIns="7200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ts val="1300"/>
              </a:lnSpc>
              <a:buNone/>
            </a:pPr>
            <a:r>
              <a:rPr lang="en-US" sz="1300" dirty="0" smtClean="0"/>
              <a:t>PLT, Repl. Business,</a:t>
            </a:r>
            <a:br>
              <a:rPr lang="en-US" sz="1300" dirty="0" smtClean="0"/>
            </a:br>
            <a:r>
              <a:rPr lang="en-US" sz="1300" dirty="0" smtClean="0"/>
              <a:t>EMEA</a:t>
            </a:r>
            <a:endParaRPr lang="en-US" sz="1300" dirty="0"/>
          </a:p>
        </p:txBody>
      </p:sp>
      <p:sp>
        <p:nvSpPr>
          <p:cNvPr id="88" name="Rectangle 32"/>
          <p:cNvSpPr>
            <a:spLocks noChangeArrowheads="1"/>
          </p:cNvSpPr>
          <p:nvPr/>
        </p:nvSpPr>
        <p:spPr bwMode="auto">
          <a:xfrm>
            <a:off x="5508104" y="2993060"/>
            <a:ext cx="1548000" cy="360000"/>
          </a:xfrm>
          <a:prstGeom prst="rect">
            <a:avLst/>
          </a:prstGeom>
          <a:solidFill>
            <a:schemeClr val="bg1">
              <a:alpha val="60000"/>
            </a:schemeClr>
          </a:solidFill>
          <a:ln w="6350" algn="ctr">
            <a:solidFill>
              <a:schemeClr val="bg1"/>
            </a:solidFill>
            <a:miter lim="800000"/>
            <a:headEnd/>
            <a:tailEnd/>
          </a:ln>
          <a:scene3d>
            <a:camera prst="orthographicFront"/>
            <a:lightRig rig="threePt" dir="t"/>
          </a:scene3d>
          <a:sp3d prstMaterial="metal">
            <a:bevelT prst="relaxedInset"/>
          </a:sp3d>
        </p:spPr>
        <p:txBody>
          <a:bodyPr wrap="none" lIns="36000" tIns="7200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ts val="1300"/>
              </a:lnSpc>
            </a:pPr>
            <a:r>
              <a:rPr lang="en-US" sz="1300" dirty="0" smtClean="0"/>
              <a:t>PLT, Repl. Business,</a:t>
            </a:r>
            <a:br>
              <a:rPr lang="en-US" sz="1300" dirty="0" smtClean="0"/>
            </a:br>
            <a:r>
              <a:rPr lang="en-US" sz="1300" dirty="0" smtClean="0"/>
              <a:t>The Americas</a:t>
            </a:r>
            <a:endParaRPr lang="en-US" sz="1300" dirty="0"/>
          </a:p>
        </p:txBody>
      </p:sp>
      <p:sp>
        <p:nvSpPr>
          <p:cNvPr id="90" name="Rectangle 32"/>
          <p:cNvSpPr>
            <a:spLocks noChangeArrowheads="1"/>
          </p:cNvSpPr>
          <p:nvPr/>
        </p:nvSpPr>
        <p:spPr bwMode="auto">
          <a:xfrm>
            <a:off x="5508104" y="3402298"/>
            <a:ext cx="1548000" cy="360000"/>
          </a:xfrm>
          <a:prstGeom prst="rect">
            <a:avLst/>
          </a:prstGeom>
          <a:solidFill>
            <a:schemeClr val="bg1">
              <a:alpha val="60000"/>
            </a:schemeClr>
          </a:solidFill>
          <a:ln w="6350" algn="ctr">
            <a:solidFill>
              <a:schemeClr val="bg1"/>
            </a:solidFill>
            <a:miter lim="800000"/>
            <a:headEnd/>
            <a:tailEnd/>
          </a:ln>
          <a:scene3d>
            <a:camera prst="orthographicFront"/>
            <a:lightRig rig="threePt" dir="t"/>
          </a:scene3d>
          <a:sp3d prstMaterial="metal">
            <a:bevelT prst="relaxedInset"/>
          </a:sp3d>
        </p:spPr>
        <p:txBody>
          <a:bodyPr wrap="none" lIns="36000" tIns="7200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ts val="1300"/>
              </a:lnSpc>
            </a:pPr>
            <a:r>
              <a:rPr lang="en-US" sz="1300" dirty="0" smtClean="0"/>
              <a:t>PLT, Repl. Business,</a:t>
            </a:r>
            <a:br>
              <a:rPr lang="en-US" sz="1300" dirty="0" smtClean="0"/>
            </a:br>
            <a:r>
              <a:rPr lang="en-US" sz="1300" dirty="0" smtClean="0"/>
              <a:t>Asia Pacific</a:t>
            </a:r>
            <a:endParaRPr lang="en-US" sz="1300" dirty="0"/>
          </a:p>
        </p:txBody>
      </p:sp>
      <p:sp>
        <p:nvSpPr>
          <p:cNvPr id="93" name="Rectangle 32"/>
          <p:cNvSpPr>
            <a:spLocks noChangeArrowheads="1"/>
          </p:cNvSpPr>
          <p:nvPr/>
        </p:nvSpPr>
        <p:spPr bwMode="auto">
          <a:xfrm>
            <a:off x="5508104" y="3811536"/>
            <a:ext cx="1548000" cy="360000"/>
          </a:xfrm>
          <a:prstGeom prst="rect">
            <a:avLst/>
          </a:prstGeom>
          <a:solidFill>
            <a:schemeClr val="bg1">
              <a:alpha val="60000"/>
            </a:schemeClr>
          </a:solidFill>
          <a:ln w="6350" algn="ctr">
            <a:solidFill>
              <a:schemeClr val="bg1"/>
            </a:solidFill>
            <a:miter lim="800000"/>
            <a:headEnd/>
            <a:tailEnd/>
          </a:ln>
          <a:scene3d>
            <a:camera prst="orthographicFront"/>
            <a:lightRig rig="threePt" dir="t"/>
          </a:scene3d>
          <a:sp3d prstMaterial="metal">
            <a:bevelT prst="relaxedInset"/>
          </a:sp3d>
        </p:spPr>
        <p:txBody>
          <a:bodyPr wrap="none" lIns="36000" tIns="7200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ts val="1300"/>
              </a:lnSpc>
              <a:buNone/>
            </a:pPr>
            <a:r>
              <a:rPr lang="en-US" sz="1300" dirty="0" smtClean="0"/>
              <a:t>Commercial </a:t>
            </a:r>
            <a:br>
              <a:rPr lang="en-US" sz="1300" dirty="0" smtClean="0"/>
            </a:br>
            <a:r>
              <a:rPr lang="en-US" sz="1300" dirty="0" smtClean="0"/>
              <a:t>Vehicle Tires</a:t>
            </a:r>
            <a:endParaRPr lang="en-US" sz="1300" dirty="0"/>
          </a:p>
        </p:txBody>
      </p:sp>
      <p:sp>
        <p:nvSpPr>
          <p:cNvPr id="141" name="Rectangle 32"/>
          <p:cNvSpPr>
            <a:spLocks noChangeArrowheads="1"/>
          </p:cNvSpPr>
          <p:nvPr/>
        </p:nvSpPr>
        <p:spPr bwMode="auto">
          <a:xfrm>
            <a:off x="5508104" y="4220774"/>
            <a:ext cx="1548000" cy="360000"/>
          </a:xfrm>
          <a:prstGeom prst="rect">
            <a:avLst/>
          </a:prstGeom>
          <a:solidFill>
            <a:schemeClr val="bg1">
              <a:alpha val="60000"/>
            </a:schemeClr>
          </a:solidFill>
          <a:ln w="6350" algn="ctr">
            <a:solidFill>
              <a:schemeClr val="bg1"/>
            </a:solidFill>
            <a:miter lim="800000"/>
            <a:headEnd/>
            <a:tailEnd/>
          </a:ln>
          <a:scene3d>
            <a:camera prst="orthographicFront"/>
            <a:lightRig rig="threePt" dir="t"/>
          </a:scene3d>
          <a:sp3d prstMaterial="metal">
            <a:bevelT prst="relaxedInset"/>
          </a:sp3d>
        </p:spPr>
        <p:txBody>
          <a:bodyPr wrap="none" lIns="36000" tIns="7200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ts val="1300"/>
              </a:lnSpc>
            </a:pPr>
            <a:r>
              <a:rPr lang="en-US" sz="1300" dirty="0" smtClean="0"/>
              <a:t>Two Wheel Tires</a:t>
            </a:r>
            <a:endParaRPr lang="en-US" sz="1300" dirty="0"/>
          </a:p>
        </p:txBody>
      </p:sp>
      <p:sp>
        <p:nvSpPr>
          <p:cNvPr id="142" name="Rectangle 32"/>
          <p:cNvSpPr>
            <a:spLocks noChangeArrowheads="1"/>
          </p:cNvSpPr>
          <p:nvPr/>
        </p:nvSpPr>
        <p:spPr bwMode="auto">
          <a:xfrm>
            <a:off x="7164288" y="2174584"/>
            <a:ext cx="1548000" cy="360000"/>
          </a:xfrm>
          <a:prstGeom prst="rect">
            <a:avLst/>
          </a:prstGeom>
          <a:solidFill>
            <a:schemeClr val="bg1">
              <a:alpha val="60000"/>
            </a:schemeClr>
          </a:solidFill>
          <a:ln w="6350" algn="ctr">
            <a:solidFill>
              <a:schemeClr val="bg1"/>
            </a:solidFill>
            <a:miter lim="800000"/>
            <a:headEnd/>
            <a:tailEnd/>
          </a:ln>
          <a:scene3d>
            <a:camera prst="orthographicFront"/>
            <a:lightRig rig="threePt" dir="t"/>
          </a:scene3d>
          <a:sp3d prstMaterial="metal">
            <a:bevelT prst="relaxedInset"/>
          </a:sp3d>
        </p:spPr>
        <p:txBody>
          <a:bodyPr wrap="none" lIns="36000" tIns="7200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ts val="1300"/>
              </a:lnSpc>
              <a:buNone/>
            </a:pPr>
            <a:r>
              <a:rPr lang="en-US" sz="1300" dirty="0" smtClean="0"/>
              <a:t>Air Spring Systems</a:t>
            </a:r>
            <a:endParaRPr lang="en-US" sz="1300" dirty="0"/>
          </a:p>
        </p:txBody>
      </p:sp>
      <p:sp>
        <p:nvSpPr>
          <p:cNvPr id="143" name="Rectangle 32"/>
          <p:cNvSpPr>
            <a:spLocks noChangeArrowheads="1"/>
          </p:cNvSpPr>
          <p:nvPr/>
        </p:nvSpPr>
        <p:spPr bwMode="auto">
          <a:xfrm>
            <a:off x="7164288" y="2583822"/>
            <a:ext cx="1548000" cy="360000"/>
          </a:xfrm>
          <a:prstGeom prst="rect">
            <a:avLst/>
          </a:prstGeom>
          <a:solidFill>
            <a:schemeClr val="bg1">
              <a:alpha val="60000"/>
            </a:schemeClr>
          </a:solidFill>
          <a:ln w="6350" algn="ctr">
            <a:solidFill>
              <a:schemeClr val="bg1"/>
            </a:solidFill>
            <a:miter lim="800000"/>
            <a:headEnd/>
            <a:tailEnd/>
          </a:ln>
          <a:scene3d>
            <a:camera prst="orthographicFront"/>
            <a:lightRig rig="threePt" dir="t"/>
          </a:scene3d>
          <a:sp3d prstMaterial="metal">
            <a:bevelT prst="relaxedInset"/>
          </a:sp3d>
        </p:spPr>
        <p:txBody>
          <a:bodyPr wrap="none" lIns="36000" tIns="7200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ts val="1300"/>
              </a:lnSpc>
            </a:pPr>
            <a:r>
              <a:rPr lang="en-US" sz="1300" dirty="0" err="1" smtClean="0"/>
              <a:t>Benecke-Kaliko</a:t>
            </a:r>
            <a:r>
              <a:rPr lang="en-US" sz="1300" dirty="0" smtClean="0"/>
              <a:t/>
            </a:r>
            <a:br>
              <a:rPr lang="en-US" sz="1300" dirty="0" smtClean="0"/>
            </a:br>
            <a:r>
              <a:rPr lang="en-US" sz="1300" dirty="0" smtClean="0"/>
              <a:t>Group</a:t>
            </a:r>
            <a:endParaRPr lang="en-US" sz="1300" dirty="0"/>
          </a:p>
        </p:txBody>
      </p:sp>
      <p:sp>
        <p:nvSpPr>
          <p:cNvPr id="144" name="Rectangle 32"/>
          <p:cNvSpPr>
            <a:spLocks noChangeArrowheads="1"/>
          </p:cNvSpPr>
          <p:nvPr/>
        </p:nvSpPr>
        <p:spPr bwMode="auto">
          <a:xfrm>
            <a:off x="7164288" y="2993060"/>
            <a:ext cx="1548000" cy="360000"/>
          </a:xfrm>
          <a:prstGeom prst="rect">
            <a:avLst/>
          </a:prstGeom>
          <a:solidFill>
            <a:schemeClr val="bg1">
              <a:alpha val="60000"/>
            </a:schemeClr>
          </a:solidFill>
          <a:ln w="6350" algn="ctr">
            <a:solidFill>
              <a:schemeClr val="bg1"/>
            </a:solidFill>
            <a:miter lim="800000"/>
            <a:headEnd/>
            <a:tailEnd/>
          </a:ln>
          <a:scene3d>
            <a:camera prst="orthographicFront"/>
            <a:lightRig rig="threePt" dir="t"/>
          </a:scene3d>
          <a:sp3d prstMaterial="metal">
            <a:bevelT prst="relaxedInset"/>
          </a:sp3d>
        </p:spPr>
        <p:txBody>
          <a:bodyPr wrap="none" lIns="36000" tIns="7200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ts val="1300"/>
              </a:lnSpc>
              <a:buNone/>
            </a:pPr>
            <a:r>
              <a:rPr lang="en-US" sz="1300" smtClean="0"/>
              <a:t>Conveyor Belt </a:t>
            </a:r>
            <a:br>
              <a:rPr lang="en-US" sz="1300" smtClean="0"/>
            </a:br>
            <a:r>
              <a:rPr lang="en-US" sz="1300" smtClean="0"/>
              <a:t>Group</a:t>
            </a:r>
            <a:endParaRPr lang="en-US" sz="1300"/>
          </a:p>
        </p:txBody>
      </p:sp>
      <p:sp>
        <p:nvSpPr>
          <p:cNvPr id="145" name="Rectangle 32"/>
          <p:cNvSpPr>
            <a:spLocks noChangeArrowheads="1"/>
          </p:cNvSpPr>
          <p:nvPr/>
        </p:nvSpPr>
        <p:spPr bwMode="auto">
          <a:xfrm>
            <a:off x="7164288" y="3402298"/>
            <a:ext cx="1548000" cy="360000"/>
          </a:xfrm>
          <a:prstGeom prst="rect">
            <a:avLst/>
          </a:prstGeom>
          <a:solidFill>
            <a:schemeClr val="bg1">
              <a:alpha val="60000"/>
            </a:schemeClr>
          </a:solidFill>
          <a:ln w="6350" algn="ctr">
            <a:solidFill>
              <a:schemeClr val="bg1"/>
            </a:solidFill>
            <a:miter lim="800000"/>
            <a:headEnd/>
            <a:tailEnd/>
          </a:ln>
          <a:scene3d>
            <a:camera prst="orthographicFront"/>
            <a:lightRig rig="threePt" dir="t"/>
          </a:scene3d>
          <a:sp3d prstMaterial="metal">
            <a:bevelT prst="relaxedInset"/>
          </a:sp3d>
        </p:spPr>
        <p:txBody>
          <a:bodyPr wrap="none" lIns="36000" tIns="7200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ts val="1300"/>
              </a:lnSpc>
            </a:pPr>
            <a:r>
              <a:rPr lang="en-US" sz="1300" dirty="0" err="1" smtClean="0"/>
              <a:t>Elastomer</a:t>
            </a:r>
            <a:r>
              <a:rPr lang="en-US" sz="1300" dirty="0" smtClean="0"/>
              <a:t> Coatings</a:t>
            </a:r>
            <a:endParaRPr lang="en-US" sz="1300" dirty="0"/>
          </a:p>
        </p:txBody>
      </p:sp>
      <p:sp>
        <p:nvSpPr>
          <p:cNvPr id="146" name="Rectangle 32"/>
          <p:cNvSpPr>
            <a:spLocks noChangeArrowheads="1"/>
          </p:cNvSpPr>
          <p:nvPr/>
        </p:nvSpPr>
        <p:spPr bwMode="auto">
          <a:xfrm>
            <a:off x="7164288" y="3811536"/>
            <a:ext cx="1548000" cy="360000"/>
          </a:xfrm>
          <a:prstGeom prst="rect">
            <a:avLst/>
          </a:prstGeom>
          <a:solidFill>
            <a:schemeClr val="bg1">
              <a:alpha val="60000"/>
            </a:schemeClr>
          </a:solidFill>
          <a:ln w="6350" algn="ctr">
            <a:solidFill>
              <a:schemeClr val="bg1"/>
            </a:solidFill>
            <a:miter lim="800000"/>
            <a:headEnd/>
            <a:tailEnd/>
          </a:ln>
          <a:scene3d>
            <a:camera prst="orthographicFront"/>
            <a:lightRig rig="threePt" dir="t"/>
          </a:scene3d>
          <a:sp3d prstMaterial="metal">
            <a:bevelT prst="relaxedInset"/>
          </a:sp3d>
        </p:spPr>
        <p:txBody>
          <a:bodyPr wrap="none" lIns="36000" tIns="7200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ts val="1300"/>
              </a:lnSpc>
              <a:buNone/>
            </a:pPr>
            <a:r>
              <a:rPr lang="en-US" sz="1300" smtClean="0"/>
              <a:t>Fluid Technology</a:t>
            </a:r>
            <a:endParaRPr lang="en-US" sz="1300"/>
          </a:p>
        </p:txBody>
      </p:sp>
      <p:sp>
        <p:nvSpPr>
          <p:cNvPr id="147" name="Rectangle 32"/>
          <p:cNvSpPr>
            <a:spLocks noChangeArrowheads="1"/>
          </p:cNvSpPr>
          <p:nvPr/>
        </p:nvSpPr>
        <p:spPr bwMode="auto">
          <a:xfrm>
            <a:off x="7164288" y="4220774"/>
            <a:ext cx="1548000" cy="360000"/>
          </a:xfrm>
          <a:prstGeom prst="rect">
            <a:avLst/>
          </a:prstGeom>
          <a:solidFill>
            <a:schemeClr val="bg1">
              <a:alpha val="60000"/>
            </a:schemeClr>
          </a:solidFill>
          <a:ln w="6350" algn="ctr">
            <a:solidFill>
              <a:schemeClr val="bg1"/>
            </a:solidFill>
            <a:miter lim="800000"/>
            <a:headEnd/>
            <a:tailEnd/>
          </a:ln>
          <a:scene3d>
            <a:camera prst="orthographicFront"/>
            <a:lightRig rig="threePt" dir="t"/>
          </a:scene3d>
          <a:sp3d prstMaterial="metal">
            <a:bevelT prst="relaxedInset"/>
          </a:sp3d>
        </p:spPr>
        <p:txBody>
          <a:bodyPr wrap="none" lIns="36000" tIns="7200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ts val="1300"/>
              </a:lnSpc>
            </a:pPr>
            <a:r>
              <a:rPr lang="en-US" sz="1300" dirty="0" smtClean="0"/>
              <a:t>Power Transmission</a:t>
            </a:r>
            <a:br>
              <a:rPr lang="en-US" sz="1300" dirty="0" smtClean="0"/>
            </a:br>
            <a:r>
              <a:rPr lang="en-US" sz="1300" dirty="0" smtClean="0"/>
              <a:t>Group</a:t>
            </a:r>
            <a:endParaRPr lang="en-US" sz="1300" dirty="0"/>
          </a:p>
        </p:txBody>
      </p:sp>
      <p:sp>
        <p:nvSpPr>
          <p:cNvPr id="148" name="Rectangle 32"/>
          <p:cNvSpPr>
            <a:spLocks noChangeArrowheads="1"/>
          </p:cNvSpPr>
          <p:nvPr/>
        </p:nvSpPr>
        <p:spPr bwMode="auto">
          <a:xfrm>
            <a:off x="7164288" y="4630012"/>
            <a:ext cx="1548000" cy="360000"/>
          </a:xfrm>
          <a:prstGeom prst="rect">
            <a:avLst/>
          </a:prstGeom>
          <a:solidFill>
            <a:schemeClr val="bg1">
              <a:alpha val="60000"/>
            </a:schemeClr>
          </a:solidFill>
          <a:ln w="6350" algn="ctr">
            <a:solidFill>
              <a:schemeClr val="bg1"/>
            </a:solidFill>
            <a:miter lim="800000"/>
            <a:headEnd/>
            <a:tailEnd/>
          </a:ln>
          <a:scene3d>
            <a:camera prst="orthographicFront"/>
            <a:lightRig rig="threePt" dir="t"/>
          </a:scene3d>
          <a:sp3d prstMaterial="metal">
            <a:bevelT prst="relaxedInset"/>
          </a:sp3d>
        </p:spPr>
        <p:txBody>
          <a:bodyPr wrap="none" lIns="36000" tIns="7200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ts val="1300"/>
              </a:lnSpc>
              <a:buNone/>
            </a:pPr>
            <a:r>
              <a:rPr lang="en-US" sz="1300" smtClean="0"/>
              <a:t>Vibration Control</a:t>
            </a:r>
            <a:endParaRPr lang="en-US" sz="1300"/>
          </a:p>
        </p:txBody>
      </p:sp>
      <p:sp>
        <p:nvSpPr>
          <p:cNvPr id="149" name="Rectangle 32"/>
          <p:cNvSpPr>
            <a:spLocks noChangeArrowheads="1"/>
          </p:cNvSpPr>
          <p:nvPr/>
        </p:nvSpPr>
        <p:spPr bwMode="auto">
          <a:xfrm>
            <a:off x="7164288" y="5039249"/>
            <a:ext cx="1548000" cy="360000"/>
          </a:xfrm>
          <a:prstGeom prst="rect">
            <a:avLst/>
          </a:prstGeom>
          <a:solidFill>
            <a:schemeClr val="bg1">
              <a:alpha val="60000"/>
            </a:schemeClr>
          </a:solidFill>
          <a:ln w="6350" algn="ctr">
            <a:solidFill>
              <a:schemeClr val="bg1"/>
            </a:solidFill>
            <a:miter lim="800000"/>
            <a:headEnd/>
            <a:tailEnd/>
          </a:ln>
          <a:scene3d>
            <a:camera prst="orthographicFront"/>
            <a:lightRig rig="threePt" dir="t"/>
          </a:scene3d>
          <a:sp3d prstMaterial="metal">
            <a:bevelT prst="relaxedInset"/>
          </a:sp3d>
        </p:spPr>
        <p:txBody>
          <a:bodyPr wrap="none" lIns="36000" tIns="7200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ts val="1300"/>
              </a:lnSpc>
            </a:pPr>
            <a:r>
              <a:rPr lang="en-US" sz="1300" smtClean="0"/>
              <a:t>Other Operations</a:t>
            </a:r>
            <a:endParaRPr lang="en-US" sz="1300"/>
          </a:p>
        </p:txBody>
      </p:sp>
      <p:sp>
        <p:nvSpPr>
          <p:cNvPr id="150" name="Rectangle 57"/>
          <p:cNvSpPr>
            <a:spLocks noChangeArrowheads="1"/>
          </p:cNvSpPr>
          <p:nvPr>
            <p:custDataLst>
              <p:tags r:id="rId6"/>
            </p:custDataLst>
          </p:nvPr>
        </p:nvSpPr>
        <p:spPr bwMode="auto">
          <a:xfrm>
            <a:off x="2035262" y="1412776"/>
            <a:ext cx="1620000" cy="655637"/>
          </a:xfrm>
          <a:prstGeom prst="rect">
            <a:avLst/>
          </a:prstGeom>
          <a:solidFill>
            <a:schemeClr val="accent1">
              <a:lumMod val="60000"/>
              <a:lumOff val="40000"/>
            </a:schemeClr>
          </a:solidFill>
          <a:ln w="9525" algn="ctr">
            <a:noFill/>
            <a:miter lim="800000"/>
            <a:headEnd/>
            <a:tailEnd/>
          </a:ln>
          <a:effectLst>
            <a:outerShdw blurRad="50800" dist="38100" dir="2700000" algn="tl" rotWithShape="0">
              <a:prstClr val="black">
                <a:alpha val="40000"/>
              </a:prstClr>
            </a:outerShdw>
          </a:effectLst>
          <a:scene3d>
            <a:camera prst="orthographicFront"/>
            <a:lightRig rig="threePt" dir="t"/>
          </a:scene3d>
          <a:sp3d extrusionH="76200">
            <a:bevelT w="165100" prst="coolSlant"/>
            <a:extrusionClr>
              <a:schemeClr val="bg1"/>
            </a:extrusionClr>
          </a:sp3d>
        </p:spPr>
        <p:txBody>
          <a:bodyPr lIns="0" tIns="0" rIns="0" bIns="0" anchor="ctr" anchorCtr="1"/>
          <a:lstStyle/>
          <a:p>
            <a:pPr defTabSz="873125"/>
            <a:r>
              <a:rPr lang="en-US" sz="1300" b="1"/>
              <a:t>Powertrain</a:t>
            </a:r>
          </a:p>
        </p:txBody>
      </p:sp>
      <p:sp>
        <p:nvSpPr>
          <p:cNvPr id="151" name="Rectangle 56"/>
          <p:cNvSpPr>
            <a:spLocks noChangeArrowheads="1"/>
          </p:cNvSpPr>
          <p:nvPr>
            <p:custDataLst>
              <p:tags r:id="rId7"/>
            </p:custDataLst>
          </p:nvPr>
        </p:nvSpPr>
        <p:spPr bwMode="auto">
          <a:xfrm>
            <a:off x="3727075" y="1412776"/>
            <a:ext cx="1620000" cy="655637"/>
          </a:xfrm>
          <a:prstGeom prst="rect">
            <a:avLst/>
          </a:prstGeom>
          <a:solidFill>
            <a:schemeClr val="accent1"/>
          </a:solidFill>
          <a:ln w="9525" algn="ctr">
            <a:noFill/>
            <a:miter lim="800000"/>
            <a:headEnd/>
            <a:tailEnd/>
          </a:ln>
          <a:effectLst>
            <a:outerShdw blurRad="50800" dist="38100" dir="2700000" algn="tl" rotWithShape="0">
              <a:prstClr val="black">
                <a:alpha val="40000"/>
              </a:prstClr>
            </a:outerShdw>
          </a:effectLst>
        </p:spPr>
        <p:txBody>
          <a:bodyPr lIns="0" tIns="0" rIns="0" bIns="0" anchor="ctr" anchorCtr="1"/>
          <a:lstStyle/>
          <a:p>
            <a:pPr defTabSz="873125"/>
            <a:r>
              <a:rPr lang="en-US" sz="1300" b="1" dirty="0" smtClean="0"/>
              <a:t>Interior</a:t>
            </a:r>
            <a:endParaRPr lang="en-US" sz="1200" b="1" dirty="0"/>
          </a:p>
        </p:txBody>
      </p:sp>
      <p:sp>
        <p:nvSpPr>
          <p:cNvPr id="152" name="Rectangle 58"/>
          <p:cNvSpPr>
            <a:spLocks noChangeArrowheads="1"/>
          </p:cNvSpPr>
          <p:nvPr>
            <p:custDataLst>
              <p:tags r:id="rId8"/>
            </p:custDataLst>
          </p:nvPr>
        </p:nvSpPr>
        <p:spPr bwMode="auto">
          <a:xfrm>
            <a:off x="359712" y="1412776"/>
            <a:ext cx="1620000" cy="652462"/>
          </a:xfrm>
          <a:prstGeom prst="rect">
            <a:avLst/>
          </a:prstGeom>
          <a:solidFill>
            <a:schemeClr val="accent1"/>
          </a:solidFill>
          <a:ln w="9525" algn="ctr">
            <a:noFill/>
            <a:miter lim="800000"/>
            <a:headEnd/>
            <a:tailEnd/>
          </a:ln>
          <a:effectLst>
            <a:outerShdw blurRad="50800" dist="38100" dir="2700000" algn="tl" rotWithShape="0">
              <a:prstClr val="black">
                <a:alpha val="40000"/>
              </a:prstClr>
            </a:outerShdw>
          </a:effectLst>
        </p:spPr>
        <p:txBody>
          <a:bodyPr lIns="0" tIns="0" rIns="0" bIns="0" anchor="ctr" anchorCtr="1"/>
          <a:lstStyle/>
          <a:p>
            <a:pPr defTabSz="873125"/>
            <a:r>
              <a:rPr lang="en-US" sz="1300" b="1" dirty="0" smtClean="0"/>
              <a:t>Chassis &amp; Safety</a:t>
            </a:r>
            <a:endParaRPr lang="en-US" sz="1200" b="1" dirty="0" smtClean="0"/>
          </a:p>
        </p:txBody>
      </p:sp>
      <p:sp>
        <p:nvSpPr>
          <p:cNvPr id="153" name="Rectangle 53"/>
          <p:cNvSpPr>
            <a:spLocks noChangeArrowheads="1"/>
          </p:cNvSpPr>
          <p:nvPr>
            <p:custDataLst>
              <p:tags r:id="rId9"/>
            </p:custDataLst>
          </p:nvPr>
        </p:nvSpPr>
        <p:spPr bwMode="auto">
          <a:xfrm>
            <a:off x="5480028" y="1412776"/>
            <a:ext cx="1620000" cy="652463"/>
          </a:xfrm>
          <a:prstGeom prst="rect">
            <a:avLst/>
          </a:prstGeom>
          <a:solidFill>
            <a:schemeClr val="accent1"/>
          </a:solidFill>
          <a:ln w="9525" algn="ctr">
            <a:noFill/>
            <a:miter lim="800000"/>
            <a:headEnd/>
            <a:tailEnd/>
          </a:ln>
          <a:effectLst>
            <a:outerShdw blurRad="50800" dist="38100" dir="2700000" algn="tl" rotWithShape="0">
              <a:prstClr val="black">
                <a:alpha val="40000"/>
              </a:prstClr>
            </a:outerShdw>
          </a:effectLst>
        </p:spPr>
        <p:txBody>
          <a:bodyPr lIns="0" tIns="0" rIns="0" bIns="0" anchor="ctr" anchorCtr="1"/>
          <a:lstStyle/>
          <a:p>
            <a:pPr defTabSz="873125">
              <a:spcBef>
                <a:spcPct val="50000"/>
              </a:spcBef>
            </a:pPr>
            <a:r>
              <a:rPr lang="en-US" sz="1300" b="1" dirty="0" smtClean="0"/>
              <a:t>Tires</a:t>
            </a:r>
            <a:endParaRPr lang="en-US" sz="1300" b="1" dirty="0"/>
          </a:p>
        </p:txBody>
      </p:sp>
      <p:sp>
        <p:nvSpPr>
          <p:cNvPr id="154" name="Rectangle 54"/>
          <p:cNvSpPr>
            <a:spLocks noChangeArrowheads="1"/>
          </p:cNvSpPr>
          <p:nvPr>
            <p:custDataLst>
              <p:tags r:id="rId10"/>
            </p:custDataLst>
          </p:nvPr>
        </p:nvSpPr>
        <p:spPr bwMode="auto">
          <a:xfrm>
            <a:off x="7148790" y="1412776"/>
            <a:ext cx="1620000" cy="652463"/>
          </a:xfrm>
          <a:prstGeom prst="rect">
            <a:avLst/>
          </a:prstGeom>
          <a:solidFill>
            <a:schemeClr val="accent1"/>
          </a:solidFill>
          <a:ln w="9525" algn="ctr">
            <a:noFill/>
            <a:miter lim="800000"/>
            <a:headEnd/>
            <a:tailEnd/>
          </a:ln>
          <a:effectLst>
            <a:outerShdw blurRad="50800" dist="38100" dir="2700000" algn="tl" rotWithShape="0">
              <a:prstClr val="black">
                <a:alpha val="40000"/>
              </a:prstClr>
            </a:outerShdw>
          </a:effectLst>
        </p:spPr>
        <p:txBody>
          <a:bodyPr lIns="0" tIns="0" rIns="0" bIns="0" anchor="ctr" anchorCtr="1"/>
          <a:lstStyle/>
          <a:p>
            <a:pPr algn="ctr" defTabSz="873125">
              <a:spcBef>
                <a:spcPct val="50000"/>
              </a:spcBef>
            </a:pPr>
            <a:r>
              <a:rPr lang="en-US" sz="1300" b="1" dirty="0" smtClean="0"/>
              <a:t>ContiTech</a:t>
            </a:r>
            <a:endParaRPr lang="en-US" sz="1300" b="1" dirty="0"/>
          </a:p>
        </p:txBody>
      </p:sp>
      <p:sp>
        <p:nvSpPr>
          <p:cNvPr id="155" name="Text Box 5"/>
          <p:cNvSpPr txBox="1">
            <a:spLocks noChangeArrowheads="1"/>
          </p:cNvSpPr>
          <p:nvPr>
            <p:custDataLst>
              <p:tags r:id="rId11"/>
            </p:custDataLst>
          </p:nvPr>
        </p:nvSpPr>
        <p:spPr bwMode="auto">
          <a:xfrm>
            <a:off x="4355977" y="5752306"/>
            <a:ext cx="4464174" cy="138499"/>
          </a:xfrm>
          <a:prstGeom prst="rect">
            <a:avLst/>
          </a:prstGeom>
          <a:noFill/>
          <a:ln w="9525" algn="ctr">
            <a:noFill/>
            <a:miter lim="800000"/>
            <a:headEnd/>
            <a:tailEnd/>
          </a:ln>
        </p:spPr>
        <p:txBody>
          <a:bodyPr wrap="square" lIns="0" tIns="0" rIns="0" bIns="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56032" indent="-256032" algn="r" defTabSz="877824">
              <a:buNone/>
            </a:pPr>
            <a:r>
              <a:rPr lang="en-US" sz="900" b="0" i="0" dirty="0" smtClean="0">
                <a:solidFill>
                  <a:srgbClr val="000000"/>
                </a:solidFill>
                <a:latin typeface="Arial"/>
                <a:ea typeface="+mn-ea"/>
                <a:cs typeface="+mn-cs"/>
              </a:rPr>
              <a:t>Status: </a:t>
            </a:r>
            <a:r>
              <a:rPr lang="en-US" sz="900" dirty="0" smtClean="0">
                <a:solidFill>
                  <a:srgbClr val="000000"/>
                </a:solidFill>
              </a:rPr>
              <a:t> August </a:t>
            </a:r>
            <a:r>
              <a:rPr lang="en-US" sz="900" b="0" i="0" dirty="0" smtClean="0">
                <a:solidFill>
                  <a:srgbClr val="000000"/>
                </a:solidFill>
                <a:latin typeface="Arial"/>
                <a:ea typeface="+mn-ea"/>
                <a:cs typeface="+mn-cs"/>
              </a:rPr>
              <a:t>1, 2011</a:t>
            </a:r>
            <a:endParaRPr lang="en-US" sz="900" b="0" i="0" dirty="0">
              <a:solidFill>
                <a:srgbClr val="000000"/>
              </a:solidFill>
              <a:latin typeface="Arial"/>
              <a:ea typeface="+mn-ea"/>
              <a:cs typeface="+mn-cs"/>
            </a:endParaRPr>
          </a:p>
        </p:txBody>
      </p:sp>
      <p:sp>
        <p:nvSpPr>
          <p:cNvPr id="156" name="Text Box 5"/>
          <p:cNvSpPr txBox="1">
            <a:spLocks noChangeArrowheads="1"/>
          </p:cNvSpPr>
          <p:nvPr>
            <p:custDataLst>
              <p:tags r:id="rId12"/>
            </p:custDataLst>
          </p:nvPr>
        </p:nvSpPr>
        <p:spPr bwMode="auto">
          <a:xfrm>
            <a:off x="327528" y="5752306"/>
            <a:ext cx="4464174" cy="138499"/>
          </a:xfrm>
          <a:prstGeom prst="rect">
            <a:avLst/>
          </a:prstGeom>
          <a:noFill/>
          <a:ln w="9525" algn="ctr">
            <a:noFill/>
            <a:miter lim="800000"/>
            <a:headEnd/>
            <a:tailEnd/>
          </a:ln>
        </p:spPr>
        <p:txBody>
          <a:bodyPr wrap="square" lIns="0" tIns="0" rIns="0" bIns="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56032" indent="-256032" defTabSz="877824">
              <a:buNone/>
            </a:pPr>
            <a:r>
              <a:rPr lang="en-US" sz="900" dirty="0" smtClean="0">
                <a:solidFill>
                  <a:srgbClr val="000000"/>
                </a:solidFill>
                <a:latin typeface="Arial"/>
              </a:rPr>
              <a:t>PLT – Passenger and Light Truck Tires</a:t>
            </a:r>
            <a:endParaRPr lang="en-US" sz="900" b="0" i="0" dirty="0">
              <a:solidFill>
                <a:srgbClr val="000000"/>
              </a:solidFill>
              <a:latin typeface="Arial"/>
              <a:ea typeface="+mn-ea"/>
              <a:cs typeface="+mn-cs"/>
            </a:endParaRPr>
          </a:p>
        </p:txBody>
      </p:sp>
    </p:spTree>
  </p:cSld>
  <p:clrMapOvr>
    <a:masterClrMapping/>
  </p:clrMapOvr>
  <p:transition advTm="61109">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endParaRPr lang="fr-FR"/>
          </a:p>
        </p:txBody>
      </p:sp>
      <p:sp>
        <p:nvSpPr>
          <p:cNvPr id="3" name="Espace réservé de la date 2"/>
          <p:cNvSpPr>
            <a:spLocks noGrp="1"/>
          </p:cNvSpPr>
          <p:nvPr>
            <p:ph type="dt" sz="half" idx="10"/>
          </p:nvPr>
        </p:nvSpPr>
        <p:spPr/>
        <p:txBody>
          <a:bodyPr/>
          <a:lstStyle/>
          <a:p>
            <a:fld id="{FD8247E9-E3F0-483B-8226-32A7393E3B81}" type="datetime5">
              <a:rPr lang="de-DE" smtClean="0"/>
              <a:pPr/>
              <a:t>12-05-18</a:t>
            </a:fld>
            <a:endParaRPr lang="de-DE" dirty="0"/>
          </a:p>
        </p:txBody>
      </p:sp>
      <p:sp>
        <p:nvSpPr>
          <p:cNvPr id="4" name="Espace réservé du numéro de diapositive 3"/>
          <p:cNvSpPr>
            <a:spLocks noGrp="1"/>
          </p:cNvSpPr>
          <p:nvPr>
            <p:ph type="sldNum" sz="quarter" idx="11"/>
          </p:nvPr>
        </p:nvSpPr>
        <p:spPr/>
        <p:txBody>
          <a:bodyPr/>
          <a:lstStyle/>
          <a:p>
            <a:fld id="{ADA48181-2C78-49CB-8C52-912A07842C2E}" type="slidenum">
              <a:rPr lang="de-DE" smtClean="0"/>
              <a:pPr/>
              <a:t>8</a:t>
            </a:fld>
            <a:endParaRPr lang="de-DE" dirty="0"/>
          </a:p>
        </p:txBody>
      </p:sp>
      <p:sp>
        <p:nvSpPr>
          <p:cNvPr id="5" name="Espace réservé du pied de page 4"/>
          <p:cNvSpPr>
            <a:spLocks noGrp="1"/>
          </p:cNvSpPr>
          <p:nvPr>
            <p:ph type="ftr" sz="quarter" idx="12"/>
          </p:nvPr>
        </p:nvSpPr>
        <p:spPr/>
        <p:txBody>
          <a:bodyPr/>
          <a:lstStyle/>
          <a:p>
            <a:r>
              <a:rPr lang="de-DE" smtClean="0"/>
              <a:t>© Continental AG</a:t>
            </a:r>
            <a:endParaRPr lang="de-DE" dirty="0"/>
          </a:p>
        </p:txBody>
      </p:sp>
      <p:pic>
        <p:nvPicPr>
          <p:cNvPr id="24578" name="Picture 2" descr="J:\Guest\CUETO\pt-labcar.jpg"/>
          <p:cNvPicPr>
            <a:picLocks noChangeAspect="1" noChangeArrowheads="1"/>
          </p:cNvPicPr>
          <p:nvPr/>
        </p:nvPicPr>
        <p:blipFill>
          <a:blip r:embed="rId2"/>
          <a:srcRect/>
          <a:stretch>
            <a:fillRect/>
          </a:stretch>
        </p:blipFill>
        <p:spPr bwMode="auto">
          <a:xfrm>
            <a:off x="208458" y="980728"/>
            <a:ext cx="5227638" cy="4711700"/>
          </a:xfrm>
          <a:prstGeom prst="rect">
            <a:avLst/>
          </a:prstGeom>
          <a:noFill/>
        </p:spPr>
      </p:pic>
      <p:pic>
        <p:nvPicPr>
          <p:cNvPr id="24579" name="Picture 3" descr="J:\Guest\CUETO\MidSize-Simulator_klein_DP_refl_300dpi_99x100mm_RGB_090202.jpg"/>
          <p:cNvPicPr>
            <a:picLocks noChangeAspect="1" noChangeArrowheads="1"/>
          </p:cNvPicPr>
          <p:nvPr/>
        </p:nvPicPr>
        <p:blipFill>
          <a:blip r:embed="rId3"/>
          <a:srcRect/>
          <a:stretch>
            <a:fillRect/>
          </a:stretch>
        </p:blipFill>
        <p:spPr bwMode="auto">
          <a:xfrm>
            <a:off x="5292080" y="1340768"/>
            <a:ext cx="3568700" cy="3600450"/>
          </a:xfrm>
          <a:prstGeom prst="rect">
            <a:avLst/>
          </a:prstGeom>
          <a:noFill/>
        </p:spPr>
      </p:pic>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Grafik 10" descr="Overall-RGB_Small.jpg"/>
          <p:cNvPicPr>
            <a:picLocks noChangeAspect="1"/>
          </p:cNvPicPr>
          <p:nvPr/>
        </p:nvPicPr>
        <p:blipFill>
          <a:blip r:embed="rId3"/>
          <a:srcRect t="26563"/>
          <a:stretch>
            <a:fillRect/>
          </a:stretch>
        </p:blipFill>
        <p:spPr>
          <a:xfrm>
            <a:off x="0" y="0"/>
            <a:ext cx="9144000" cy="3789363"/>
          </a:xfrm>
          <a:prstGeom prst="rect">
            <a:avLst/>
          </a:prstGeom>
        </p:spPr>
      </p:pic>
      <p:sp>
        <p:nvSpPr>
          <p:cNvPr id="16" name="Rechteck 15"/>
          <p:cNvSpPr/>
          <p:nvPr/>
        </p:nvSpPr>
        <p:spPr>
          <a:xfrm>
            <a:off x="0" y="5876925"/>
            <a:ext cx="9144000" cy="981075"/>
          </a:xfrm>
          <a:prstGeom prst="rect">
            <a:avLst/>
          </a:prstGeom>
          <a:solidFill>
            <a:schemeClr val="tx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20" name="Picture 2" descr="I:\ContiTech\Bildarchiv\CT_Logos_Claims_Fonts\0_CT_logo_vorlagen\01_logos_continental\continental_ppt.png"/>
          <p:cNvPicPr>
            <a:picLocks noChangeAspect="1" noChangeArrowheads="1"/>
          </p:cNvPicPr>
          <p:nvPr/>
        </p:nvPicPr>
        <p:blipFill>
          <a:blip r:embed="rId4"/>
          <a:stretch>
            <a:fillRect/>
          </a:stretch>
        </p:blipFill>
        <p:spPr bwMode="auto">
          <a:xfrm>
            <a:off x="6631459" y="6202441"/>
            <a:ext cx="2196642" cy="377201"/>
          </a:xfrm>
          <a:prstGeom prst="rect">
            <a:avLst/>
          </a:prstGeom>
          <a:noFill/>
        </p:spPr>
      </p:pic>
      <p:sp>
        <p:nvSpPr>
          <p:cNvPr id="17" name="Titel 16"/>
          <p:cNvSpPr>
            <a:spLocks noGrp="1"/>
          </p:cNvSpPr>
          <p:nvPr>
            <p:ph type="ctrTitle"/>
          </p:nvPr>
        </p:nvSpPr>
        <p:spPr>
          <a:xfrm>
            <a:off x="323850" y="3789040"/>
            <a:ext cx="8512175" cy="1224136"/>
          </a:xfrm>
        </p:spPr>
        <p:txBody>
          <a:bodyPr/>
          <a:lstStyle/>
          <a:p>
            <a:r>
              <a:rPr lang="en-US" dirty="0" smtClean="0">
                <a:solidFill>
                  <a:srgbClr val="000000"/>
                </a:solidFill>
                <a:latin typeface="Arial"/>
                <a:cs typeface="Arial"/>
              </a:rPr>
              <a:t>3. </a:t>
            </a:r>
            <a:r>
              <a:rPr lang="fr-FR" dirty="0" smtClean="0">
                <a:solidFill>
                  <a:srgbClr val="000000"/>
                </a:solidFill>
                <a:cs typeface="Arial"/>
              </a:rPr>
              <a:t>Le Rôle du Système d’Information</a:t>
            </a:r>
            <a:endParaRPr lang="de-DE" dirty="0"/>
          </a:p>
        </p:txBody>
      </p:sp>
    </p:spTree>
  </p:cSld>
  <p:clrMapOvr>
    <a:masterClrMapping/>
  </p:clrMapOvr>
  <p:transition advTm="11578">
    <p:wipe dir="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AwYn07001ku84Xo.mXu4h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NPeGcQd2keoQslRkBfte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NPeGcQd2keoQslRkBfteA"/>
</p:tagLst>
</file>

<file path=ppt/tags/tag12.xml><?xml version="1.0" encoding="utf-8"?>
<p:tagLst xmlns:a="http://schemas.openxmlformats.org/drawingml/2006/main" xmlns:r="http://schemas.openxmlformats.org/officeDocument/2006/relationships" xmlns:p="http://schemas.openxmlformats.org/presentationml/2006/main">
  <p:tag name="TIMING" val="|49.7"/>
</p:tagLst>
</file>

<file path=ppt/tags/tag13.xml><?xml version="1.0" encoding="utf-8"?>
<p:tagLst xmlns:a="http://schemas.openxmlformats.org/drawingml/2006/main" xmlns:r="http://schemas.openxmlformats.org/officeDocument/2006/relationships" xmlns:p="http://schemas.openxmlformats.org/presentationml/2006/main">
  <p:tag name="TIMING" val="|49.7"/>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vnxuaMc1b0yY5_1lHYyYO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wnuHzOlr0ihTm5buiaWf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CSjrr5wSkW1aWF3HRGnf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p.Xj8DjG7ECJw0zyjVQ5u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PT99Aweh0UaEGxmk9ct1q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RqOWQI8D9UyypzOsxLMDt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hOcZllcmm0ubk3JsOEdpU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DqMG.ZX8XUqHL83AVdTgMw"/>
</p:tagLst>
</file>

<file path=ppt/theme/theme1.xml><?xml version="1.0" encoding="utf-8"?>
<a:theme xmlns:a="http://schemas.openxmlformats.org/drawingml/2006/main" name="11-02-18_Continental-Template-2007_4x3">
  <a:themeElements>
    <a:clrScheme name="Continental AG - NEW">
      <a:dk1>
        <a:srgbClr val="000000"/>
      </a:dk1>
      <a:lt1>
        <a:srgbClr val="FFFFFF"/>
      </a:lt1>
      <a:dk2>
        <a:srgbClr val="FFFFFF"/>
      </a:dk2>
      <a:lt2>
        <a:srgbClr val="EBEBEB"/>
      </a:lt2>
      <a:accent1>
        <a:srgbClr val="FF9900"/>
      </a:accent1>
      <a:accent2>
        <a:srgbClr val="BF7300"/>
      </a:accent2>
      <a:accent3>
        <a:srgbClr val="E28700"/>
      </a:accent3>
      <a:accent4>
        <a:srgbClr val="FFC266"/>
      </a:accent4>
      <a:accent5>
        <a:srgbClr val="5F5F5F"/>
      </a:accent5>
      <a:accent6>
        <a:srgbClr val="262626"/>
      </a:accent6>
      <a:hlink>
        <a:srgbClr val="FF9900"/>
      </a:hlink>
      <a:folHlink>
        <a:srgbClr val="777777"/>
      </a:folHlink>
    </a:clrScheme>
    <a:fontScheme name="Continental AG">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tx1"/>
          </a:solidFill>
        </a:ln>
      </a:spPr>
      <a:bodyPr rtlCol="0" anchor="ctr"/>
      <a:lstStyle>
        <a:defPPr algn="ctr">
          <a:defRPr sz="1600" dirty="0" smtClean="0"/>
        </a:defPPr>
      </a:lstStyle>
      <a:style>
        <a:lnRef idx="1">
          <a:schemeClr val="accent1"/>
        </a:lnRef>
        <a:fillRef idx="0">
          <a:schemeClr val="accent1"/>
        </a:fillRef>
        <a:effectRef idx="0">
          <a:schemeClr val="accent1"/>
        </a:effectRef>
        <a:fontRef idx="minor">
          <a:schemeClr val="tx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ontinental Screen">
        <a:dk1>
          <a:srgbClr val="000000"/>
        </a:dk1>
        <a:lt1>
          <a:srgbClr val="FFFFFF"/>
        </a:lt1>
        <a:dk2>
          <a:srgbClr val="FFFFFF"/>
        </a:dk2>
        <a:lt2>
          <a:srgbClr val="EBEBEB"/>
        </a:lt2>
        <a:accent1>
          <a:srgbClr val="FF9900"/>
        </a:accent1>
        <a:accent2>
          <a:srgbClr val="BF7300"/>
        </a:accent2>
        <a:accent3>
          <a:srgbClr val="E28700"/>
        </a:accent3>
        <a:accent4>
          <a:srgbClr val="FFC266"/>
        </a:accent4>
        <a:accent5>
          <a:srgbClr val="5F5F5F"/>
        </a:accent5>
        <a:accent6>
          <a:srgbClr val="262626"/>
        </a:accent6>
        <a:hlink>
          <a:srgbClr val="FF9900"/>
        </a:hlink>
        <a:folHlink>
          <a:srgbClr val="777777"/>
        </a:folHlink>
      </a:clrScheme>
    </a:extraClrScheme>
    <a:extraClrScheme>
      <a:clrScheme name="Continental Print">
        <a:dk1>
          <a:srgbClr val="000000"/>
        </a:dk1>
        <a:lt1>
          <a:srgbClr val="FFFFFF"/>
        </a:lt1>
        <a:dk2>
          <a:srgbClr val="000000"/>
        </a:dk2>
        <a:lt2>
          <a:srgbClr val="FFFFFF"/>
        </a:lt2>
        <a:accent1>
          <a:srgbClr val="FF9900"/>
        </a:accent1>
        <a:accent2>
          <a:srgbClr val="BF7300"/>
        </a:accent2>
        <a:accent3>
          <a:srgbClr val="E28700"/>
        </a:accent3>
        <a:accent4>
          <a:srgbClr val="FFC266"/>
        </a:accent4>
        <a:accent5>
          <a:srgbClr val="5F5F5F"/>
        </a:accent5>
        <a:accent6>
          <a:srgbClr val="262626"/>
        </a:accent6>
        <a:hlink>
          <a:srgbClr val="FF9900"/>
        </a:hlink>
        <a:folHlink>
          <a:srgbClr val="777777"/>
        </a:folHlink>
      </a:clrScheme>
    </a:extraClrScheme>
  </a:extraClrSchemeLst>
</a:theme>
</file>

<file path=ppt/theme/theme2.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Design">
  <a:themeElements>
    <a:clrScheme name="Continental AG - NEW">
      <a:dk1>
        <a:srgbClr val="000000"/>
      </a:dk1>
      <a:lt1>
        <a:srgbClr val="FFFFFF"/>
      </a:lt1>
      <a:dk2>
        <a:srgbClr val="FFFFFF"/>
      </a:dk2>
      <a:lt2>
        <a:srgbClr val="EBEBEB"/>
      </a:lt2>
      <a:accent1>
        <a:srgbClr val="FF9900"/>
      </a:accent1>
      <a:accent2>
        <a:srgbClr val="BF7300"/>
      </a:accent2>
      <a:accent3>
        <a:srgbClr val="E28700"/>
      </a:accent3>
      <a:accent4>
        <a:srgbClr val="FFC266"/>
      </a:accent4>
      <a:accent5>
        <a:srgbClr val="5F5F5F"/>
      </a:accent5>
      <a:accent6>
        <a:srgbClr val="262626"/>
      </a:accent6>
      <a:hlink>
        <a:srgbClr val="FF9900"/>
      </a:hlink>
      <a:folHlink>
        <a:srgbClr val="777777"/>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11-02-18_Continental-Template-2007_4x3</Template>
  <TotalTime>9987</TotalTime>
  <Words>892</Words>
  <Application>Microsoft Office PowerPoint</Application>
  <PresentationFormat>Affichage à l'écran (4:3)</PresentationFormat>
  <Paragraphs>257</Paragraphs>
  <Slides>17</Slides>
  <Notes>15</Notes>
  <HiddenSlides>0</HiddenSlides>
  <MMClips>0</MMClips>
  <ScaleCrop>false</ScaleCrop>
  <HeadingPairs>
    <vt:vector size="6" baseType="variant">
      <vt:variant>
        <vt:lpstr>Thème</vt:lpstr>
      </vt:variant>
      <vt:variant>
        <vt:i4>1</vt:i4>
      </vt:variant>
      <vt:variant>
        <vt:lpstr>Serveurs OLE incorporés</vt:lpstr>
      </vt:variant>
      <vt:variant>
        <vt:i4>1</vt:i4>
      </vt:variant>
      <vt:variant>
        <vt:lpstr>Titres des diapositives</vt:lpstr>
      </vt:variant>
      <vt:variant>
        <vt:i4>17</vt:i4>
      </vt:variant>
    </vt:vector>
  </HeadingPairs>
  <TitlesOfParts>
    <vt:vector size="19" baseType="lpstr">
      <vt:lpstr>11-02-18_Continental-Template-2007_4x3</vt:lpstr>
      <vt:lpstr>think-cell Slide</vt:lpstr>
      <vt:lpstr>Etude du Système d’Information</vt:lpstr>
      <vt:lpstr>Sommaire</vt:lpstr>
      <vt:lpstr>       1. Continental Corporation   </vt:lpstr>
      <vt:lpstr> Continental Corporation 1.1 - Situation en 2010</vt:lpstr>
      <vt:lpstr>Continental Corporation 1.2 - Sites Continental</vt:lpstr>
      <vt:lpstr>2. Mon service</vt:lpstr>
      <vt:lpstr>  Mon service  2.1 - 5 grandes Divisions</vt:lpstr>
      <vt:lpstr>Diapositive 8</vt:lpstr>
      <vt:lpstr>3. Le Rôle du Système d’Information</vt:lpstr>
      <vt:lpstr>4. SI CONTINENTAL</vt:lpstr>
      <vt:lpstr>4.1 Architecture réseau</vt:lpstr>
      <vt:lpstr>4.2 Architecture logicielle</vt:lpstr>
      <vt:lpstr>Travail accompli 3.1 Besoin</vt:lpstr>
      <vt:lpstr>Travail accompli 3.1 Besoin</vt:lpstr>
      <vt:lpstr>Travail accompli  3.2 Environnement de développement</vt:lpstr>
      <vt:lpstr>Travail accompli 3.1 Besoin</vt:lpstr>
      <vt:lpstr>Merci pour votre attention!</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olie 1</dc:title>
  <dc:creator>Christian</dc:creator>
  <cp:lastModifiedBy>Continental AG</cp:lastModifiedBy>
  <cp:revision>575</cp:revision>
  <dcterms:created xsi:type="dcterms:W3CDTF">2011-02-22T14:54:25Z</dcterms:created>
  <dcterms:modified xsi:type="dcterms:W3CDTF">2012-05-18T13:09: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7573403</vt:lpwstr>
  </property>
  <property fmtid="{D5CDD505-2E9C-101B-9397-08002B2CF9AE}" pid="3" name="NXPowerLiteSettings">
    <vt:lpwstr>E900050004A000</vt:lpwstr>
  </property>
  <property fmtid="{D5CDD505-2E9C-101B-9397-08002B2CF9AE}" pid="4" name="NXPowerLiteVersion">
    <vt:lpwstr>D5.0.2</vt:lpwstr>
  </property>
</Properties>
</file>

<file path=userCustomization/customUI.xml><?xml version="1.0" encoding="utf-8"?>
<mso:customUI xmlns:doc="http://schemas.microsoft.com/office/2006/01/customui/currentDocument" xmlns:mso="http://schemas.microsoft.com/office/2006/01/customui">
  <mso:ribbon>
    <mso:qat>
      <mso:documentControls>
        <mso:control idQ="mso:ObjectsGroup" visible="true"/>
        <mso:control idQ="mso:ObjectsUngroup" visible="true"/>
        <mso:control idQ="mso:ObjectBringToFront" visible="true"/>
        <mso:control idQ="mso:ObjectSendToBack" visible="true"/>
        <mso:control idQ="mso:ObjectBringForward" visible="true"/>
        <mso:control idQ="mso:ObjectSendBackward" visible="true"/>
        <mso:separator idQ="doc:sep1" visible="true"/>
        <mso:control idQ="mso:ObjectsAlignLeftSmart" visible="true"/>
        <mso:control idQ="mso:ObjectsAlignRightSmart" visible="true"/>
        <mso:control idQ="mso:ObjectsAlignTopSmart" visible="true"/>
        <mso:control idQ="mso:ObjectsAlignBottomSmart" visible="true"/>
        <mso:control idQ="mso:ObjectsAlignCenterHorizontalSmart" visible="true"/>
        <mso:control idQ="mso:ObjectsAlignMiddleVerticalSmart" visible="true"/>
        <mso:control idQ="mso:AlignDistributeHorizontally" visible="true"/>
        <mso:control idQ="mso:AlignDistributeVertically" visible="true"/>
        <mso:separator idQ="doc:sep2" visible="true"/>
        <mso:control idQ="mso:ObjectRotateRight90" visible="true"/>
        <mso:control idQ="mso:SnapToGrid" visible="true"/>
      </mso:documentControls>
    </mso:qat>
  </mso:ribbon>
</mso:customUI>
</file>